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6" r:id="rId3"/>
    <p:sldMasterId id="2147483713" r:id="rId4"/>
  </p:sldMasterIdLst>
  <p:notesMasterIdLst>
    <p:notesMasterId r:id="rId19"/>
  </p:notesMasterIdLst>
  <p:sldIdLst>
    <p:sldId id="256" r:id="rId5"/>
    <p:sldId id="2147472847" r:id="rId6"/>
    <p:sldId id="2147374430" r:id="rId7"/>
    <p:sldId id="2147374428" r:id="rId8"/>
    <p:sldId id="2147374420" r:id="rId9"/>
    <p:sldId id="2147472845" r:id="rId10"/>
    <p:sldId id="2147472848" r:id="rId11"/>
    <p:sldId id="311" r:id="rId12"/>
    <p:sldId id="287" r:id="rId13"/>
    <p:sldId id="362" r:id="rId14"/>
    <p:sldId id="304" r:id="rId15"/>
    <p:sldId id="260" r:id="rId16"/>
    <p:sldId id="2147472846" r:id="rId17"/>
    <p:sldId id="214737441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107" d="100"/>
          <a:sy n="107" d="100"/>
        </p:scale>
        <p:origin x="1066" y="30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E54F15-C724-434B-B231-5B91990F7227}" type="doc">
      <dgm:prSet loTypeId="urn:microsoft.com/office/officeart/2005/8/layout/cycle8" loCatId="cycle" qsTypeId="urn:microsoft.com/office/officeart/2005/8/quickstyle/simple1" qsCatId="simple" csTypeId="urn:microsoft.com/office/officeart/2005/8/colors/accent1_2" csCatId="accent1" phldr="1"/>
      <dgm:spPr/>
    </dgm:pt>
    <dgm:pt modelId="{82972071-28B1-421A-B43B-F37BABBCB294}">
      <dgm:prSet phldrT="[Text]"/>
      <dgm:spPr/>
      <dgm:t>
        <a:bodyPr/>
        <a:lstStyle/>
        <a:p>
          <a:r>
            <a:rPr lang="en-US" dirty="0">
              <a:solidFill>
                <a:schemeClr val="accent6">
                  <a:lumMod val="60000"/>
                  <a:lumOff val="40000"/>
                </a:schemeClr>
              </a:solidFill>
            </a:rPr>
            <a:t>Quality control</a:t>
          </a:r>
        </a:p>
      </dgm:t>
    </dgm:pt>
    <dgm:pt modelId="{96670CD6-5A3B-4039-AAB2-0AB84268A412}" type="parTrans" cxnId="{E2D26A09-FA03-4AC7-8E8B-8C015262B7ED}">
      <dgm:prSet/>
      <dgm:spPr/>
      <dgm:t>
        <a:bodyPr/>
        <a:lstStyle/>
        <a:p>
          <a:endParaRPr lang="en-US"/>
        </a:p>
      </dgm:t>
    </dgm:pt>
    <dgm:pt modelId="{181ECA93-EE02-4D25-ABCF-99DB9D8C51FA}" type="sibTrans" cxnId="{E2D26A09-FA03-4AC7-8E8B-8C015262B7ED}">
      <dgm:prSet/>
      <dgm:spPr/>
      <dgm:t>
        <a:bodyPr/>
        <a:lstStyle/>
        <a:p>
          <a:endParaRPr lang="en-US"/>
        </a:p>
      </dgm:t>
    </dgm:pt>
    <dgm:pt modelId="{30AC82FA-A25A-4130-A2A1-4E6626590070}">
      <dgm:prSet phldrT="[Text]"/>
      <dgm:spPr/>
      <dgm:t>
        <a:bodyPr/>
        <a:lstStyle/>
        <a:p>
          <a:r>
            <a:rPr lang="en-US" dirty="0">
              <a:solidFill>
                <a:schemeClr val="accent3">
                  <a:lumMod val="40000"/>
                  <a:lumOff val="60000"/>
                </a:schemeClr>
              </a:solidFill>
            </a:rPr>
            <a:t>Statistical power</a:t>
          </a:r>
        </a:p>
      </dgm:t>
    </dgm:pt>
    <dgm:pt modelId="{1850762C-18C4-4834-BF43-421875013D40}" type="parTrans" cxnId="{A27932E1-4C38-49D2-BAE2-9FD886810197}">
      <dgm:prSet/>
      <dgm:spPr/>
      <dgm:t>
        <a:bodyPr/>
        <a:lstStyle/>
        <a:p>
          <a:endParaRPr lang="en-US"/>
        </a:p>
      </dgm:t>
    </dgm:pt>
    <dgm:pt modelId="{EF96CB77-1B25-4720-A235-DA5C8CFF160A}" type="sibTrans" cxnId="{A27932E1-4C38-49D2-BAE2-9FD886810197}">
      <dgm:prSet/>
      <dgm:spPr/>
      <dgm:t>
        <a:bodyPr/>
        <a:lstStyle/>
        <a:p>
          <a:endParaRPr lang="en-US"/>
        </a:p>
      </dgm:t>
    </dgm:pt>
    <dgm:pt modelId="{EBD2517B-6925-4934-BD74-96327CC6D6A6}">
      <dgm:prSet phldrT="[Text]"/>
      <dgm:spPr/>
      <dgm:t>
        <a:bodyPr/>
        <a:lstStyle/>
        <a:p>
          <a:r>
            <a:rPr lang="en-US" dirty="0">
              <a:solidFill>
                <a:srgbClr val="FFFF00"/>
              </a:solidFill>
            </a:rPr>
            <a:t>Reference </a:t>
          </a:r>
          <a:r>
            <a:rPr lang="en-US" altLang="zh-CN" dirty="0">
              <a:solidFill>
                <a:srgbClr val="FFFF00"/>
              </a:solidFill>
            </a:rPr>
            <a:t>group</a:t>
          </a:r>
          <a:endParaRPr lang="en-US" dirty="0">
            <a:solidFill>
              <a:srgbClr val="FFFF00"/>
            </a:solidFill>
          </a:endParaRPr>
        </a:p>
      </dgm:t>
    </dgm:pt>
    <dgm:pt modelId="{12ACDDD5-1679-43E3-8E89-256CBF305CA9}" type="parTrans" cxnId="{44DF2746-94D9-4231-9474-48A5A22F3711}">
      <dgm:prSet/>
      <dgm:spPr/>
      <dgm:t>
        <a:bodyPr/>
        <a:lstStyle/>
        <a:p>
          <a:endParaRPr lang="en-US"/>
        </a:p>
      </dgm:t>
    </dgm:pt>
    <dgm:pt modelId="{80F3AFE5-E1AE-430E-BE30-2914E9561747}" type="sibTrans" cxnId="{44DF2746-94D9-4231-9474-48A5A22F3711}">
      <dgm:prSet/>
      <dgm:spPr/>
      <dgm:t>
        <a:bodyPr/>
        <a:lstStyle/>
        <a:p>
          <a:endParaRPr lang="en-US"/>
        </a:p>
      </dgm:t>
    </dgm:pt>
    <dgm:pt modelId="{C372BE0E-597F-48D5-A2C5-D67798820A82}" type="pres">
      <dgm:prSet presAssocID="{DDE54F15-C724-434B-B231-5B91990F7227}" presName="compositeShape" presStyleCnt="0">
        <dgm:presLayoutVars>
          <dgm:chMax val="7"/>
          <dgm:dir/>
          <dgm:resizeHandles val="exact"/>
        </dgm:presLayoutVars>
      </dgm:prSet>
      <dgm:spPr/>
    </dgm:pt>
    <dgm:pt modelId="{B213722D-86BA-4233-83B0-73E4424446DE}" type="pres">
      <dgm:prSet presAssocID="{DDE54F15-C724-434B-B231-5B91990F7227}" presName="wedge1" presStyleLbl="node1" presStyleIdx="0" presStyleCnt="3"/>
      <dgm:spPr/>
    </dgm:pt>
    <dgm:pt modelId="{DB9DE0B1-D24A-48EE-A0F4-0FC4E98A1349}" type="pres">
      <dgm:prSet presAssocID="{DDE54F15-C724-434B-B231-5B91990F7227}" presName="dummy1a" presStyleCnt="0"/>
      <dgm:spPr/>
    </dgm:pt>
    <dgm:pt modelId="{9B6C63EA-806F-4558-A04C-1A5EB43BD6EA}" type="pres">
      <dgm:prSet presAssocID="{DDE54F15-C724-434B-B231-5B91990F7227}" presName="dummy1b" presStyleCnt="0"/>
      <dgm:spPr/>
    </dgm:pt>
    <dgm:pt modelId="{13870DDA-024F-45F5-8377-EEC29AD5C5DA}" type="pres">
      <dgm:prSet presAssocID="{DDE54F15-C724-434B-B231-5B91990F7227}" presName="wedge1Tx" presStyleLbl="node1" presStyleIdx="0" presStyleCnt="3">
        <dgm:presLayoutVars>
          <dgm:chMax val="0"/>
          <dgm:chPref val="0"/>
          <dgm:bulletEnabled val="1"/>
        </dgm:presLayoutVars>
      </dgm:prSet>
      <dgm:spPr/>
    </dgm:pt>
    <dgm:pt modelId="{C32CA363-B458-4DF6-B8B0-AF07A51D2915}" type="pres">
      <dgm:prSet presAssocID="{DDE54F15-C724-434B-B231-5B91990F7227}" presName="wedge2" presStyleLbl="node1" presStyleIdx="1" presStyleCnt="3"/>
      <dgm:spPr/>
    </dgm:pt>
    <dgm:pt modelId="{DBCBBFAE-BD15-4AE6-B011-1F7807287068}" type="pres">
      <dgm:prSet presAssocID="{DDE54F15-C724-434B-B231-5B91990F7227}" presName="dummy2a" presStyleCnt="0"/>
      <dgm:spPr/>
    </dgm:pt>
    <dgm:pt modelId="{182DBEEA-2B3F-43B0-BD9C-6FE54BBAE137}" type="pres">
      <dgm:prSet presAssocID="{DDE54F15-C724-434B-B231-5B91990F7227}" presName="dummy2b" presStyleCnt="0"/>
      <dgm:spPr/>
    </dgm:pt>
    <dgm:pt modelId="{64CEE067-CF0D-49EF-9C1D-3D92C4B720B8}" type="pres">
      <dgm:prSet presAssocID="{DDE54F15-C724-434B-B231-5B91990F7227}" presName="wedge2Tx" presStyleLbl="node1" presStyleIdx="1" presStyleCnt="3">
        <dgm:presLayoutVars>
          <dgm:chMax val="0"/>
          <dgm:chPref val="0"/>
          <dgm:bulletEnabled val="1"/>
        </dgm:presLayoutVars>
      </dgm:prSet>
      <dgm:spPr/>
    </dgm:pt>
    <dgm:pt modelId="{BBD0D526-5727-4D79-B2A1-F2071008601B}" type="pres">
      <dgm:prSet presAssocID="{DDE54F15-C724-434B-B231-5B91990F7227}" presName="wedge3" presStyleLbl="node1" presStyleIdx="2" presStyleCnt="3"/>
      <dgm:spPr/>
    </dgm:pt>
    <dgm:pt modelId="{5B5812EE-0FAC-4BD9-934E-F900496DE8F5}" type="pres">
      <dgm:prSet presAssocID="{DDE54F15-C724-434B-B231-5B91990F7227}" presName="dummy3a" presStyleCnt="0"/>
      <dgm:spPr/>
    </dgm:pt>
    <dgm:pt modelId="{CBD5B176-40BF-483D-8935-CAA2A497C1DE}" type="pres">
      <dgm:prSet presAssocID="{DDE54F15-C724-434B-B231-5B91990F7227}" presName="dummy3b" presStyleCnt="0"/>
      <dgm:spPr/>
    </dgm:pt>
    <dgm:pt modelId="{6058B79A-EA71-4576-9917-09BF04B2D54C}" type="pres">
      <dgm:prSet presAssocID="{DDE54F15-C724-434B-B231-5B91990F7227}" presName="wedge3Tx" presStyleLbl="node1" presStyleIdx="2" presStyleCnt="3">
        <dgm:presLayoutVars>
          <dgm:chMax val="0"/>
          <dgm:chPref val="0"/>
          <dgm:bulletEnabled val="1"/>
        </dgm:presLayoutVars>
      </dgm:prSet>
      <dgm:spPr/>
    </dgm:pt>
    <dgm:pt modelId="{F4A416FB-6858-49D2-A403-F590C9E1EFEA}" type="pres">
      <dgm:prSet presAssocID="{181ECA93-EE02-4D25-ABCF-99DB9D8C51FA}" presName="arrowWedge1" presStyleLbl="fgSibTrans2D1" presStyleIdx="0" presStyleCnt="3"/>
      <dgm:spPr/>
    </dgm:pt>
    <dgm:pt modelId="{7B97A408-7AE1-473B-942B-AA9E07A9DA89}" type="pres">
      <dgm:prSet presAssocID="{EF96CB77-1B25-4720-A235-DA5C8CFF160A}" presName="arrowWedge2" presStyleLbl="fgSibTrans2D1" presStyleIdx="1" presStyleCnt="3"/>
      <dgm:spPr/>
    </dgm:pt>
    <dgm:pt modelId="{17CCEC6C-8811-40BC-9D85-D9EF1151FC84}" type="pres">
      <dgm:prSet presAssocID="{80F3AFE5-E1AE-430E-BE30-2914E9561747}" presName="arrowWedge3" presStyleLbl="fgSibTrans2D1" presStyleIdx="2" presStyleCnt="3"/>
      <dgm:spPr/>
    </dgm:pt>
  </dgm:ptLst>
  <dgm:cxnLst>
    <dgm:cxn modelId="{E2D26A09-FA03-4AC7-8E8B-8C015262B7ED}" srcId="{DDE54F15-C724-434B-B231-5B91990F7227}" destId="{82972071-28B1-421A-B43B-F37BABBCB294}" srcOrd="0" destOrd="0" parTransId="{96670CD6-5A3B-4039-AAB2-0AB84268A412}" sibTransId="{181ECA93-EE02-4D25-ABCF-99DB9D8C51FA}"/>
    <dgm:cxn modelId="{44DF2746-94D9-4231-9474-48A5A22F3711}" srcId="{DDE54F15-C724-434B-B231-5B91990F7227}" destId="{EBD2517B-6925-4934-BD74-96327CC6D6A6}" srcOrd="2" destOrd="0" parTransId="{12ACDDD5-1679-43E3-8E89-256CBF305CA9}" sibTransId="{80F3AFE5-E1AE-430E-BE30-2914E9561747}"/>
    <dgm:cxn modelId="{93479684-D9B6-4E52-92F2-2B82495517CC}" type="presOf" srcId="{82972071-28B1-421A-B43B-F37BABBCB294}" destId="{B213722D-86BA-4233-83B0-73E4424446DE}" srcOrd="0" destOrd="0" presId="urn:microsoft.com/office/officeart/2005/8/layout/cycle8"/>
    <dgm:cxn modelId="{30117F8B-006D-43D9-BB0A-D6FCE81F6FF7}" type="presOf" srcId="{30AC82FA-A25A-4130-A2A1-4E6626590070}" destId="{64CEE067-CF0D-49EF-9C1D-3D92C4B720B8}" srcOrd="1" destOrd="0" presId="urn:microsoft.com/office/officeart/2005/8/layout/cycle8"/>
    <dgm:cxn modelId="{D0ABFB95-375F-472A-82D8-2914B03D17A7}" type="presOf" srcId="{82972071-28B1-421A-B43B-F37BABBCB294}" destId="{13870DDA-024F-45F5-8377-EEC29AD5C5DA}" srcOrd="1" destOrd="0" presId="urn:microsoft.com/office/officeart/2005/8/layout/cycle8"/>
    <dgm:cxn modelId="{18838DA5-71FF-4FFB-85E7-1FC6D9EE77FC}" type="presOf" srcId="{EBD2517B-6925-4934-BD74-96327CC6D6A6}" destId="{BBD0D526-5727-4D79-B2A1-F2071008601B}" srcOrd="0" destOrd="0" presId="urn:microsoft.com/office/officeart/2005/8/layout/cycle8"/>
    <dgm:cxn modelId="{A27932E1-4C38-49D2-BAE2-9FD886810197}" srcId="{DDE54F15-C724-434B-B231-5B91990F7227}" destId="{30AC82FA-A25A-4130-A2A1-4E6626590070}" srcOrd="1" destOrd="0" parTransId="{1850762C-18C4-4834-BF43-421875013D40}" sibTransId="{EF96CB77-1B25-4720-A235-DA5C8CFF160A}"/>
    <dgm:cxn modelId="{4D9377EC-8A60-4F45-84EF-66B9948D71DA}" type="presOf" srcId="{30AC82FA-A25A-4130-A2A1-4E6626590070}" destId="{C32CA363-B458-4DF6-B8B0-AF07A51D2915}" srcOrd="0" destOrd="0" presId="urn:microsoft.com/office/officeart/2005/8/layout/cycle8"/>
    <dgm:cxn modelId="{4072D6EE-F5DA-46E2-81B2-35E7AE56DD21}" type="presOf" srcId="{DDE54F15-C724-434B-B231-5B91990F7227}" destId="{C372BE0E-597F-48D5-A2C5-D67798820A82}" srcOrd="0" destOrd="0" presId="urn:microsoft.com/office/officeart/2005/8/layout/cycle8"/>
    <dgm:cxn modelId="{C29B01F7-55FB-4331-B870-B5B25E5BC05F}" type="presOf" srcId="{EBD2517B-6925-4934-BD74-96327CC6D6A6}" destId="{6058B79A-EA71-4576-9917-09BF04B2D54C}" srcOrd="1" destOrd="0" presId="urn:microsoft.com/office/officeart/2005/8/layout/cycle8"/>
    <dgm:cxn modelId="{2D1629E0-7B5F-4FB5-9BC0-BA7A323A7940}" type="presParOf" srcId="{C372BE0E-597F-48D5-A2C5-D67798820A82}" destId="{B213722D-86BA-4233-83B0-73E4424446DE}" srcOrd="0" destOrd="0" presId="urn:microsoft.com/office/officeart/2005/8/layout/cycle8"/>
    <dgm:cxn modelId="{908821DC-5BFE-469B-B82C-A39094C82EDF}" type="presParOf" srcId="{C372BE0E-597F-48D5-A2C5-D67798820A82}" destId="{DB9DE0B1-D24A-48EE-A0F4-0FC4E98A1349}" srcOrd="1" destOrd="0" presId="urn:microsoft.com/office/officeart/2005/8/layout/cycle8"/>
    <dgm:cxn modelId="{E3415989-574B-4B1E-A0B2-23EEBCF1A7F8}" type="presParOf" srcId="{C372BE0E-597F-48D5-A2C5-D67798820A82}" destId="{9B6C63EA-806F-4558-A04C-1A5EB43BD6EA}" srcOrd="2" destOrd="0" presId="urn:microsoft.com/office/officeart/2005/8/layout/cycle8"/>
    <dgm:cxn modelId="{4E4F2F6F-7222-485C-9EA1-B1B5D96256E3}" type="presParOf" srcId="{C372BE0E-597F-48D5-A2C5-D67798820A82}" destId="{13870DDA-024F-45F5-8377-EEC29AD5C5DA}" srcOrd="3" destOrd="0" presId="urn:microsoft.com/office/officeart/2005/8/layout/cycle8"/>
    <dgm:cxn modelId="{8D0F8DDF-B715-4CBA-B554-4A04A55867E7}" type="presParOf" srcId="{C372BE0E-597F-48D5-A2C5-D67798820A82}" destId="{C32CA363-B458-4DF6-B8B0-AF07A51D2915}" srcOrd="4" destOrd="0" presId="urn:microsoft.com/office/officeart/2005/8/layout/cycle8"/>
    <dgm:cxn modelId="{6C960CBA-C31A-4231-A377-6F245F5B22D4}" type="presParOf" srcId="{C372BE0E-597F-48D5-A2C5-D67798820A82}" destId="{DBCBBFAE-BD15-4AE6-B011-1F7807287068}" srcOrd="5" destOrd="0" presId="urn:microsoft.com/office/officeart/2005/8/layout/cycle8"/>
    <dgm:cxn modelId="{BCE8A989-3407-4C6A-88CE-819782D26E2E}" type="presParOf" srcId="{C372BE0E-597F-48D5-A2C5-D67798820A82}" destId="{182DBEEA-2B3F-43B0-BD9C-6FE54BBAE137}" srcOrd="6" destOrd="0" presId="urn:microsoft.com/office/officeart/2005/8/layout/cycle8"/>
    <dgm:cxn modelId="{06B69BC5-81FA-4BA9-89A8-BC523C1D3F5E}" type="presParOf" srcId="{C372BE0E-597F-48D5-A2C5-D67798820A82}" destId="{64CEE067-CF0D-49EF-9C1D-3D92C4B720B8}" srcOrd="7" destOrd="0" presId="urn:microsoft.com/office/officeart/2005/8/layout/cycle8"/>
    <dgm:cxn modelId="{6AEE798E-EF27-4CAF-BABA-031D01D3B670}" type="presParOf" srcId="{C372BE0E-597F-48D5-A2C5-D67798820A82}" destId="{BBD0D526-5727-4D79-B2A1-F2071008601B}" srcOrd="8" destOrd="0" presId="urn:microsoft.com/office/officeart/2005/8/layout/cycle8"/>
    <dgm:cxn modelId="{5EE27A85-C5C8-44CD-8A50-C357973F1EBB}" type="presParOf" srcId="{C372BE0E-597F-48D5-A2C5-D67798820A82}" destId="{5B5812EE-0FAC-4BD9-934E-F900496DE8F5}" srcOrd="9" destOrd="0" presId="urn:microsoft.com/office/officeart/2005/8/layout/cycle8"/>
    <dgm:cxn modelId="{D836BB4D-9543-4634-87E8-1D788736C409}" type="presParOf" srcId="{C372BE0E-597F-48D5-A2C5-D67798820A82}" destId="{CBD5B176-40BF-483D-8935-CAA2A497C1DE}" srcOrd="10" destOrd="0" presId="urn:microsoft.com/office/officeart/2005/8/layout/cycle8"/>
    <dgm:cxn modelId="{58D5C97A-2848-4D10-B0D1-1289F09794D4}" type="presParOf" srcId="{C372BE0E-597F-48D5-A2C5-D67798820A82}" destId="{6058B79A-EA71-4576-9917-09BF04B2D54C}" srcOrd="11" destOrd="0" presId="urn:microsoft.com/office/officeart/2005/8/layout/cycle8"/>
    <dgm:cxn modelId="{B158782E-9C75-4A13-B963-0797C83B9424}" type="presParOf" srcId="{C372BE0E-597F-48D5-A2C5-D67798820A82}" destId="{F4A416FB-6858-49D2-A403-F590C9E1EFEA}" srcOrd="12" destOrd="0" presId="urn:microsoft.com/office/officeart/2005/8/layout/cycle8"/>
    <dgm:cxn modelId="{3523C5A2-276A-449C-9B65-229B347F5873}" type="presParOf" srcId="{C372BE0E-597F-48D5-A2C5-D67798820A82}" destId="{7B97A408-7AE1-473B-942B-AA9E07A9DA89}" srcOrd="13" destOrd="0" presId="urn:microsoft.com/office/officeart/2005/8/layout/cycle8"/>
    <dgm:cxn modelId="{3ABC07A3-4E09-4FAE-BCA1-F343DCE0DC43}" type="presParOf" srcId="{C372BE0E-597F-48D5-A2C5-D67798820A82}" destId="{17CCEC6C-8811-40BC-9D85-D9EF1151FC84}"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4635EA-D715-4407-BDB4-EA8AC402B491}" type="doc">
      <dgm:prSet loTypeId="urn:microsoft.com/office/officeart/2005/8/layout/process1" loCatId="process" qsTypeId="urn:microsoft.com/office/officeart/2005/8/quickstyle/simple1" qsCatId="simple" csTypeId="urn:microsoft.com/office/officeart/2005/8/colors/accent1_2" csCatId="accent1" phldr="1"/>
      <dgm:spPr/>
    </dgm:pt>
    <dgm:pt modelId="{581E47C7-AFDD-43F1-ADFD-63F870C7B2AD}">
      <dgm:prSet phldrT="[Text]"/>
      <dgm:spPr/>
      <dgm:t>
        <a:bodyPr/>
        <a:lstStyle/>
        <a:p>
          <a:r>
            <a:rPr lang="en-US" dirty="0">
              <a:solidFill>
                <a:schemeClr val="bg2"/>
              </a:solidFill>
            </a:rPr>
            <a:t>Pre-dose</a:t>
          </a:r>
        </a:p>
      </dgm:t>
    </dgm:pt>
    <dgm:pt modelId="{A50FC8BA-E905-48E5-B1ED-2731BF699EE1}" type="parTrans" cxnId="{851D7F48-CD94-4170-829D-9E82F79F37A1}">
      <dgm:prSet/>
      <dgm:spPr/>
      <dgm:t>
        <a:bodyPr/>
        <a:lstStyle/>
        <a:p>
          <a:endParaRPr lang="en-US"/>
        </a:p>
      </dgm:t>
    </dgm:pt>
    <dgm:pt modelId="{C93778B1-ADE0-4484-A498-64DB54EF9067}" type="sibTrans" cxnId="{851D7F48-CD94-4170-829D-9E82F79F37A1}">
      <dgm:prSet/>
      <dgm:spPr/>
      <dgm:t>
        <a:bodyPr/>
        <a:lstStyle/>
        <a:p>
          <a:endParaRPr lang="en-US"/>
        </a:p>
      </dgm:t>
    </dgm:pt>
    <dgm:pt modelId="{0A91D5EA-6605-430D-AB1C-2F554AD5EA62}">
      <dgm:prSet phldrT="[Text]"/>
      <dgm:spPr/>
      <dgm:t>
        <a:bodyPr/>
        <a:lstStyle/>
        <a:p>
          <a:r>
            <a:rPr lang="en-US" dirty="0"/>
            <a:t>Dosing</a:t>
          </a:r>
        </a:p>
      </dgm:t>
    </dgm:pt>
    <dgm:pt modelId="{B7529359-22FF-4915-96F9-9C630D7FBB9E}" type="parTrans" cxnId="{67CCEFA9-9F5C-4494-B712-7CBE60F5CF76}">
      <dgm:prSet/>
      <dgm:spPr/>
      <dgm:t>
        <a:bodyPr/>
        <a:lstStyle/>
        <a:p>
          <a:endParaRPr lang="en-US"/>
        </a:p>
      </dgm:t>
    </dgm:pt>
    <dgm:pt modelId="{156C86E0-431E-402B-A65D-F28ABB989BD6}" type="sibTrans" cxnId="{67CCEFA9-9F5C-4494-B712-7CBE60F5CF76}">
      <dgm:prSet/>
      <dgm:spPr/>
      <dgm:t>
        <a:bodyPr/>
        <a:lstStyle/>
        <a:p>
          <a:endParaRPr lang="en-US"/>
        </a:p>
      </dgm:t>
    </dgm:pt>
    <dgm:pt modelId="{3B92AE54-4987-4356-92BF-47BBA7A0E0C7}">
      <dgm:prSet phldrT="[Text]"/>
      <dgm:spPr/>
      <dgm:t>
        <a:bodyPr/>
        <a:lstStyle/>
        <a:p>
          <a:r>
            <a:rPr lang="en-US" dirty="0"/>
            <a:t>Recovery</a:t>
          </a:r>
        </a:p>
      </dgm:t>
    </dgm:pt>
    <dgm:pt modelId="{FCC19DFF-B1A0-4A8F-B00A-83BD26171A46}" type="parTrans" cxnId="{AE327AB9-10CB-4417-8926-623AA38BFEEC}">
      <dgm:prSet/>
      <dgm:spPr/>
      <dgm:t>
        <a:bodyPr/>
        <a:lstStyle/>
        <a:p>
          <a:endParaRPr lang="en-US"/>
        </a:p>
      </dgm:t>
    </dgm:pt>
    <dgm:pt modelId="{386923FF-D1C2-4422-BB68-A8AD64D3F0B0}" type="sibTrans" cxnId="{AE327AB9-10CB-4417-8926-623AA38BFEEC}">
      <dgm:prSet/>
      <dgm:spPr/>
      <dgm:t>
        <a:bodyPr/>
        <a:lstStyle/>
        <a:p>
          <a:endParaRPr lang="en-US"/>
        </a:p>
      </dgm:t>
    </dgm:pt>
    <dgm:pt modelId="{55289FF1-75F9-477B-908B-CC37DA57DA71}" type="pres">
      <dgm:prSet presAssocID="{FF4635EA-D715-4407-BDB4-EA8AC402B491}" presName="Name0" presStyleCnt="0">
        <dgm:presLayoutVars>
          <dgm:dir/>
          <dgm:resizeHandles val="exact"/>
        </dgm:presLayoutVars>
      </dgm:prSet>
      <dgm:spPr/>
    </dgm:pt>
    <dgm:pt modelId="{5B361AA5-16A5-4A8F-BDA5-8520D4DFAE0C}" type="pres">
      <dgm:prSet presAssocID="{581E47C7-AFDD-43F1-ADFD-63F870C7B2AD}" presName="node" presStyleLbl="node1" presStyleIdx="0" presStyleCnt="3">
        <dgm:presLayoutVars>
          <dgm:bulletEnabled val="1"/>
        </dgm:presLayoutVars>
      </dgm:prSet>
      <dgm:spPr/>
    </dgm:pt>
    <dgm:pt modelId="{16B8EDA8-B1EB-4A2B-9EA8-FEBE4170CD96}" type="pres">
      <dgm:prSet presAssocID="{C93778B1-ADE0-4484-A498-64DB54EF9067}" presName="sibTrans" presStyleLbl="sibTrans2D1" presStyleIdx="0" presStyleCnt="2"/>
      <dgm:spPr/>
    </dgm:pt>
    <dgm:pt modelId="{105CBF68-86AF-498D-B442-623A10284A0D}" type="pres">
      <dgm:prSet presAssocID="{C93778B1-ADE0-4484-A498-64DB54EF9067}" presName="connectorText" presStyleLbl="sibTrans2D1" presStyleIdx="0" presStyleCnt="2"/>
      <dgm:spPr/>
    </dgm:pt>
    <dgm:pt modelId="{139F81D1-64E9-449A-B1A6-09A57783614F}" type="pres">
      <dgm:prSet presAssocID="{0A91D5EA-6605-430D-AB1C-2F554AD5EA62}" presName="node" presStyleLbl="node1" presStyleIdx="1" presStyleCnt="3">
        <dgm:presLayoutVars>
          <dgm:bulletEnabled val="1"/>
        </dgm:presLayoutVars>
      </dgm:prSet>
      <dgm:spPr/>
    </dgm:pt>
    <dgm:pt modelId="{BE628A40-4F29-4572-A3D7-395227D4184E}" type="pres">
      <dgm:prSet presAssocID="{156C86E0-431E-402B-A65D-F28ABB989BD6}" presName="sibTrans" presStyleLbl="sibTrans2D1" presStyleIdx="1" presStyleCnt="2"/>
      <dgm:spPr/>
    </dgm:pt>
    <dgm:pt modelId="{D75C31F1-3EFA-492B-A158-E1D3622E1CFD}" type="pres">
      <dgm:prSet presAssocID="{156C86E0-431E-402B-A65D-F28ABB989BD6}" presName="connectorText" presStyleLbl="sibTrans2D1" presStyleIdx="1" presStyleCnt="2"/>
      <dgm:spPr/>
    </dgm:pt>
    <dgm:pt modelId="{0F38CB90-BD87-48EC-A72B-F4066D124F17}" type="pres">
      <dgm:prSet presAssocID="{3B92AE54-4987-4356-92BF-47BBA7A0E0C7}" presName="node" presStyleLbl="node1" presStyleIdx="2" presStyleCnt="3">
        <dgm:presLayoutVars>
          <dgm:bulletEnabled val="1"/>
        </dgm:presLayoutVars>
      </dgm:prSet>
      <dgm:spPr/>
    </dgm:pt>
  </dgm:ptLst>
  <dgm:cxnLst>
    <dgm:cxn modelId="{B3B40B1B-704C-42A2-9A63-D16E090ADC81}" type="presOf" srcId="{156C86E0-431E-402B-A65D-F28ABB989BD6}" destId="{BE628A40-4F29-4572-A3D7-395227D4184E}" srcOrd="0" destOrd="0" presId="urn:microsoft.com/office/officeart/2005/8/layout/process1"/>
    <dgm:cxn modelId="{0AEF1965-577A-46B2-8B60-4520B9D0AE9D}" type="presOf" srcId="{C93778B1-ADE0-4484-A498-64DB54EF9067}" destId="{105CBF68-86AF-498D-B442-623A10284A0D}" srcOrd="1" destOrd="0" presId="urn:microsoft.com/office/officeart/2005/8/layout/process1"/>
    <dgm:cxn modelId="{851D7F48-CD94-4170-829D-9E82F79F37A1}" srcId="{FF4635EA-D715-4407-BDB4-EA8AC402B491}" destId="{581E47C7-AFDD-43F1-ADFD-63F870C7B2AD}" srcOrd="0" destOrd="0" parTransId="{A50FC8BA-E905-48E5-B1ED-2731BF699EE1}" sibTransId="{C93778B1-ADE0-4484-A498-64DB54EF9067}"/>
    <dgm:cxn modelId="{8C1E424A-B83E-4BE6-9B13-690565CE2AAF}" type="presOf" srcId="{C93778B1-ADE0-4484-A498-64DB54EF9067}" destId="{16B8EDA8-B1EB-4A2B-9EA8-FEBE4170CD96}" srcOrd="0" destOrd="0" presId="urn:microsoft.com/office/officeart/2005/8/layout/process1"/>
    <dgm:cxn modelId="{E3106E4A-3A94-4054-A9E7-FBB9276D9E88}" type="presOf" srcId="{156C86E0-431E-402B-A65D-F28ABB989BD6}" destId="{D75C31F1-3EFA-492B-A158-E1D3622E1CFD}" srcOrd="1" destOrd="0" presId="urn:microsoft.com/office/officeart/2005/8/layout/process1"/>
    <dgm:cxn modelId="{18D39CA1-A9CD-46D3-B750-E2966C34F404}" type="presOf" srcId="{581E47C7-AFDD-43F1-ADFD-63F870C7B2AD}" destId="{5B361AA5-16A5-4A8F-BDA5-8520D4DFAE0C}" srcOrd="0" destOrd="0" presId="urn:microsoft.com/office/officeart/2005/8/layout/process1"/>
    <dgm:cxn modelId="{67CCEFA9-9F5C-4494-B712-7CBE60F5CF76}" srcId="{FF4635EA-D715-4407-BDB4-EA8AC402B491}" destId="{0A91D5EA-6605-430D-AB1C-2F554AD5EA62}" srcOrd="1" destOrd="0" parTransId="{B7529359-22FF-4915-96F9-9C630D7FBB9E}" sibTransId="{156C86E0-431E-402B-A65D-F28ABB989BD6}"/>
    <dgm:cxn modelId="{12ECC2AA-D184-49C2-B574-49D635DD4B08}" type="presOf" srcId="{0A91D5EA-6605-430D-AB1C-2F554AD5EA62}" destId="{139F81D1-64E9-449A-B1A6-09A57783614F}" srcOrd="0" destOrd="0" presId="urn:microsoft.com/office/officeart/2005/8/layout/process1"/>
    <dgm:cxn modelId="{AE327AB9-10CB-4417-8926-623AA38BFEEC}" srcId="{FF4635EA-D715-4407-BDB4-EA8AC402B491}" destId="{3B92AE54-4987-4356-92BF-47BBA7A0E0C7}" srcOrd="2" destOrd="0" parTransId="{FCC19DFF-B1A0-4A8F-B00A-83BD26171A46}" sibTransId="{386923FF-D1C2-4422-BB68-A8AD64D3F0B0}"/>
    <dgm:cxn modelId="{F4F7ADE1-4F59-472C-85A2-2F6EA942A42A}" type="presOf" srcId="{3B92AE54-4987-4356-92BF-47BBA7A0E0C7}" destId="{0F38CB90-BD87-48EC-A72B-F4066D124F17}" srcOrd="0" destOrd="0" presId="urn:microsoft.com/office/officeart/2005/8/layout/process1"/>
    <dgm:cxn modelId="{996F2DE6-6D05-44D3-A5B5-EAE711BFA492}" type="presOf" srcId="{FF4635EA-D715-4407-BDB4-EA8AC402B491}" destId="{55289FF1-75F9-477B-908B-CC37DA57DA71}" srcOrd="0" destOrd="0" presId="urn:microsoft.com/office/officeart/2005/8/layout/process1"/>
    <dgm:cxn modelId="{95466C5B-7153-4B0F-A098-75B5311138CD}" type="presParOf" srcId="{55289FF1-75F9-477B-908B-CC37DA57DA71}" destId="{5B361AA5-16A5-4A8F-BDA5-8520D4DFAE0C}" srcOrd="0" destOrd="0" presId="urn:microsoft.com/office/officeart/2005/8/layout/process1"/>
    <dgm:cxn modelId="{03134905-6FB2-4E5A-9E5C-85207B02FCA8}" type="presParOf" srcId="{55289FF1-75F9-477B-908B-CC37DA57DA71}" destId="{16B8EDA8-B1EB-4A2B-9EA8-FEBE4170CD96}" srcOrd="1" destOrd="0" presId="urn:microsoft.com/office/officeart/2005/8/layout/process1"/>
    <dgm:cxn modelId="{8C852AB7-CD70-4993-8B83-1FB79B09755E}" type="presParOf" srcId="{16B8EDA8-B1EB-4A2B-9EA8-FEBE4170CD96}" destId="{105CBF68-86AF-498D-B442-623A10284A0D}" srcOrd="0" destOrd="0" presId="urn:microsoft.com/office/officeart/2005/8/layout/process1"/>
    <dgm:cxn modelId="{5DA8753E-C278-4961-8DFC-4EBD85EB7CCC}" type="presParOf" srcId="{55289FF1-75F9-477B-908B-CC37DA57DA71}" destId="{139F81D1-64E9-449A-B1A6-09A57783614F}" srcOrd="2" destOrd="0" presId="urn:microsoft.com/office/officeart/2005/8/layout/process1"/>
    <dgm:cxn modelId="{CE13F634-99D2-4E98-9595-E2BD6B571B95}" type="presParOf" srcId="{55289FF1-75F9-477B-908B-CC37DA57DA71}" destId="{BE628A40-4F29-4572-A3D7-395227D4184E}" srcOrd="3" destOrd="0" presId="urn:microsoft.com/office/officeart/2005/8/layout/process1"/>
    <dgm:cxn modelId="{2A2C92F2-9C03-48DD-A103-03F193762895}" type="presParOf" srcId="{BE628A40-4F29-4572-A3D7-395227D4184E}" destId="{D75C31F1-3EFA-492B-A158-E1D3622E1CFD}" srcOrd="0" destOrd="0" presId="urn:microsoft.com/office/officeart/2005/8/layout/process1"/>
    <dgm:cxn modelId="{C5C2068F-9995-478C-B1E4-EEAA5ACE593B}" type="presParOf" srcId="{55289FF1-75F9-477B-908B-CC37DA57DA71}" destId="{0F38CB90-BD87-48EC-A72B-F4066D124F17}"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3722D-86BA-4233-83B0-73E4424446DE}">
      <dsp:nvSpPr>
        <dsp:cNvPr id="0" name=""/>
        <dsp:cNvSpPr/>
      </dsp:nvSpPr>
      <dsp:spPr>
        <a:xfrm>
          <a:off x="1881902" y="352213"/>
          <a:ext cx="4551680" cy="4551680"/>
        </a:xfrm>
        <a:prstGeom prst="pie">
          <a:avLst>
            <a:gd name="adj1" fmla="val 16200000"/>
            <a:gd name="adj2" fmla="val 18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chemeClr val="accent6">
                  <a:lumMod val="60000"/>
                  <a:lumOff val="40000"/>
                </a:schemeClr>
              </a:solidFill>
            </a:rPr>
            <a:t>Quality control</a:t>
          </a:r>
        </a:p>
      </dsp:txBody>
      <dsp:txXfrm>
        <a:off x="4280746" y="1316736"/>
        <a:ext cx="1625600" cy="1354666"/>
      </dsp:txXfrm>
    </dsp:sp>
    <dsp:sp modelId="{C32CA363-B458-4DF6-B8B0-AF07A51D2915}">
      <dsp:nvSpPr>
        <dsp:cNvPr id="0" name=""/>
        <dsp:cNvSpPr/>
      </dsp:nvSpPr>
      <dsp:spPr>
        <a:xfrm>
          <a:off x="1788159" y="514773"/>
          <a:ext cx="4551680" cy="4551680"/>
        </a:xfrm>
        <a:prstGeom prst="pie">
          <a:avLst>
            <a:gd name="adj1" fmla="val 1800000"/>
            <a:gd name="adj2" fmla="val 90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chemeClr val="accent3">
                  <a:lumMod val="40000"/>
                  <a:lumOff val="60000"/>
                </a:schemeClr>
              </a:solidFill>
            </a:rPr>
            <a:t>Statistical power</a:t>
          </a:r>
        </a:p>
      </dsp:txBody>
      <dsp:txXfrm>
        <a:off x="2871893" y="3467946"/>
        <a:ext cx="2438400" cy="1192106"/>
      </dsp:txXfrm>
    </dsp:sp>
    <dsp:sp modelId="{BBD0D526-5727-4D79-B2A1-F2071008601B}">
      <dsp:nvSpPr>
        <dsp:cNvPr id="0" name=""/>
        <dsp:cNvSpPr/>
      </dsp:nvSpPr>
      <dsp:spPr>
        <a:xfrm>
          <a:off x="1694416" y="352213"/>
          <a:ext cx="4551680" cy="4551680"/>
        </a:xfrm>
        <a:prstGeom prst="pie">
          <a:avLst>
            <a:gd name="adj1" fmla="val 90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rgbClr val="FFFF00"/>
              </a:solidFill>
            </a:rPr>
            <a:t>Reference </a:t>
          </a:r>
          <a:r>
            <a:rPr lang="en-US" altLang="zh-CN" sz="2700" kern="1200" dirty="0">
              <a:solidFill>
                <a:srgbClr val="FFFF00"/>
              </a:solidFill>
            </a:rPr>
            <a:t>group</a:t>
          </a:r>
          <a:endParaRPr lang="en-US" sz="2700" kern="1200" dirty="0">
            <a:solidFill>
              <a:srgbClr val="FFFF00"/>
            </a:solidFill>
          </a:endParaRPr>
        </a:p>
      </dsp:txBody>
      <dsp:txXfrm>
        <a:off x="2221653" y="1316736"/>
        <a:ext cx="1625600" cy="1354666"/>
      </dsp:txXfrm>
    </dsp:sp>
    <dsp:sp modelId="{F4A416FB-6858-49D2-A403-F590C9E1EFEA}">
      <dsp:nvSpPr>
        <dsp:cNvPr id="0" name=""/>
        <dsp:cNvSpPr/>
      </dsp:nvSpPr>
      <dsp:spPr>
        <a:xfrm>
          <a:off x="1600507" y="70442"/>
          <a:ext cx="5115221" cy="5115221"/>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97A408-7AE1-473B-942B-AA9E07A9DA89}">
      <dsp:nvSpPr>
        <dsp:cNvPr id="0" name=""/>
        <dsp:cNvSpPr/>
      </dsp:nvSpPr>
      <dsp:spPr>
        <a:xfrm>
          <a:off x="1506389" y="232714"/>
          <a:ext cx="5115221" cy="5115221"/>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7CCEC6C-8811-40BC-9D85-D9EF1151FC84}">
      <dsp:nvSpPr>
        <dsp:cNvPr id="0" name=""/>
        <dsp:cNvSpPr/>
      </dsp:nvSpPr>
      <dsp:spPr>
        <a:xfrm>
          <a:off x="1412270" y="70442"/>
          <a:ext cx="5115221" cy="5115221"/>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361AA5-16A5-4A8F-BDA5-8520D4DFAE0C}">
      <dsp:nvSpPr>
        <dsp:cNvPr id="0" name=""/>
        <dsp:cNvSpPr/>
      </dsp:nvSpPr>
      <dsp:spPr>
        <a:xfrm>
          <a:off x="3379" y="686508"/>
          <a:ext cx="1009946" cy="605968"/>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2"/>
              </a:solidFill>
            </a:rPr>
            <a:t>Pre-dose</a:t>
          </a:r>
        </a:p>
      </dsp:txBody>
      <dsp:txXfrm>
        <a:off x="21127" y="704256"/>
        <a:ext cx="974450" cy="570472"/>
      </dsp:txXfrm>
    </dsp:sp>
    <dsp:sp modelId="{16B8EDA8-B1EB-4A2B-9EA8-FEBE4170CD96}">
      <dsp:nvSpPr>
        <dsp:cNvPr id="0" name=""/>
        <dsp:cNvSpPr/>
      </dsp:nvSpPr>
      <dsp:spPr>
        <a:xfrm>
          <a:off x="1114320" y="864259"/>
          <a:ext cx="214108" cy="25046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114320" y="914352"/>
        <a:ext cx="149876" cy="150280"/>
      </dsp:txXfrm>
    </dsp:sp>
    <dsp:sp modelId="{139F81D1-64E9-449A-B1A6-09A57783614F}">
      <dsp:nvSpPr>
        <dsp:cNvPr id="0" name=""/>
        <dsp:cNvSpPr/>
      </dsp:nvSpPr>
      <dsp:spPr>
        <a:xfrm>
          <a:off x="1417304" y="686508"/>
          <a:ext cx="1009946" cy="605968"/>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osing</a:t>
          </a:r>
        </a:p>
      </dsp:txBody>
      <dsp:txXfrm>
        <a:off x="1435052" y="704256"/>
        <a:ext cx="974450" cy="570472"/>
      </dsp:txXfrm>
    </dsp:sp>
    <dsp:sp modelId="{BE628A40-4F29-4572-A3D7-395227D4184E}">
      <dsp:nvSpPr>
        <dsp:cNvPr id="0" name=""/>
        <dsp:cNvSpPr/>
      </dsp:nvSpPr>
      <dsp:spPr>
        <a:xfrm>
          <a:off x="2528246" y="864259"/>
          <a:ext cx="214108" cy="25046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528246" y="914352"/>
        <a:ext cx="149876" cy="150280"/>
      </dsp:txXfrm>
    </dsp:sp>
    <dsp:sp modelId="{0F38CB90-BD87-48EC-A72B-F4066D124F17}">
      <dsp:nvSpPr>
        <dsp:cNvPr id="0" name=""/>
        <dsp:cNvSpPr/>
      </dsp:nvSpPr>
      <dsp:spPr>
        <a:xfrm>
          <a:off x="2831230" y="686508"/>
          <a:ext cx="1009946" cy="605968"/>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covery</a:t>
          </a:r>
        </a:p>
      </dsp:txBody>
      <dsp:txXfrm>
        <a:off x="2848978" y="704256"/>
        <a:ext cx="974450" cy="570472"/>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5CC1C8-A046-464A-93E7-2A6D14AFC9E9}" type="datetimeFigureOut">
              <a:rPr lang="en-US" smtClean="0"/>
              <a:t>7/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8A21FF-CB5C-4D52-A75D-C7A942014CD6}" type="slidenum">
              <a:rPr lang="en-US" smtClean="0"/>
              <a:t>‹#›</a:t>
            </a:fld>
            <a:endParaRPr lang="en-US"/>
          </a:p>
        </p:txBody>
      </p:sp>
    </p:spTree>
    <p:extLst>
      <p:ext uri="{BB962C8B-B14F-4D97-AF65-F5344CB8AC3E}">
        <p14:creationId xmlns:p14="http://schemas.microsoft.com/office/powerpoint/2010/main" val="1808364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hall not forget these even when we decide to use VCGs</a:t>
            </a:r>
          </a:p>
        </p:txBody>
      </p:sp>
      <p:sp>
        <p:nvSpPr>
          <p:cNvPr id="4" name="Slide Number Placeholder 3"/>
          <p:cNvSpPr>
            <a:spLocks noGrp="1"/>
          </p:cNvSpPr>
          <p:nvPr>
            <p:ph type="sldNum" sz="quarter" idx="5"/>
          </p:nvPr>
        </p:nvSpPr>
        <p:spPr/>
        <p:txBody>
          <a:bodyPr/>
          <a:lstStyle/>
          <a:p>
            <a:fld id="{1B8A21FF-CB5C-4D52-A75D-C7A942014CD6}" type="slidenum">
              <a:rPr lang="en-US" smtClean="0"/>
              <a:t>4</a:t>
            </a:fld>
            <a:endParaRPr lang="en-US"/>
          </a:p>
        </p:txBody>
      </p:sp>
    </p:spTree>
    <p:extLst>
      <p:ext uri="{BB962C8B-B14F-4D97-AF65-F5344CB8AC3E}">
        <p14:creationId xmlns:p14="http://schemas.microsoft.com/office/powerpoint/2010/main" val="3446407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B8A21FF-CB5C-4D52-A75D-C7A942014CD6}" type="slidenum">
              <a:rPr lang="en-US" smtClean="0"/>
              <a:t>13</a:t>
            </a:fld>
            <a:endParaRPr lang="en-US"/>
          </a:p>
        </p:txBody>
      </p:sp>
    </p:spTree>
    <p:extLst>
      <p:ext uri="{BB962C8B-B14F-4D97-AF65-F5344CB8AC3E}">
        <p14:creationId xmlns:p14="http://schemas.microsoft.com/office/powerpoint/2010/main" val="602035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hyperlink" Target="http://linkedin.com/company/vict3r" TargetMode="External"/><Relationship Id="rId4" Type="http://schemas.openxmlformats.org/officeDocument/2006/relationships/hyperlink" Target="https://vict3r.eu/" TargetMode="External"/><Relationship Id="rId9"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hyperlink" Target="http://linkedin.com/company/vict3r" TargetMode="External"/><Relationship Id="rId4" Type="http://schemas.openxmlformats.org/officeDocument/2006/relationships/hyperlink" Target="https://vict3r.eu/" TargetMode="External"/><Relationship Id="rId9"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2.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hyperlink" Target="http://linkedin.com/company/vict3r" TargetMode="External"/><Relationship Id="rId4" Type="http://schemas.openxmlformats.org/officeDocument/2006/relationships/hyperlink" Target="https://vict3r.eu/" TargetMode="Externa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25656-EABB-AD76-6E67-814F5026D2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BE1C70-690A-5825-A836-9EDE861E9D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8E9EB5-4515-37B4-12A1-5819D8C75931}"/>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54494723-EE52-8568-52B5-21B2393500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939D96-9297-309D-5FE1-3523CCE068CC}"/>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3618196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89A08-D11D-92C8-FEB3-DC01687E41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D64CCFE-D4BC-C2E9-4C6A-D616B3CE7C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A6B22D-B8DE-5103-63F1-E9AD95F98279}"/>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17133923-FC4B-D940-36EB-276595A7B4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28F021-DC4C-844B-475C-3002C4DB29F1}"/>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41630382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9EF697-A35F-D5EA-C599-1BF5B1BA3E5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6D80563-FB9A-045C-0B49-7B5A2E30EB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DCF919-0BCF-6B21-6031-B84867FCFBEA}"/>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D354BB14-9570-1743-14A4-28C0EC707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B9B911-E772-3C63-4C5A-A137E084DBA9}"/>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286363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Subtitl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34208501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5" name="Content Placeholder 4">
            <a:extLst>
              <a:ext uri="{FF2B5EF4-FFF2-40B4-BE49-F238E27FC236}">
                <a16:creationId xmlns:a16="http://schemas.microsoft.com/office/drawing/2014/main" id="{0C095A20-9422-8C24-BCD8-3E083BF2E503}"/>
              </a:ext>
            </a:extLst>
          </p:cNvPr>
          <p:cNvSpPr>
            <a:spLocks noGrp="1"/>
          </p:cNvSpPr>
          <p:nvPr>
            <p:ph sz="quarter" idx="15"/>
          </p:nvPr>
        </p:nvSpPr>
        <p:spPr>
          <a:xfrm>
            <a:off x="480483" y="1833033"/>
            <a:ext cx="11226716" cy="4045855"/>
          </a:xfrm>
          <a:prstGeom prst="rect">
            <a:avLst/>
          </a:prstGeo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D"/>
          </a:p>
        </p:txBody>
      </p:sp>
    </p:spTree>
    <p:extLst>
      <p:ext uri="{BB962C8B-B14F-4D97-AF65-F5344CB8AC3E}">
        <p14:creationId xmlns:p14="http://schemas.microsoft.com/office/powerpoint/2010/main" val="876551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1 column">
    <p:bg>
      <p:bgPr>
        <a:solidFill>
          <a:srgbClr val="FFFFFF"/>
        </a:solidFill>
        <a:effectLst/>
      </p:bgPr>
    </p:bg>
    <p:spTree>
      <p:nvGrpSpPr>
        <p:cNvPr id="1" name=""/>
        <p:cNvGrpSpPr/>
        <p:nvPr/>
      </p:nvGrpSpPr>
      <p:grpSpPr>
        <a:xfrm>
          <a:off x="0" y="0"/>
          <a:ext cx="0" cy="0"/>
          <a:chOff x="0" y="0"/>
          <a:chExt cx="0" cy="0"/>
        </a:xfrm>
      </p:grpSpPr>
      <p:sp>
        <p:nvSpPr>
          <p:cNvPr id="5" name="CI21ti1c_Title">
            <a:extLst>
              <a:ext uri="{FF2B5EF4-FFF2-40B4-BE49-F238E27FC236}">
                <a16:creationId xmlns:a16="http://schemas.microsoft.com/office/drawing/2014/main" id="{A410782E-6062-4578-81D0-AB5C18540D68}"/>
              </a:ext>
            </a:extLst>
          </p:cNvPr>
          <p:cNvSpPr>
            <a:spLocks noGrp="1"/>
          </p:cNvSpPr>
          <p:nvPr>
            <p:ph type="body" sz="quarter" idx="16" hasCustomPrompt="1"/>
          </p:nvPr>
        </p:nvSpPr>
        <p:spPr>
          <a:xfrm>
            <a:off x="736951" y="778181"/>
            <a:ext cx="9954000" cy="338559"/>
          </a:xfrm>
          <a:prstGeom prst="rect">
            <a:avLst/>
          </a:prstGeom>
        </p:spPr>
        <p:txBody>
          <a:bodyPr lIns="0" tIns="0" rIns="0" bIns="0">
            <a:noAutofit/>
          </a:bodyPr>
          <a:lstStyle>
            <a:lvl1pPr marL="0" indent="0">
              <a:lnSpc>
                <a:spcPct val="90000"/>
              </a:lnSpc>
              <a:spcBef>
                <a:spcPts val="0"/>
              </a:spcBef>
              <a:buNone/>
              <a:defRPr lang="de-DE" sz="2600" b="0" i="0" kern="1200" dirty="0" smtClean="0">
                <a:solidFill>
                  <a:schemeClr val="tx1"/>
                </a:solidFill>
                <a:latin typeface="+mj-lt"/>
                <a:ea typeface="+mj-ea"/>
                <a:cs typeface="+mj-cs"/>
              </a:defRPr>
            </a:lvl1pPr>
          </a:lstStyle>
          <a:p>
            <a:pPr marL="0" marR="0" lvl="0" indent="0" algn="l" defTabSz="626400" rtl="0" eaLnBrk="1" fontAlgn="auto" latinLnBrk="0" hangingPunct="1">
              <a:lnSpc>
                <a:spcPct val="90000"/>
              </a:lnSpc>
              <a:spcBef>
                <a:spcPts val="0"/>
              </a:spcBef>
              <a:spcAft>
                <a:spcPts val="0"/>
              </a:spcAft>
              <a:buClr>
                <a:schemeClr val="accent2"/>
              </a:buClr>
              <a:buSzPct val="100000"/>
              <a:buFont typeface="Wingdings" pitchFamily="2" charset="2"/>
              <a:buNone/>
              <a:tabLst/>
              <a:defRPr/>
            </a:pPr>
            <a:r>
              <a:rPr lang="en-GB" noProof="0" dirty="0"/>
              <a:t>Slide title</a:t>
            </a:r>
          </a:p>
        </p:txBody>
      </p:sp>
      <p:sp>
        <p:nvSpPr>
          <p:cNvPr id="20" name="CI21ti1c_SubTitle">
            <a:extLst>
              <a:ext uri="{FF2B5EF4-FFF2-40B4-BE49-F238E27FC236}">
                <a16:creationId xmlns:a16="http://schemas.microsoft.com/office/drawing/2014/main" id="{42CB1962-3956-41B6-9F4E-AC81B9C4CEEE}"/>
              </a:ext>
            </a:extLst>
          </p:cNvPr>
          <p:cNvSpPr>
            <a:spLocks noGrp="1"/>
          </p:cNvSpPr>
          <p:nvPr>
            <p:ph type="body" sz="quarter" idx="18" hasCustomPrompt="1"/>
          </p:nvPr>
        </p:nvSpPr>
        <p:spPr>
          <a:xfrm>
            <a:off x="736951" y="1116740"/>
            <a:ext cx="9954000" cy="405495"/>
          </a:xfrm>
          <a:prstGeom prst="rect">
            <a:avLst/>
          </a:prstGeom>
        </p:spPr>
        <p:txBody>
          <a:bodyPr lIns="0" tIns="0" rIns="0" bIns="0">
            <a:normAutofit/>
          </a:bodyPr>
          <a:lstStyle>
            <a:lvl1pPr marL="0" indent="0">
              <a:lnSpc>
                <a:spcPct val="90000"/>
              </a:lnSpc>
              <a:spcBef>
                <a:spcPts val="0"/>
              </a:spcBef>
              <a:buNone/>
              <a:defRPr lang="de-DE" sz="2200" b="0" i="0" kern="1200" dirty="0" smtClean="0">
                <a:solidFill>
                  <a:schemeClr val="tx1">
                    <a:lumMod val="50000"/>
                    <a:lumOff val="50000"/>
                  </a:schemeClr>
                </a:solidFill>
                <a:latin typeface="Roche Sans Condensed Light" panose="020B0306030201040101" pitchFamily="34" charset="0"/>
                <a:ea typeface="+mj-ea"/>
                <a:cs typeface="+mj-cs"/>
              </a:defRPr>
            </a:lvl1pPr>
          </a:lstStyle>
          <a:p>
            <a:pPr marL="0" marR="0" lvl="0" indent="0" algn="l" defTabSz="626400" rtl="0" eaLnBrk="1" fontAlgn="auto" latinLnBrk="0" hangingPunct="1">
              <a:lnSpc>
                <a:spcPct val="90000"/>
              </a:lnSpc>
              <a:spcBef>
                <a:spcPts val="0"/>
              </a:spcBef>
              <a:spcAft>
                <a:spcPts val="0"/>
              </a:spcAft>
              <a:buClr>
                <a:schemeClr val="accent2"/>
              </a:buClr>
              <a:buSzPct val="100000"/>
              <a:buFont typeface="Wingdings" pitchFamily="2" charset="2"/>
              <a:buNone/>
              <a:tabLst/>
              <a:defRPr/>
            </a:pPr>
            <a:r>
              <a:rPr lang="en-GB" noProof="0" dirty="0"/>
              <a:t>Subtitle goes here but is not mandatory</a:t>
            </a:r>
          </a:p>
        </p:txBody>
      </p:sp>
      <p:sp>
        <p:nvSpPr>
          <p:cNvPr id="3" name="CI21ti1c_Content">
            <a:extLst>
              <a:ext uri="{FF2B5EF4-FFF2-40B4-BE49-F238E27FC236}">
                <a16:creationId xmlns:a16="http://schemas.microsoft.com/office/drawing/2014/main" id="{3D121162-BF13-4D08-8C5B-8D0859B8B41B}"/>
              </a:ext>
            </a:extLst>
          </p:cNvPr>
          <p:cNvSpPr>
            <a:spLocks noGrp="1"/>
          </p:cNvSpPr>
          <p:nvPr>
            <p:ph sz="quarter" idx="19"/>
          </p:nvPr>
        </p:nvSpPr>
        <p:spPr>
          <a:xfrm>
            <a:off x="736600" y="1893888"/>
            <a:ext cx="10977563" cy="4511806"/>
          </a:xfrm>
          <a:prstGeom prst="rect">
            <a:avLst/>
          </a:prstGeom>
        </p:spPr>
        <p:txBody>
          <a:bodyPr lIns="0" tIns="0" rIns="0" bIns="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Foliennummernplatzhalter 1">
            <a:extLst>
              <a:ext uri="{FF2B5EF4-FFF2-40B4-BE49-F238E27FC236}">
                <a16:creationId xmlns:a16="http://schemas.microsoft.com/office/drawing/2014/main" id="{763E17D6-C264-4012-9A95-9DDACD523A14}"/>
              </a:ext>
            </a:extLst>
          </p:cNvPr>
          <p:cNvSpPr>
            <a:spLocks noGrp="1"/>
          </p:cNvSpPr>
          <p:nvPr>
            <p:ph type="sldNum" sz="quarter" idx="20"/>
          </p:nvPr>
        </p:nvSpPr>
        <p:spPr/>
        <p:txBody>
          <a:bodyPr/>
          <a:lstStyle/>
          <a:p>
            <a:fld id="{27557D08-9667-754E-9FA9-FFD3988FC8C5}" type="slidenum">
              <a:rPr lang="en-CH" smtClean="0"/>
              <a:pPr/>
              <a:t>‹#›</a:t>
            </a:fld>
            <a:endParaRPr lang="en-CH" dirty="0"/>
          </a:p>
        </p:txBody>
      </p:sp>
    </p:spTree>
    <p:extLst>
      <p:ext uri="{BB962C8B-B14F-4D97-AF65-F5344CB8AC3E}">
        <p14:creationId xmlns:p14="http://schemas.microsoft.com/office/powerpoint/2010/main" val="198039378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31" name="Graphic 630">
            <a:extLst>
              <a:ext uri="{FF2B5EF4-FFF2-40B4-BE49-F238E27FC236}">
                <a16:creationId xmlns:a16="http://schemas.microsoft.com/office/drawing/2014/main" id="{315B9E8A-01EA-E303-3A84-C901ECB147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222177" cy="6858000"/>
          </a:xfrm>
          <a:prstGeom prst="rect">
            <a:avLst/>
          </a:prstGeom>
        </p:spPr>
      </p:pic>
      <p:sp>
        <p:nvSpPr>
          <p:cNvPr id="635" name="Freeform 634">
            <a:extLst>
              <a:ext uri="{FF2B5EF4-FFF2-40B4-BE49-F238E27FC236}">
                <a16:creationId xmlns:a16="http://schemas.microsoft.com/office/drawing/2014/main" id="{544062CE-52D0-C717-7A12-0C445C8133C3}"/>
              </a:ext>
            </a:extLst>
          </p:cNvPr>
          <p:cNvSpPr/>
          <p:nvPr userDrawn="1"/>
        </p:nvSpPr>
        <p:spPr>
          <a:xfrm flipV="1">
            <a:off x="1" y="-1"/>
            <a:ext cx="12207089" cy="5898049"/>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gradFill>
            <a:gsLst>
              <a:gs pos="0">
                <a:srgbClr val="FFFFFF">
                  <a:alpha val="0"/>
                </a:srgbClr>
              </a:gs>
              <a:gs pos="50000">
                <a:srgbClr val="FFFFFF">
                  <a:alpha val="49804"/>
                </a:srgbClr>
              </a:gs>
              <a:gs pos="100000">
                <a:srgbClr val="FFFFFF"/>
              </a:gs>
            </a:gsLst>
            <a:lin ang="5400000" scaled="0"/>
          </a:gradFill>
          <a:ln w="0" cap="flat">
            <a:noFill/>
            <a:prstDash val="solid"/>
            <a:miter/>
          </a:ln>
        </p:spPr>
        <p:txBody>
          <a:bodyPr rtlCol="0" anchor="ctr"/>
          <a:lstStyle/>
          <a:p>
            <a:endParaRPr lang="en-AD" sz="2400"/>
          </a:p>
        </p:txBody>
      </p:sp>
      <p:sp>
        <p:nvSpPr>
          <p:cNvPr id="318" name="Freeform 317">
            <a:extLst>
              <a:ext uri="{FF2B5EF4-FFF2-40B4-BE49-F238E27FC236}">
                <a16:creationId xmlns:a16="http://schemas.microsoft.com/office/drawing/2014/main" id="{398B2DB3-BA63-5450-BEFC-B50A364221F6}"/>
              </a:ext>
            </a:extLst>
          </p:cNvPr>
          <p:cNvSpPr/>
          <p:nvPr/>
        </p:nvSpPr>
        <p:spPr>
          <a:xfrm>
            <a:off x="-15090" y="0"/>
            <a:ext cx="12222179" cy="6858000"/>
          </a:xfrm>
          <a:custGeom>
            <a:avLst/>
            <a:gdLst>
              <a:gd name="connsiteX0" fmla="*/ 0 w 9166634"/>
              <a:gd name="connsiteY0" fmla="*/ 0 h 5143500"/>
              <a:gd name="connsiteX1" fmla="*/ 9166634 w 9166634"/>
              <a:gd name="connsiteY1" fmla="*/ 0 h 5143500"/>
              <a:gd name="connsiteX2" fmla="*/ 9166634 w 9166634"/>
              <a:gd name="connsiteY2" fmla="*/ 5143500 h 5143500"/>
              <a:gd name="connsiteX3" fmla="*/ 0 w 916663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66634" h="5143500">
                <a:moveTo>
                  <a:pt x="0" y="0"/>
                </a:moveTo>
                <a:lnTo>
                  <a:pt x="9166634" y="0"/>
                </a:lnTo>
                <a:lnTo>
                  <a:pt x="9166634" y="5143500"/>
                </a:lnTo>
                <a:lnTo>
                  <a:pt x="0" y="5143500"/>
                </a:lnTo>
                <a:close/>
              </a:path>
            </a:pathLst>
          </a:custGeom>
          <a:noFill/>
          <a:ln w="0" cap="flat">
            <a:noFill/>
            <a:prstDash val="solid"/>
            <a:miter/>
          </a:ln>
        </p:spPr>
        <p:txBody>
          <a:bodyPr rtlCol="0" anchor="ctr"/>
          <a:lstStyle/>
          <a:p>
            <a:endParaRPr lang="en-AD" sz="2400"/>
          </a:p>
        </p:txBody>
      </p:sp>
      <p:sp>
        <p:nvSpPr>
          <p:cNvPr id="320" name="Freeform 319">
            <a:extLst>
              <a:ext uri="{FF2B5EF4-FFF2-40B4-BE49-F238E27FC236}">
                <a16:creationId xmlns:a16="http://schemas.microsoft.com/office/drawing/2014/main" id="{E4AE84B8-8A78-EB8F-FF9D-41F060EAF8FC}"/>
              </a:ext>
            </a:extLst>
          </p:cNvPr>
          <p:cNvSpPr/>
          <p:nvPr/>
        </p:nvSpPr>
        <p:spPr>
          <a:xfrm>
            <a:off x="0" y="5898050"/>
            <a:ext cx="12222179" cy="959951"/>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solidFill>
            <a:srgbClr val="1D4966"/>
          </a:solidFill>
          <a:ln w="0" cap="flat">
            <a:noFill/>
            <a:prstDash val="solid"/>
            <a:miter/>
          </a:ln>
        </p:spPr>
        <p:txBody>
          <a:bodyPr rtlCol="0" anchor="ctr"/>
          <a:lstStyle/>
          <a:p>
            <a:endParaRPr lang="en-AD" sz="2400"/>
          </a:p>
        </p:txBody>
      </p:sp>
      <p:grpSp>
        <p:nvGrpSpPr>
          <p:cNvPr id="637" name="Group 636">
            <a:extLst>
              <a:ext uri="{FF2B5EF4-FFF2-40B4-BE49-F238E27FC236}">
                <a16:creationId xmlns:a16="http://schemas.microsoft.com/office/drawing/2014/main" id="{0405645B-C84A-B523-66C2-CD9CDAB10D02}"/>
              </a:ext>
            </a:extLst>
          </p:cNvPr>
          <p:cNvGrpSpPr/>
          <p:nvPr userDrawn="1"/>
        </p:nvGrpSpPr>
        <p:grpSpPr>
          <a:xfrm>
            <a:off x="2667509" y="1319107"/>
            <a:ext cx="2725884" cy="549316"/>
            <a:chOff x="2000631" y="989330"/>
            <a:chExt cx="2044413" cy="411987"/>
          </a:xfrm>
        </p:grpSpPr>
        <p:sp>
          <p:nvSpPr>
            <p:cNvPr id="321" name="Freeform 320">
              <a:extLst>
                <a:ext uri="{FF2B5EF4-FFF2-40B4-BE49-F238E27FC236}">
                  <a16:creationId xmlns:a16="http://schemas.microsoft.com/office/drawing/2014/main" id="{11E11E00-37F3-0F5B-6A9F-629E446F5E50}"/>
                </a:ext>
              </a:extLst>
            </p:cNvPr>
            <p:cNvSpPr/>
            <p:nvPr/>
          </p:nvSpPr>
          <p:spPr>
            <a:xfrm>
              <a:off x="2000631" y="996441"/>
              <a:ext cx="365137" cy="397763"/>
            </a:xfrm>
            <a:custGeom>
              <a:avLst/>
              <a:gdLst>
                <a:gd name="connsiteX0" fmla="*/ 148831 w 365137"/>
                <a:gd name="connsiteY0" fmla="*/ 397764 h 397763"/>
                <a:gd name="connsiteX1" fmla="*/ 0 w 365137"/>
                <a:gd name="connsiteY1" fmla="*/ 0 h 397763"/>
                <a:gd name="connsiteX2" fmla="*/ 59838 w 365137"/>
                <a:gd name="connsiteY2" fmla="*/ 0 h 397763"/>
                <a:gd name="connsiteX3" fmla="*/ 162199 w 365137"/>
                <a:gd name="connsiteY3" fmla="*/ 281813 h 397763"/>
                <a:gd name="connsiteX4" fmla="*/ 169201 w 365137"/>
                <a:gd name="connsiteY4" fmla="*/ 300355 h 397763"/>
                <a:gd name="connsiteX5" fmla="*/ 176203 w 365137"/>
                <a:gd name="connsiteY5" fmla="*/ 320675 h 397763"/>
                <a:gd name="connsiteX6" fmla="*/ 182569 w 365137"/>
                <a:gd name="connsiteY6" fmla="*/ 338074 h 397763"/>
                <a:gd name="connsiteX7" fmla="*/ 186006 w 365137"/>
                <a:gd name="connsiteY7" fmla="*/ 338074 h 397763"/>
                <a:gd name="connsiteX8" fmla="*/ 191863 w 365137"/>
                <a:gd name="connsiteY8" fmla="*/ 321310 h 397763"/>
                <a:gd name="connsiteX9" fmla="*/ 198865 w 365137"/>
                <a:gd name="connsiteY9" fmla="*/ 301244 h 397763"/>
                <a:gd name="connsiteX10" fmla="*/ 205867 w 365137"/>
                <a:gd name="connsiteY10" fmla="*/ 281813 h 397763"/>
                <a:gd name="connsiteX11" fmla="*/ 306955 w 365137"/>
                <a:gd name="connsiteY11" fmla="*/ 0 h 397763"/>
                <a:gd name="connsiteX12" fmla="*/ 365138 w 365137"/>
                <a:gd name="connsiteY12" fmla="*/ 0 h 397763"/>
                <a:gd name="connsiteX13" fmla="*/ 215798 w 365137"/>
                <a:gd name="connsiteY13" fmla="*/ 397764 h 397763"/>
                <a:gd name="connsiteX14" fmla="*/ 148958 w 365137"/>
                <a:gd name="connsiteY14"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137" h="397763">
                  <a:moveTo>
                    <a:pt x="148831" y="397764"/>
                  </a:moveTo>
                  <a:lnTo>
                    <a:pt x="0" y="0"/>
                  </a:lnTo>
                  <a:lnTo>
                    <a:pt x="59838" y="0"/>
                  </a:lnTo>
                  <a:lnTo>
                    <a:pt x="162199" y="281813"/>
                  </a:lnTo>
                  <a:cubicBezTo>
                    <a:pt x="164490" y="287274"/>
                    <a:pt x="166909" y="293370"/>
                    <a:pt x="169201" y="300355"/>
                  </a:cubicBezTo>
                  <a:cubicBezTo>
                    <a:pt x="171492" y="307340"/>
                    <a:pt x="173911" y="314071"/>
                    <a:pt x="176203" y="320675"/>
                  </a:cubicBezTo>
                  <a:cubicBezTo>
                    <a:pt x="178495" y="327279"/>
                    <a:pt x="180659" y="332994"/>
                    <a:pt x="182569" y="338074"/>
                  </a:cubicBezTo>
                  <a:lnTo>
                    <a:pt x="186006" y="338074"/>
                  </a:lnTo>
                  <a:cubicBezTo>
                    <a:pt x="187534" y="333375"/>
                    <a:pt x="189444" y="327787"/>
                    <a:pt x="191863" y="321310"/>
                  </a:cubicBezTo>
                  <a:cubicBezTo>
                    <a:pt x="194154" y="314706"/>
                    <a:pt x="196573" y="308102"/>
                    <a:pt x="198865" y="301244"/>
                  </a:cubicBezTo>
                  <a:cubicBezTo>
                    <a:pt x="201157" y="294513"/>
                    <a:pt x="203576" y="288036"/>
                    <a:pt x="205867" y="281813"/>
                  </a:cubicBezTo>
                  <a:lnTo>
                    <a:pt x="306955" y="0"/>
                  </a:lnTo>
                  <a:lnTo>
                    <a:pt x="365138" y="0"/>
                  </a:lnTo>
                  <a:lnTo>
                    <a:pt x="215798" y="397764"/>
                  </a:lnTo>
                  <a:lnTo>
                    <a:pt x="148958" y="397764"/>
                  </a:lnTo>
                  <a:close/>
                </a:path>
              </a:pathLst>
            </a:custGeom>
            <a:solidFill>
              <a:srgbClr val="1D4966"/>
            </a:solidFill>
            <a:ln w="0" cap="flat">
              <a:noFill/>
              <a:prstDash val="solid"/>
              <a:miter/>
            </a:ln>
          </p:spPr>
          <p:txBody>
            <a:bodyPr rtlCol="0" anchor="ctr"/>
            <a:lstStyle/>
            <a:p>
              <a:endParaRPr lang="en-AD" sz="2400"/>
            </a:p>
          </p:txBody>
        </p:sp>
        <p:sp>
          <p:nvSpPr>
            <p:cNvPr id="322" name="Freeform 321">
              <a:extLst>
                <a:ext uri="{FF2B5EF4-FFF2-40B4-BE49-F238E27FC236}">
                  <a16:creationId xmlns:a16="http://schemas.microsoft.com/office/drawing/2014/main" id="{F0145789-4E60-3D86-E1EE-8D33F8317FB5}"/>
                </a:ext>
              </a:extLst>
            </p:cNvPr>
            <p:cNvSpPr/>
            <p:nvPr/>
          </p:nvSpPr>
          <p:spPr>
            <a:xfrm>
              <a:off x="2425607" y="996441"/>
              <a:ext cx="55254" cy="397763"/>
            </a:xfrm>
            <a:custGeom>
              <a:avLst/>
              <a:gdLst>
                <a:gd name="connsiteX0" fmla="*/ 0 w 55254"/>
                <a:gd name="connsiteY0" fmla="*/ 397764 h 397763"/>
                <a:gd name="connsiteX1" fmla="*/ 0 w 55254"/>
                <a:gd name="connsiteY1" fmla="*/ 0 h 397763"/>
                <a:gd name="connsiteX2" fmla="*/ 55254 w 55254"/>
                <a:gd name="connsiteY2" fmla="*/ 0 h 397763"/>
                <a:gd name="connsiteX3" fmla="*/ 55254 w 55254"/>
                <a:gd name="connsiteY3" fmla="*/ 397764 h 397763"/>
                <a:gd name="connsiteX4" fmla="*/ 0 w 55254"/>
                <a:gd name="connsiteY4" fmla="*/ 397764 h 397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54" h="397763">
                  <a:moveTo>
                    <a:pt x="0" y="397764"/>
                  </a:moveTo>
                  <a:lnTo>
                    <a:pt x="0" y="0"/>
                  </a:lnTo>
                  <a:lnTo>
                    <a:pt x="55254" y="0"/>
                  </a:lnTo>
                  <a:lnTo>
                    <a:pt x="55254" y="397764"/>
                  </a:lnTo>
                  <a:lnTo>
                    <a:pt x="0" y="397764"/>
                  </a:lnTo>
                  <a:close/>
                </a:path>
              </a:pathLst>
            </a:custGeom>
            <a:solidFill>
              <a:srgbClr val="1D4966"/>
            </a:solidFill>
            <a:ln w="0" cap="flat">
              <a:noFill/>
              <a:prstDash val="solid"/>
              <a:miter/>
            </a:ln>
          </p:spPr>
          <p:txBody>
            <a:bodyPr rtlCol="0" anchor="ctr"/>
            <a:lstStyle/>
            <a:p>
              <a:endParaRPr lang="en-AD" sz="2400"/>
            </a:p>
          </p:txBody>
        </p:sp>
        <p:sp>
          <p:nvSpPr>
            <p:cNvPr id="323" name="Freeform 322">
              <a:extLst>
                <a:ext uri="{FF2B5EF4-FFF2-40B4-BE49-F238E27FC236}">
                  <a16:creationId xmlns:a16="http://schemas.microsoft.com/office/drawing/2014/main" id="{F71CBF64-D313-4F5D-8C15-2634FE9E6325}"/>
                </a:ext>
              </a:extLst>
            </p:cNvPr>
            <p:cNvSpPr/>
            <p:nvPr/>
          </p:nvSpPr>
          <p:spPr>
            <a:xfrm>
              <a:off x="2556231" y="989457"/>
              <a:ext cx="366156" cy="411860"/>
            </a:xfrm>
            <a:custGeom>
              <a:avLst/>
              <a:gdLst>
                <a:gd name="connsiteX0" fmla="*/ 190717 w 366156"/>
                <a:gd name="connsiteY0" fmla="*/ 411734 h 411860"/>
                <a:gd name="connsiteX1" fmla="*/ 87210 w 366156"/>
                <a:gd name="connsiteY1" fmla="*/ 389382 h 411860"/>
                <a:gd name="connsiteX2" fmla="*/ 22407 w 366156"/>
                <a:gd name="connsiteY2" fmla="*/ 321564 h 411860"/>
                <a:gd name="connsiteX3" fmla="*/ 0 w 366156"/>
                <a:gd name="connsiteY3" fmla="*/ 205867 h 411860"/>
                <a:gd name="connsiteX4" fmla="*/ 50544 w 366156"/>
                <a:gd name="connsiteY4" fmla="*/ 51054 h 411860"/>
                <a:gd name="connsiteX5" fmla="*/ 191226 w 366156"/>
                <a:gd name="connsiteY5" fmla="*/ 0 h 411860"/>
                <a:gd name="connsiteX6" fmla="*/ 281874 w 366156"/>
                <a:gd name="connsiteY6" fmla="*/ 16510 h 411860"/>
                <a:gd name="connsiteX7" fmla="*/ 343749 w 366156"/>
                <a:gd name="connsiteY7" fmla="*/ 66421 h 411860"/>
                <a:gd name="connsiteX8" fmla="*/ 366156 w 366156"/>
                <a:gd name="connsiteY8" fmla="*/ 150241 h 411860"/>
                <a:gd name="connsiteX9" fmla="*/ 310392 w 366156"/>
                <a:gd name="connsiteY9" fmla="*/ 150241 h 411860"/>
                <a:gd name="connsiteX10" fmla="*/ 295624 w 366156"/>
                <a:gd name="connsiteY10" fmla="*/ 92837 h 411860"/>
                <a:gd name="connsiteX11" fmla="*/ 254120 w 366156"/>
                <a:gd name="connsiteY11" fmla="*/ 58928 h 411860"/>
                <a:gd name="connsiteX12" fmla="*/ 191353 w 366156"/>
                <a:gd name="connsiteY12" fmla="*/ 47625 h 411860"/>
                <a:gd name="connsiteX13" fmla="*/ 119293 w 366156"/>
                <a:gd name="connsiteY13" fmla="*/ 63881 h 411860"/>
                <a:gd name="connsiteX14" fmla="*/ 73333 w 366156"/>
                <a:gd name="connsiteY14" fmla="*/ 114046 h 411860"/>
                <a:gd name="connsiteX15" fmla="*/ 57673 w 366156"/>
                <a:gd name="connsiteY15" fmla="*/ 201295 h 411860"/>
                <a:gd name="connsiteX16" fmla="*/ 57673 w 366156"/>
                <a:gd name="connsiteY16" fmla="*/ 213487 h 411860"/>
                <a:gd name="connsiteX17" fmla="*/ 73333 w 366156"/>
                <a:gd name="connsiteY17" fmla="*/ 299593 h 411860"/>
                <a:gd name="connsiteX18" fmla="*/ 118912 w 366156"/>
                <a:gd name="connsiteY18" fmla="*/ 348615 h 411860"/>
                <a:gd name="connsiteX19" fmla="*/ 191226 w 366156"/>
                <a:gd name="connsiteY19" fmla="*/ 364236 h 411860"/>
                <a:gd name="connsiteX20" fmla="*/ 255393 w 366156"/>
                <a:gd name="connsiteY20" fmla="*/ 353187 h 411860"/>
                <a:gd name="connsiteX21" fmla="*/ 297279 w 366156"/>
                <a:gd name="connsiteY21" fmla="*/ 319278 h 411860"/>
                <a:gd name="connsiteX22" fmla="*/ 312047 w 366156"/>
                <a:gd name="connsiteY22" fmla="*/ 261620 h 411860"/>
                <a:gd name="connsiteX23" fmla="*/ 366156 w 366156"/>
                <a:gd name="connsiteY23" fmla="*/ 261620 h 411860"/>
                <a:gd name="connsiteX24" fmla="*/ 343240 w 366156"/>
                <a:gd name="connsiteY24" fmla="*/ 346329 h 411860"/>
                <a:gd name="connsiteX25" fmla="*/ 280728 w 366156"/>
                <a:gd name="connsiteY25" fmla="*/ 395605 h 411860"/>
                <a:gd name="connsiteX26" fmla="*/ 190590 w 366156"/>
                <a:gd name="connsiteY26" fmla="*/ 411861 h 41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6156" h="411860">
                  <a:moveTo>
                    <a:pt x="190717" y="411734"/>
                  </a:moveTo>
                  <a:cubicBezTo>
                    <a:pt x="149976" y="411734"/>
                    <a:pt x="115474" y="404241"/>
                    <a:pt x="87210" y="389382"/>
                  </a:cubicBezTo>
                  <a:cubicBezTo>
                    <a:pt x="58947" y="374523"/>
                    <a:pt x="37303" y="351917"/>
                    <a:pt x="22407" y="321564"/>
                  </a:cubicBezTo>
                  <a:cubicBezTo>
                    <a:pt x="7512" y="291211"/>
                    <a:pt x="0" y="252603"/>
                    <a:pt x="0" y="205867"/>
                  </a:cubicBezTo>
                  <a:cubicBezTo>
                    <a:pt x="0" y="136652"/>
                    <a:pt x="16806" y="85090"/>
                    <a:pt x="50544" y="51054"/>
                  </a:cubicBezTo>
                  <a:cubicBezTo>
                    <a:pt x="84282" y="17018"/>
                    <a:pt x="131134" y="0"/>
                    <a:pt x="191226" y="0"/>
                  </a:cubicBezTo>
                  <a:cubicBezTo>
                    <a:pt x="225346" y="0"/>
                    <a:pt x="255520" y="5461"/>
                    <a:pt x="281874" y="16510"/>
                  </a:cubicBezTo>
                  <a:cubicBezTo>
                    <a:pt x="308228" y="27559"/>
                    <a:pt x="328853" y="44196"/>
                    <a:pt x="343749" y="66421"/>
                  </a:cubicBezTo>
                  <a:cubicBezTo>
                    <a:pt x="358645" y="88646"/>
                    <a:pt x="366156" y="116586"/>
                    <a:pt x="366156" y="150241"/>
                  </a:cubicBezTo>
                  <a:lnTo>
                    <a:pt x="310392" y="150241"/>
                  </a:lnTo>
                  <a:cubicBezTo>
                    <a:pt x="310392" y="127000"/>
                    <a:pt x="305427" y="107950"/>
                    <a:pt x="295624" y="92837"/>
                  </a:cubicBezTo>
                  <a:cubicBezTo>
                    <a:pt x="285821" y="77724"/>
                    <a:pt x="271943" y="66421"/>
                    <a:pt x="254120" y="58928"/>
                  </a:cubicBezTo>
                  <a:cubicBezTo>
                    <a:pt x="236295" y="51435"/>
                    <a:pt x="215416" y="47625"/>
                    <a:pt x="191353" y="47625"/>
                  </a:cubicBezTo>
                  <a:cubicBezTo>
                    <a:pt x="163472" y="47625"/>
                    <a:pt x="139409" y="53086"/>
                    <a:pt x="119293" y="63881"/>
                  </a:cubicBezTo>
                  <a:cubicBezTo>
                    <a:pt x="99178" y="74676"/>
                    <a:pt x="83773" y="91440"/>
                    <a:pt x="73333" y="114046"/>
                  </a:cubicBezTo>
                  <a:cubicBezTo>
                    <a:pt x="62893" y="136652"/>
                    <a:pt x="57673" y="165735"/>
                    <a:pt x="57673" y="201295"/>
                  </a:cubicBezTo>
                  <a:lnTo>
                    <a:pt x="57673" y="213487"/>
                  </a:lnTo>
                  <a:cubicBezTo>
                    <a:pt x="57673" y="248666"/>
                    <a:pt x="62893" y="277368"/>
                    <a:pt x="73333" y="299593"/>
                  </a:cubicBezTo>
                  <a:cubicBezTo>
                    <a:pt x="83773" y="321818"/>
                    <a:pt x="99051" y="338201"/>
                    <a:pt x="118912" y="348615"/>
                  </a:cubicBezTo>
                  <a:cubicBezTo>
                    <a:pt x="138900" y="359029"/>
                    <a:pt x="162962" y="364236"/>
                    <a:pt x="191226" y="364236"/>
                  </a:cubicBezTo>
                  <a:cubicBezTo>
                    <a:pt x="216052" y="364236"/>
                    <a:pt x="237441" y="360553"/>
                    <a:pt x="255393" y="353187"/>
                  </a:cubicBezTo>
                  <a:cubicBezTo>
                    <a:pt x="273471" y="345821"/>
                    <a:pt x="287349" y="334518"/>
                    <a:pt x="297279" y="319278"/>
                  </a:cubicBezTo>
                  <a:cubicBezTo>
                    <a:pt x="307210" y="304038"/>
                    <a:pt x="312047" y="284734"/>
                    <a:pt x="312047" y="261620"/>
                  </a:cubicBezTo>
                  <a:lnTo>
                    <a:pt x="366156" y="261620"/>
                  </a:lnTo>
                  <a:cubicBezTo>
                    <a:pt x="366156" y="296037"/>
                    <a:pt x="358517" y="324231"/>
                    <a:pt x="343240" y="346329"/>
                  </a:cubicBezTo>
                  <a:cubicBezTo>
                    <a:pt x="327962" y="368300"/>
                    <a:pt x="307082" y="384810"/>
                    <a:pt x="280728" y="395605"/>
                  </a:cubicBezTo>
                  <a:cubicBezTo>
                    <a:pt x="254374" y="406400"/>
                    <a:pt x="224328" y="411861"/>
                    <a:pt x="190590" y="411861"/>
                  </a:cubicBezTo>
                  <a:close/>
                </a:path>
              </a:pathLst>
            </a:custGeom>
            <a:solidFill>
              <a:srgbClr val="1D4966"/>
            </a:solidFill>
            <a:ln w="0" cap="flat">
              <a:noFill/>
              <a:prstDash val="solid"/>
              <a:miter/>
            </a:ln>
          </p:spPr>
          <p:txBody>
            <a:bodyPr rtlCol="0" anchor="ctr"/>
            <a:lstStyle/>
            <a:p>
              <a:endParaRPr lang="en-AD" sz="2400"/>
            </a:p>
          </p:txBody>
        </p:sp>
        <p:sp>
          <p:nvSpPr>
            <p:cNvPr id="324" name="Freeform 323">
              <a:extLst>
                <a:ext uri="{FF2B5EF4-FFF2-40B4-BE49-F238E27FC236}">
                  <a16:creationId xmlns:a16="http://schemas.microsoft.com/office/drawing/2014/main" id="{5803A0C8-28B3-A8E8-6710-76474733F821}"/>
                </a:ext>
              </a:extLst>
            </p:cNvPr>
            <p:cNvSpPr/>
            <p:nvPr/>
          </p:nvSpPr>
          <p:spPr>
            <a:xfrm>
              <a:off x="2949251" y="996441"/>
              <a:ext cx="329616" cy="397763"/>
            </a:xfrm>
            <a:custGeom>
              <a:avLst/>
              <a:gdLst>
                <a:gd name="connsiteX0" fmla="*/ 136608 w 329616"/>
                <a:gd name="connsiteY0" fmla="*/ 397764 h 397763"/>
                <a:gd name="connsiteX1" fmla="*/ 136608 w 329616"/>
                <a:gd name="connsiteY1" fmla="*/ 48133 h 397763"/>
                <a:gd name="connsiteX2" fmla="*/ 0 w 329616"/>
                <a:gd name="connsiteY2" fmla="*/ 48133 h 397763"/>
                <a:gd name="connsiteX3" fmla="*/ 0 w 329616"/>
                <a:gd name="connsiteY3" fmla="*/ 0 h 397763"/>
                <a:gd name="connsiteX4" fmla="*/ 329617 w 329616"/>
                <a:gd name="connsiteY4" fmla="*/ 0 h 397763"/>
                <a:gd name="connsiteX5" fmla="*/ 329617 w 329616"/>
                <a:gd name="connsiteY5" fmla="*/ 48133 h 397763"/>
                <a:gd name="connsiteX6" fmla="*/ 191863 w 329616"/>
                <a:gd name="connsiteY6" fmla="*/ 48133 h 397763"/>
                <a:gd name="connsiteX7" fmla="*/ 191863 w 329616"/>
                <a:gd name="connsiteY7" fmla="*/ 397764 h 397763"/>
                <a:gd name="connsiteX8" fmla="*/ 136608 w 329616"/>
                <a:gd name="connsiteY8"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616" h="397763">
                  <a:moveTo>
                    <a:pt x="136608" y="397764"/>
                  </a:moveTo>
                  <a:lnTo>
                    <a:pt x="136608" y="48133"/>
                  </a:lnTo>
                  <a:lnTo>
                    <a:pt x="0" y="48133"/>
                  </a:lnTo>
                  <a:lnTo>
                    <a:pt x="0" y="0"/>
                  </a:lnTo>
                  <a:lnTo>
                    <a:pt x="329617" y="0"/>
                  </a:lnTo>
                  <a:lnTo>
                    <a:pt x="329617" y="48133"/>
                  </a:lnTo>
                  <a:lnTo>
                    <a:pt x="191863" y="48133"/>
                  </a:lnTo>
                  <a:lnTo>
                    <a:pt x="191863" y="397764"/>
                  </a:lnTo>
                  <a:lnTo>
                    <a:pt x="136608" y="397764"/>
                  </a:lnTo>
                  <a:close/>
                </a:path>
              </a:pathLst>
            </a:custGeom>
            <a:solidFill>
              <a:srgbClr val="1D4966"/>
            </a:solidFill>
            <a:ln w="0" cap="flat">
              <a:noFill/>
              <a:prstDash val="solid"/>
              <a:miter/>
            </a:ln>
          </p:spPr>
          <p:txBody>
            <a:bodyPr rtlCol="0" anchor="ctr"/>
            <a:lstStyle/>
            <a:p>
              <a:endParaRPr lang="en-AD" sz="2400"/>
            </a:p>
          </p:txBody>
        </p:sp>
        <p:sp>
          <p:nvSpPr>
            <p:cNvPr id="325" name="Freeform 324">
              <a:extLst>
                <a:ext uri="{FF2B5EF4-FFF2-40B4-BE49-F238E27FC236}">
                  <a16:creationId xmlns:a16="http://schemas.microsoft.com/office/drawing/2014/main" id="{18DBE8C7-492E-0402-D8C3-404C2127CC26}"/>
                </a:ext>
              </a:extLst>
            </p:cNvPr>
            <p:cNvSpPr/>
            <p:nvPr/>
          </p:nvSpPr>
          <p:spPr>
            <a:xfrm>
              <a:off x="3316043" y="989330"/>
              <a:ext cx="294478" cy="411861"/>
            </a:xfrm>
            <a:custGeom>
              <a:avLst/>
              <a:gdLst>
                <a:gd name="connsiteX0" fmla="*/ 148831 w 294478"/>
                <a:gd name="connsiteY0" fmla="*/ 411861 h 411861"/>
                <a:gd name="connsiteX1" fmla="*/ 66840 w 294478"/>
                <a:gd name="connsiteY1" fmla="*/ 396748 h 411861"/>
                <a:gd name="connsiteX2" fmla="*/ 16806 w 294478"/>
                <a:gd name="connsiteY2" fmla="*/ 354965 h 411861"/>
                <a:gd name="connsiteX3" fmla="*/ 0 w 294478"/>
                <a:gd name="connsiteY3" fmla="*/ 293497 h 411861"/>
                <a:gd name="connsiteX4" fmla="*/ 0 w 294478"/>
                <a:gd name="connsiteY4" fmla="*/ 283591 h 411861"/>
                <a:gd name="connsiteX5" fmla="*/ 78426 w 294478"/>
                <a:gd name="connsiteY5" fmla="*/ 283591 h 411861"/>
                <a:gd name="connsiteX6" fmla="*/ 78426 w 294478"/>
                <a:gd name="connsiteY6" fmla="*/ 294640 h 411861"/>
                <a:gd name="connsiteX7" fmla="*/ 95613 w 294478"/>
                <a:gd name="connsiteY7" fmla="*/ 334645 h 411861"/>
                <a:gd name="connsiteX8" fmla="*/ 145266 w 294478"/>
                <a:gd name="connsiteY8" fmla="*/ 349123 h 411861"/>
                <a:gd name="connsiteX9" fmla="*/ 194154 w 294478"/>
                <a:gd name="connsiteY9" fmla="*/ 334645 h 411861"/>
                <a:gd name="connsiteX10" fmla="*/ 211596 w 294478"/>
                <a:gd name="connsiteY10" fmla="*/ 289941 h 411861"/>
                <a:gd name="connsiteX11" fmla="*/ 202302 w 294478"/>
                <a:gd name="connsiteY11" fmla="*/ 255143 h 411861"/>
                <a:gd name="connsiteX12" fmla="*/ 178240 w 294478"/>
                <a:gd name="connsiteY12" fmla="*/ 237744 h 411861"/>
                <a:gd name="connsiteX13" fmla="*/ 146030 w 294478"/>
                <a:gd name="connsiteY13" fmla="*/ 232537 h 411861"/>
                <a:gd name="connsiteX14" fmla="*/ 110636 w 294478"/>
                <a:gd name="connsiteY14" fmla="*/ 232537 h 411861"/>
                <a:gd name="connsiteX15" fmla="*/ 110636 w 294478"/>
                <a:gd name="connsiteY15" fmla="*/ 171704 h 411861"/>
                <a:gd name="connsiteX16" fmla="*/ 145520 w 294478"/>
                <a:gd name="connsiteY16" fmla="*/ 171704 h 411861"/>
                <a:gd name="connsiteX17" fmla="*/ 174930 w 294478"/>
                <a:gd name="connsiteY17" fmla="*/ 165608 h 411861"/>
                <a:gd name="connsiteX18" fmla="*/ 195810 w 294478"/>
                <a:gd name="connsiteY18" fmla="*/ 147320 h 411861"/>
                <a:gd name="connsiteX19" fmla="*/ 203703 w 294478"/>
                <a:gd name="connsiteY19" fmla="*/ 115951 h 411861"/>
                <a:gd name="connsiteX20" fmla="*/ 196446 w 294478"/>
                <a:gd name="connsiteY20" fmla="*/ 86106 h 411861"/>
                <a:gd name="connsiteX21" fmla="*/ 176076 w 294478"/>
                <a:gd name="connsiteY21" fmla="*/ 68453 h 411861"/>
                <a:gd name="connsiteX22" fmla="*/ 146157 w 294478"/>
                <a:gd name="connsiteY22" fmla="*/ 62611 h 411861"/>
                <a:gd name="connsiteX23" fmla="*/ 115601 w 294478"/>
                <a:gd name="connsiteY23" fmla="*/ 68453 h 411861"/>
                <a:gd name="connsiteX24" fmla="*/ 94340 w 294478"/>
                <a:gd name="connsiteY24" fmla="*/ 85852 h 411861"/>
                <a:gd name="connsiteX25" fmla="*/ 86828 w 294478"/>
                <a:gd name="connsiteY25" fmla="*/ 114808 h 411861"/>
                <a:gd name="connsiteX26" fmla="*/ 86828 w 294478"/>
                <a:gd name="connsiteY26" fmla="*/ 123444 h 411861"/>
                <a:gd name="connsiteX27" fmla="*/ 9549 w 294478"/>
                <a:gd name="connsiteY27" fmla="*/ 123444 h 411861"/>
                <a:gd name="connsiteX28" fmla="*/ 9549 w 294478"/>
                <a:gd name="connsiteY28" fmla="*/ 108966 h 411861"/>
                <a:gd name="connsiteX29" fmla="*/ 26736 w 294478"/>
                <a:gd name="connsiteY29" fmla="*/ 51816 h 411861"/>
                <a:gd name="connsiteX30" fmla="*/ 75243 w 294478"/>
                <a:gd name="connsiteY30" fmla="*/ 13589 h 411861"/>
                <a:gd name="connsiteX31" fmla="*/ 147939 w 294478"/>
                <a:gd name="connsiteY31" fmla="*/ 0 h 411861"/>
                <a:gd name="connsiteX32" fmla="*/ 220254 w 294478"/>
                <a:gd name="connsiteY32" fmla="*/ 12700 h 411861"/>
                <a:gd name="connsiteX33" fmla="*/ 268506 w 294478"/>
                <a:gd name="connsiteY33" fmla="*/ 50038 h 411861"/>
                <a:gd name="connsiteX34" fmla="*/ 285693 w 294478"/>
                <a:gd name="connsiteY34" fmla="*/ 108331 h 411861"/>
                <a:gd name="connsiteX35" fmla="*/ 277291 w 294478"/>
                <a:gd name="connsiteY35" fmla="*/ 148336 h 411861"/>
                <a:gd name="connsiteX36" fmla="*/ 254883 w 294478"/>
                <a:gd name="connsiteY36" fmla="*/ 177673 h 411861"/>
                <a:gd name="connsiteX37" fmla="*/ 222927 w 294478"/>
                <a:gd name="connsiteY37" fmla="*/ 197739 h 411861"/>
                <a:gd name="connsiteX38" fmla="*/ 222927 w 294478"/>
                <a:gd name="connsiteY38" fmla="*/ 200025 h 411861"/>
                <a:gd name="connsiteX39" fmla="*/ 274362 w 294478"/>
                <a:gd name="connsiteY39" fmla="*/ 233934 h 411861"/>
                <a:gd name="connsiteX40" fmla="*/ 294478 w 294478"/>
                <a:gd name="connsiteY40" fmla="*/ 297434 h 411861"/>
                <a:gd name="connsiteX41" fmla="*/ 276145 w 294478"/>
                <a:gd name="connsiteY41" fmla="*/ 357759 h 411861"/>
                <a:gd name="connsiteX42" fmla="*/ 225856 w 294478"/>
                <a:gd name="connsiteY42" fmla="*/ 397510 h 411861"/>
                <a:gd name="connsiteX43" fmla="*/ 149085 w 294478"/>
                <a:gd name="connsiteY43" fmla="*/ 411734 h 41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94478" h="411861">
                  <a:moveTo>
                    <a:pt x="148831" y="411861"/>
                  </a:moveTo>
                  <a:cubicBezTo>
                    <a:pt x="116238" y="411861"/>
                    <a:pt x="88993" y="406781"/>
                    <a:pt x="66840" y="396748"/>
                  </a:cubicBezTo>
                  <a:cubicBezTo>
                    <a:pt x="44687" y="386715"/>
                    <a:pt x="28136" y="372745"/>
                    <a:pt x="16806" y="354965"/>
                  </a:cubicBezTo>
                  <a:cubicBezTo>
                    <a:pt x="5602" y="337185"/>
                    <a:pt x="0" y="316738"/>
                    <a:pt x="0" y="293497"/>
                  </a:cubicBezTo>
                  <a:lnTo>
                    <a:pt x="0" y="283591"/>
                  </a:lnTo>
                  <a:lnTo>
                    <a:pt x="78426" y="283591"/>
                  </a:lnTo>
                  <a:lnTo>
                    <a:pt x="78426" y="294640"/>
                  </a:lnTo>
                  <a:cubicBezTo>
                    <a:pt x="78426" y="311658"/>
                    <a:pt x="84155" y="324993"/>
                    <a:pt x="95613" y="334645"/>
                  </a:cubicBezTo>
                  <a:cubicBezTo>
                    <a:pt x="107071" y="344297"/>
                    <a:pt x="123622" y="349123"/>
                    <a:pt x="145266" y="349123"/>
                  </a:cubicBezTo>
                  <a:cubicBezTo>
                    <a:pt x="166909" y="349123"/>
                    <a:pt x="182441" y="344297"/>
                    <a:pt x="194154" y="334645"/>
                  </a:cubicBezTo>
                  <a:cubicBezTo>
                    <a:pt x="205740" y="324993"/>
                    <a:pt x="211596" y="310134"/>
                    <a:pt x="211596" y="289941"/>
                  </a:cubicBezTo>
                  <a:cubicBezTo>
                    <a:pt x="211596" y="274828"/>
                    <a:pt x="208541" y="263271"/>
                    <a:pt x="202302" y="255143"/>
                  </a:cubicBezTo>
                  <a:cubicBezTo>
                    <a:pt x="196064" y="247015"/>
                    <a:pt x="188043" y="241173"/>
                    <a:pt x="178240" y="237744"/>
                  </a:cubicBezTo>
                  <a:cubicBezTo>
                    <a:pt x="168310" y="234315"/>
                    <a:pt x="157615" y="232537"/>
                    <a:pt x="146030" y="232537"/>
                  </a:cubicBezTo>
                  <a:lnTo>
                    <a:pt x="110636" y="232537"/>
                  </a:lnTo>
                  <a:lnTo>
                    <a:pt x="110636" y="171704"/>
                  </a:lnTo>
                  <a:lnTo>
                    <a:pt x="145520" y="171704"/>
                  </a:lnTo>
                  <a:cubicBezTo>
                    <a:pt x="156342" y="171704"/>
                    <a:pt x="166145" y="169672"/>
                    <a:pt x="174930" y="165608"/>
                  </a:cubicBezTo>
                  <a:cubicBezTo>
                    <a:pt x="183715" y="161544"/>
                    <a:pt x="190590" y="155448"/>
                    <a:pt x="195810" y="147320"/>
                  </a:cubicBezTo>
                  <a:cubicBezTo>
                    <a:pt x="201029" y="139192"/>
                    <a:pt x="203703" y="128778"/>
                    <a:pt x="203703" y="115951"/>
                  </a:cubicBezTo>
                  <a:cubicBezTo>
                    <a:pt x="203703" y="104013"/>
                    <a:pt x="201284" y="93980"/>
                    <a:pt x="196446" y="86106"/>
                  </a:cubicBezTo>
                  <a:cubicBezTo>
                    <a:pt x="191608" y="78232"/>
                    <a:pt x="184860" y="72263"/>
                    <a:pt x="176076" y="68453"/>
                  </a:cubicBezTo>
                  <a:cubicBezTo>
                    <a:pt x="167291" y="64643"/>
                    <a:pt x="157360" y="62611"/>
                    <a:pt x="146157" y="62611"/>
                  </a:cubicBezTo>
                  <a:cubicBezTo>
                    <a:pt x="134953" y="62611"/>
                    <a:pt x="124768" y="64516"/>
                    <a:pt x="115601" y="68453"/>
                  </a:cubicBezTo>
                  <a:cubicBezTo>
                    <a:pt x="106435" y="72263"/>
                    <a:pt x="99432" y="78105"/>
                    <a:pt x="94340" y="85852"/>
                  </a:cubicBezTo>
                  <a:cubicBezTo>
                    <a:pt x="89247" y="93599"/>
                    <a:pt x="86828" y="103251"/>
                    <a:pt x="86828" y="114808"/>
                  </a:cubicBezTo>
                  <a:lnTo>
                    <a:pt x="86828" y="123444"/>
                  </a:lnTo>
                  <a:lnTo>
                    <a:pt x="9549" y="123444"/>
                  </a:lnTo>
                  <a:lnTo>
                    <a:pt x="9549" y="108966"/>
                  </a:lnTo>
                  <a:cubicBezTo>
                    <a:pt x="9549" y="87376"/>
                    <a:pt x="15277" y="68326"/>
                    <a:pt x="26736" y="51816"/>
                  </a:cubicBezTo>
                  <a:cubicBezTo>
                    <a:pt x="38194" y="35433"/>
                    <a:pt x="54363" y="22606"/>
                    <a:pt x="75243" y="13589"/>
                  </a:cubicBezTo>
                  <a:cubicBezTo>
                    <a:pt x="96122" y="4572"/>
                    <a:pt x="120439" y="0"/>
                    <a:pt x="147939" y="0"/>
                  </a:cubicBezTo>
                  <a:cubicBezTo>
                    <a:pt x="175439" y="0"/>
                    <a:pt x="199629" y="4318"/>
                    <a:pt x="220254" y="12700"/>
                  </a:cubicBezTo>
                  <a:cubicBezTo>
                    <a:pt x="241006" y="21209"/>
                    <a:pt x="257048" y="33655"/>
                    <a:pt x="268506" y="50038"/>
                  </a:cubicBezTo>
                  <a:cubicBezTo>
                    <a:pt x="279964" y="66421"/>
                    <a:pt x="285693" y="85852"/>
                    <a:pt x="285693" y="108331"/>
                  </a:cubicBezTo>
                  <a:cubicBezTo>
                    <a:pt x="285693" y="123444"/>
                    <a:pt x="282893" y="136779"/>
                    <a:pt x="277291" y="148336"/>
                  </a:cubicBezTo>
                  <a:cubicBezTo>
                    <a:pt x="271689" y="159893"/>
                    <a:pt x="264177" y="169672"/>
                    <a:pt x="254883" y="177673"/>
                  </a:cubicBezTo>
                  <a:cubicBezTo>
                    <a:pt x="245590" y="185547"/>
                    <a:pt x="234895" y="192278"/>
                    <a:pt x="222927" y="197739"/>
                  </a:cubicBezTo>
                  <a:lnTo>
                    <a:pt x="222927" y="200025"/>
                  </a:lnTo>
                  <a:cubicBezTo>
                    <a:pt x="243807" y="206248"/>
                    <a:pt x="260994" y="217551"/>
                    <a:pt x="274362" y="233934"/>
                  </a:cubicBezTo>
                  <a:cubicBezTo>
                    <a:pt x="287731" y="250317"/>
                    <a:pt x="294478" y="271526"/>
                    <a:pt x="294478" y="297434"/>
                  </a:cubicBezTo>
                  <a:cubicBezTo>
                    <a:pt x="294096" y="320675"/>
                    <a:pt x="287985" y="340741"/>
                    <a:pt x="276145" y="357759"/>
                  </a:cubicBezTo>
                  <a:cubicBezTo>
                    <a:pt x="264304" y="374777"/>
                    <a:pt x="247626" y="387985"/>
                    <a:pt x="225856" y="397510"/>
                  </a:cubicBezTo>
                  <a:cubicBezTo>
                    <a:pt x="204085" y="407035"/>
                    <a:pt x="178622" y="411734"/>
                    <a:pt x="149085" y="411734"/>
                  </a:cubicBezTo>
                  <a:close/>
                </a:path>
              </a:pathLst>
            </a:custGeom>
            <a:solidFill>
              <a:srgbClr val="E5834B"/>
            </a:solidFill>
            <a:ln w="0" cap="flat">
              <a:noFill/>
              <a:prstDash val="solid"/>
              <a:miter/>
            </a:ln>
          </p:spPr>
          <p:txBody>
            <a:bodyPr rtlCol="0" anchor="ctr"/>
            <a:lstStyle/>
            <a:p>
              <a:endParaRPr lang="en-AD" sz="2400"/>
            </a:p>
          </p:txBody>
        </p:sp>
        <p:sp>
          <p:nvSpPr>
            <p:cNvPr id="326" name="Freeform 325">
              <a:extLst>
                <a:ext uri="{FF2B5EF4-FFF2-40B4-BE49-F238E27FC236}">
                  <a16:creationId xmlns:a16="http://schemas.microsoft.com/office/drawing/2014/main" id="{B40BD685-1775-9B86-AC5B-176AE2A5979C}"/>
                </a:ext>
              </a:extLst>
            </p:cNvPr>
            <p:cNvSpPr/>
            <p:nvPr/>
          </p:nvSpPr>
          <p:spPr>
            <a:xfrm>
              <a:off x="3681053" y="996441"/>
              <a:ext cx="363991" cy="397763"/>
            </a:xfrm>
            <a:custGeom>
              <a:avLst/>
              <a:gdLst>
                <a:gd name="connsiteX0" fmla="*/ 0 w 363991"/>
                <a:gd name="connsiteY0" fmla="*/ 397764 h 397763"/>
                <a:gd name="connsiteX1" fmla="*/ 0 w 363991"/>
                <a:gd name="connsiteY1" fmla="*/ 0 h 397763"/>
                <a:gd name="connsiteX2" fmla="*/ 218599 w 363991"/>
                <a:gd name="connsiteY2" fmla="*/ 0 h 397763"/>
                <a:gd name="connsiteX3" fmla="*/ 292187 w 363991"/>
                <a:gd name="connsiteY3" fmla="*/ 15621 h 397763"/>
                <a:gd name="connsiteX4" fmla="*/ 336110 w 363991"/>
                <a:gd name="connsiteY4" fmla="*/ 59436 h 397763"/>
                <a:gd name="connsiteX5" fmla="*/ 350624 w 363991"/>
                <a:gd name="connsiteY5" fmla="*/ 124079 h 397763"/>
                <a:gd name="connsiteX6" fmla="*/ 333182 w 363991"/>
                <a:gd name="connsiteY6" fmla="*/ 192786 h 397763"/>
                <a:gd name="connsiteX7" fmla="*/ 282638 w 363991"/>
                <a:gd name="connsiteY7" fmla="*/ 238252 h 397763"/>
                <a:gd name="connsiteX8" fmla="*/ 363992 w 363991"/>
                <a:gd name="connsiteY8" fmla="*/ 397764 h 397763"/>
                <a:gd name="connsiteX9" fmla="*/ 268124 w 363991"/>
                <a:gd name="connsiteY9" fmla="*/ 397764 h 397763"/>
                <a:gd name="connsiteX10" fmla="*/ 197847 w 363991"/>
                <a:gd name="connsiteY10" fmla="*/ 252857 h 397763"/>
                <a:gd name="connsiteX11" fmla="*/ 86828 w 363991"/>
                <a:gd name="connsiteY11" fmla="*/ 252857 h 397763"/>
                <a:gd name="connsiteX12" fmla="*/ 86828 w 363991"/>
                <a:gd name="connsiteY12" fmla="*/ 397764 h 397763"/>
                <a:gd name="connsiteX13" fmla="*/ 255 w 363991"/>
                <a:gd name="connsiteY13" fmla="*/ 397764 h 397763"/>
                <a:gd name="connsiteX14" fmla="*/ 86701 w 363991"/>
                <a:gd name="connsiteY14" fmla="*/ 184404 h 397763"/>
                <a:gd name="connsiteX15" fmla="*/ 207013 w 363991"/>
                <a:gd name="connsiteY15" fmla="*/ 184404 h 397763"/>
                <a:gd name="connsiteX16" fmla="*/ 247754 w 363991"/>
                <a:gd name="connsiteY16" fmla="*/ 168402 h 397763"/>
                <a:gd name="connsiteX17" fmla="*/ 262268 w 363991"/>
                <a:gd name="connsiteY17" fmla="*/ 125222 h 397763"/>
                <a:gd name="connsiteX18" fmla="*/ 255902 w 363991"/>
                <a:gd name="connsiteY18" fmla="*/ 95377 h 397763"/>
                <a:gd name="connsiteX19" fmla="*/ 237314 w 363991"/>
                <a:gd name="connsiteY19" fmla="*/ 76581 h 397763"/>
                <a:gd name="connsiteX20" fmla="*/ 207141 w 363991"/>
                <a:gd name="connsiteY20" fmla="*/ 70231 h 397763"/>
                <a:gd name="connsiteX21" fmla="*/ 86828 w 363991"/>
                <a:gd name="connsiteY21" fmla="*/ 70231 h 397763"/>
                <a:gd name="connsiteX22" fmla="*/ 86828 w 363991"/>
                <a:gd name="connsiteY22" fmla="*/ 18440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3991" h="397763">
                  <a:moveTo>
                    <a:pt x="0" y="397764"/>
                  </a:moveTo>
                  <a:lnTo>
                    <a:pt x="0" y="0"/>
                  </a:lnTo>
                  <a:lnTo>
                    <a:pt x="218599" y="0"/>
                  </a:lnTo>
                  <a:cubicBezTo>
                    <a:pt x="248009" y="0"/>
                    <a:pt x="272580" y="5207"/>
                    <a:pt x="292187" y="15621"/>
                  </a:cubicBezTo>
                  <a:cubicBezTo>
                    <a:pt x="311793" y="26035"/>
                    <a:pt x="326434" y="40640"/>
                    <a:pt x="336110" y="59436"/>
                  </a:cubicBezTo>
                  <a:cubicBezTo>
                    <a:pt x="345786" y="78232"/>
                    <a:pt x="350624" y="99695"/>
                    <a:pt x="350624" y="124079"/>
                  </a:cubicBezTo>
                  <a:cubicBezTo>
                    <a:pt x="350624" y="149987"/>
                    <a:pt x="344768" y="172847"/>
                    <a:pt x="333182" y="192786"/>
                  </a:cubicBezTo>
                  <a:cubicBezTo>
                    <a:pt x="321596" y="212725"/>
                    <a:pt x="304664" y="227838"/>
                    <a:pt x="282638" y="238252"/>
                  </a:cubicBezTo>
                  <a:lnTo>
                    <a:pt x="363992" y="397764"/>
                  </a:lnTo>
                  <a:lnTo>
                    <a:pt x="268124" y="397764"/>
                  </a:lnTo>
                  <a:lnTo>
                    <a:pt x="197847" y="252857"/>
                  </a:lnTo>
                  <a:lnTo>
                    <a:pt x="86828" y="252857"/>
                  </a:lnTo>
                  <a:lnTo>
                    <a:pt x="86828" y="397764"/>
                  </a:lnTo>
                  <a:lnTo>
                    <a:pt x="255" y="397764"/>
                  </a:lnTo>
                  <a:close/>
                  <a:moveTo>
                    <a:pt x="86701" y="184404"/>
                  </a:moveTo>
                  <a:lnTo>
                    <a:pt x="207013" y="184404"/>
                  </a:lnTo>
                  <a:cubicBezTo>
                    <a:pt x="224455" y="184404"/>
                    <a:pt x="237951" y="179070"/>
                    <a:pt x="247754" y="168402"/>
                  </a:cubicBezTo>
                  <a:cubicBezTo>
                    <a:pt x="257430" y="157734"/>
                    <a:pt x="262268" y="143383"/>
                    <a:pt x="262268" y="125222"/>
                  </a:cubicBezTo>
                  <a:cubicBezTo>
                    <a:pt x="262268" y="113665"/>
                    <a:pt x="260104" y="103632"/>
                    <a:pt x="255902" y="95377"/>
                  </a:cubicBezTo>
                  <a:cubicBezTo>
                    <a:pt x="251573" y="87122"/>
                    <a:pt x="245462" y="80772"/>
                    <a:pt x="237314" y="76581"/>
                  </a:cubicBezTo>
                  <a:cubicBezTo>
                    <a:pt x="229166" y="72390"/>
                    <a:pt x="219108" y="70231"/>
                    <a:pt x="207141" y="70231"/>
                  </a:cubicBezTo>
                  <a:lnTo>
                    <a:pt x="86828" y="70231"/>
                  </a:lnTo>
                  <a:lnTo>
                    <a:pt x="86828" y="184404"/>
                  </a:lnTo>
                  <a:close/>
                </a:path>
              </a:pathLst>
            </a:custGeom>
            <a:solidFill>
              <a:srgbClr val="E5834B"/>
            </a:solidFill>
            <a:ln w="0" cap="flat">
              <a:noFill/>
              <a:prstDash val="solid"/>
              <a:miter/>
            </a:ln>
          </p:spPr>
          <p:txBody>
            <a:bodyPr rtlCol="0" anchor="ctr"/>
            <a:lstStyle/>
            <a:p>
              <a:endParaRPr lang="en-AD" sz="2400"/>
            </a:p>
          </p:txBody>
        </p:sp>
      </p:grpSp>
      <p:grpSp>
        <p:nvGrpSpPr>
          <p:cNvPr id="636" name="Group 635">
            <a:extLst>
              <a:ext uri="{FF2B5EF4-FFF2-40B4-BE49-F238E27FC236}">
                <a16:creationId xmlns:a16="http://schemas.microsoft.com/office/drawing/2014/main" id="{81019B17-8E4F-2D71-A678-DFE86AE47909}"/>
              </a:ext>
            </a:extLst>
          </p:cNvPr>
          <p:cNvGrpSpPr/>
          <p:nvPr userDrawn="1"/>
        </p:nvGrpSpPr>
        <p:grpSpPr>
          <a:xfrm>
            <a:off x="1335119" y="1182792"/>
            <a:ext cx="1085908" cy="821904"/>
            <a:chOff x="1001339" y="887094"/>
            <a:chExt cx="814431" cy="616428"/>
          </a:xfrm>
        </p:grpSpPr>
        <p:sp>
          <p:nvSpPr>
            <p:cNvPr id="327" name="Freeform 326">
              <a:extLst>
                <a:ext uri="{FF2B5EF4-FFF2-40B4-BE49-F238E27FC236}">
                  <a16:creationId xmlns:a16="http://schemas.microsoft.com/office/drawing/2014/main" id="{3AF7600D-93E6-D227-CE90-CDF1A878CEFC}"/>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28" name="Freeform 327">
              <a:extLst>
                <a:ext uri="{FF2B5EF4-FFF2-40B4-BE49-F238E27FC236}">
                  <a16:creationId xmlns:a16="http://schemas.microsoft.com/office/drawing/2014/main" id="{CF2B917A-3DB1-30D3-6162-F71967C023B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9" name="Freeform 328">
              <a:extLst>
                <a:ext uri="{FF2B5EF4-FFF2-40B4-BE49-F238E27FC236}">
                  <a16:creationId xmlns:a16="http://schemas.microsoft.com/office/drawing/2014/main" id="{28E90941-F8A1-8792-9B99-DB0C1F37303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412" name="Freeform 411">
            <a:extLst>
              <a:ext uri="{FF2B5EF4-FFF2-40B4-BE49-F238E27FC236}">
                <a16:creationId xmlns:a16="http://schemas.microsoft.com/office/drawing/2014/main" id="{AA5B924F-15C1-0727-97B6-4EF1E3819CAA}"/>
              </a:ext>
            </a:extLst>
          </p:cNvPr>
          <p:cNvSpPr/>
          <p:nvPr/>
        </p:nvSpPr>
        <p:spPr>
          <a:xfrm>
            <a:off x="8011331" y="6078024"/>
            <a:ext cx="16975" cy="600000"/>
          </a:xfrm>
          <a:custGeom>
            <a:avLst/>
            <a:gdLst>
              <a:gd name="connsiteX0" fmla="*/ 0 w 12731"/>
              <a:gd name="connsiteY0" fmla="*/ 0 h 360044"/>
              <a:gd name="connsiteX1" fmla="*/ 0 w 12731"/>
              <a:gd name="connsiteY1" fmla="*/ 360045 h 360044"/>
            </a:gdLst>
            <a:ahLst/>
            <a:cxnLst>
              <a:cxn ang="0">
                <a:pos x="connsiteX0" y="connsiteY0"/>
              </a:cxn>
              <a:cxn ang="0">
                <a:pos x="connsiteX1" y="connsiteY1"/>
              </a:cxn>
            </a:cxnLst>
            <a:rect l="l" t="t" r="r" b="b"/>
            <a:pathLst>
              <a:path w="12731" h="360044">
                <a:moveTo>
                  <a:pt x="0" y="0"/>
                </a:moveTo>
                <a:lnTo>
                  <a:pt x="0" y="360045"/>
                </a:lnTo>
              </a:path>
            </a:pathLst>
          </a:custGeom>
          <a:ln w="6350" cap="flat">
            <a:solidFill>
              <a:srgbClr val="FFFFFF"/>
            </a:solidFill>
            <a:prstDash val="solid"/>
            <a:miter/>
          </a:ln>
        </p:spPr>
        <p:txBody>
          <a:bodyPr rtlCol="0" anchor="ctr"/>
          <a:lstStyle/>
          <a:p>
            <a:endParaRPr lang="en-AD" sz="2400"/>
          </a:p>
        </p:txBody>
      </p:sp>
      <p:sp>
        <p:nvSpPr>
          <p:cNvPr id="2" name="Title 1"/>
          <p:cNvSpPr>
            <a:spLocks noGrp="1"/>
          </p:cNvSpPr>
          <p:nvPr userDrawn="1">
            <p:ph type="ctrTitle" hasCustomPrompt="1"/>
          </p:nvPr>
        </p:nvSpPr>
        <p:spPr>
          <a:xfrm>
            <a:off x="2770211" y="2447712"/>
            <a:ext cx="8849279" cy="1165427"/>
          </a:xfrm>
        </p:spPr>
        <p:txBody>
          <a:bodyPr anchor="b" anchorCtr="0">
            <a:normAutofit/>
          </a:bodyPr>
          <a:lstStyle>
            <a:lvl1pPr algn="l" fontAlgn="base">
              <a:defRPr sz="3733">
                <a:solidFill>
                  <a:schemeClr val="tx1"/>
                </a:solidFill>
              </a:defRPr>
            </a:lvl1pPr>
          </a:lstStyle>
          <a:p>
            <a:r>
              <a:rPr lang="en-GB" dirty="0"/>
              <a:t>Click to edit Presentation title</a:t>
            </a:r>
            <a:endParaRPr lang="en-US" dirty="0"/>
          </a:p>
        </p:txBody>
      </p:sp>
      <p:sp>
        <p:nvSpPr>
          <p:cNvPr id="3" name="Subtitle 2"/>
          <p:cNvSpPr>
            <a:spLocks noGrp="1"/>
          </p:cNvSpPr>
          <p:nvPr userDrawn="1">
            <p:ph type="subTitle" idx="1" hasCustomPrompt="1"/>
          </p:nvPr>
        </p:nvSpPr>
        <p:spPr>
          <a:xfrm>
            <a:off x="2762401" y="3835057"/>
            <a:ext cx="8849279" cy="1326843"/>
          </a:xfrm>
          <a:prstGeom prst="rect">
            <a:avLst/>
          </a:prstGeom>
        </p:spPr>
        <p:txBody>
          <a:bodyPr>
            <a:normAutofit/>
          </a:bodyPr>
          <a:lstStyle>
            <a:lvl1pPr marL="0" indent="0" algn="l">
              <a:buNone/>
              <a:defRPr sz="2133">
                <a:solidFill>
                  <a:schemeClr val="accent4"/>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Click to edit Presentation subtitle</a:t>
            </a:r>
            <a:endParaRPr lang="en-US" dirty="0"/>
          </a:p>
        </p:txBody>
      </p:sp>
      <p:sp>
        <p:nvSpPr>
          <p:cNvPr id="10" name="TextBox 9">
            <a:extLst>
              <a:ext uri="{FF2B5EF4-FFF2-40B4-BE49-F238E27FC236}">
                <a16:creationId xmlns:a16="http://schemas.microsoft.com/office/drawing/2014/main" id="{00B32663-0535-EC43-8487-0DC5A6ABF8DA}"/>
              </a:ext>
            </a:extLst>
          </p:cNvPr>
          <p:cNvSpPr txBox="1"/>
          <p:nvPr userDrawn="1"/>
        </p:nvSpPr>
        <p:spPr>
          <a:xfrm>
            <a:off x="8146275" y="6066223"/>
            <a:ext cx="3553967" cy="607923"/>
          </a:xfrm>
          <a:prstGeom prst="rect">
            <a:avLst/>
          </a:prstGeom>
          <a:noFill/>
        </p:spPr>
        <p:txBody>
          <a:bodyPr wrap="square" lIns="0" tIns="0" rIns="0" bIns="0" rtlCol="0">
            <a:spAutoFit/>
          </a:bodyPr>
          <a:lstStyle/>
          <a:p>
            <a:pPr>
              <a:lnSpc>
                <a:spcPts val="800"/>
              </a:lnSpc>
            </a:pPr>
            <a:r>
              <a:rPr lang="en-AD" sz="533"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 The JU receives support from the European Union’s Horizon Europe research and innovation programme and COCIR, EFPIA, Europa Bío, MedTech Europe, and Vaccines Europe and Instem Scientific Limited.</a:t>
            </a:r>
          </a:p>
          <a:p>
            <a:pPr>
              <a:lnSpc>
                <a:spcPts val="800"/>
              </a:lnSpc>
            </a:pPr>
            <a:r>
              <a:rPr lang="en-GB" sz="533" cap="none" baseline="0">
                <a:solidFill>
                  <a:schemeClr val="bg1"/>
                </a:solidFill>
                <a:effectLst/>
                <a:latin typeface="+mn-lt"/>
                <a:ea typeface="Times New Roman" panose="02020603050405020304" pitchFamily="18" charset="0"/>
                <a:cs typeface="Archivo Regular (Body)" pitchFamily="2" charset="77"/>
              </a:rPr>
              <a:t>Funded by the European Union, the private members, and those contributing partners of the IHI JU. Views and opinions expressed are however those of the author(s) only and do not necessarily reflect those of the aforementioned parties. Neither of the aforementioned parties can be held responsible for them.</a:t>
            </a:r>
            <a:endParaRPr lang="en-AD" sz="533" cap="none" baseline="0">
              <a:solidFill>
                <a:schemeClr val="bg1"/>
              </a:solidFill>
              <a:effectLst/>
              <a:latin typeface="+mn-lt"/>
              <a:ea typeface="Times New Roman" panose="02020603050405020304" pitchFamily="18" charset="0"/>
              <a:cs typeface="Archivo Regular (Body)" pitchFamily="2" charset="77"/>
            </a:endParaRPr>
          </a:p>
        </p:txBody>
      </p:sp>
      <p:grpSp>
        <p:nvGrpSpPr>
          <p:cNvPr id="638" name="Group 637">
            <a:extLst>
              <a:ext uri="{FF2B5EF4-FFF2-40B4-BE49-F238E27FC236}">
                <a16:creationId xmlns:a16="http://schemas.microsoft.com/office/drawing/2014/main" id="{141C27D4-C447-86C3-9217-F83FC83FFBE1}"/>
              </a:ext>
            </a:extLst>
          </p:cNvPr>
          <p:cNvGrpSpPr/>
          <p:nvPr userDrawn="1"/>
        </p:nvGrpSpPr>
        <p:grpSpPr>
          <a:xfrm>
            <a:off x="2762401" y="1976119"/>
            <a:ext cx="2643895" cy="239944"/>
            <a:chOff x="2071800" y="1482089"/>
            <a:chExt cx="1982921" cy="179958"/>
          </a:xfrm>
        </p:grpSpPr>
        <p:sp>
          <p:nvSpPr>
            <p:cNvPr id="330" name="Freeform 329">
              <a:extLst>
                <a:ext uri="{FF2B5EF4-FFF2-40B4-BE49-F238E27FC236}">
                  <a16:creationId xmlns:a16="http://schemas.microsoft.com/office/drawing/2014/main" id="{370EF5D5-5E08-EBDB-20E5-98B7B88C6035}"/>
                </a:ext>
              </a:extLst>
            </p:cNvPr>
            <p:cNvSpPr/>
            <p:nvPr/>
          </p:nvSpPr>
          <p:spPr>
            <a:xfrm>
              <a:off x="2077657" y="1485264"/>
              <a:ext cx="51562" cy="59182"/>
            </a:xfrm>
            <a:custGeom>
              <a:avLst/>
              <a:gdLst>
                <a:gd name="connsiteX0" fmla="*/ 0 w 51562"/>
                <a:gd name="connsiteY0" fmla="*/ 59182 h 59182"/>
                <a:gd name="connsiteX1" fmla="*/ 0 w 51562"/>
                <a:gd name="connsiteY1" fmla="*/ 0 h 59182"/>
                <a:gd name="connsiteX2" fmla="*/ 22153 w 51562"/>
                <a:gd name="connsiteY2" fmla="*/ 0 h 59182"/>
                <a:gd name="connsiteX3" fmla="*/ 38067 w 51562"/>
                <a:gd name="connsiteY3" fmla="*/ 3048 h 59182"/>
                <a:gd name="connsiteX4" fmla="*/ 48125 w 51562"/>
                <a:gd name="connsiteY4" fmla="*/ 12700 h 59182"/>
                <a:gd name="connsiteX5" fmla="*/ 51562 w 51562"/>
                <a:gd name="connsiteY5" fmla="*/ 29591 h 59182"/>
                <a:gd name="connsiteX6" fmla="*/ 48125 w 51562"/>
                <a:gd name="connsiteY6" fmla="*/ 46355 h 59182"/>
                <a:gd name="connsiteX7" fmla="*/ 38067 w 51562"/>
                <a:gd name="connsiteY7" fmla="*/ 56007 h 59182"/>
                <a:gd name="connsiteX8" fmla="*/ 22153 w 51562"/>
                <a:gd name="connsiteY8" fmla="*/ 59182 h 59182"/>
                <a:gd name="connsiteX9" fmla="*/ 0 w 51562"/>
                <a:gd name="connsiteY9" fmla="*/ 59182 h 59182"/>
                <a:gd name="connsiteX10" fmla="*/ 8148 w 51562"/>
                <a:gd name="connsiteY10" fmla="*/ 52070 h 59182"/>
                <a:gd name="connsiteX11" fmla="*/ 21898 w 51562"/>
                <a:gd name="connsiteY11" fmla="*/ 52070 h 59182"/>
                <a:gd name="connsiteX12" fmla="*/ 30683 w 51562"/>
                <a:gd name="connsiteY12" fmla="*/ 50800 h 59182"/>
                <a:gd name="connsiteX13" fmla="*/ 37303 w 51562"/>
                <a:gd name="connsiteY13" fmla="*/ 46990 h 59182"/>
                <a:gd name="connsiteX14" fmla="*/ 41504 w 51562"/>
                <a:gd name="connsiteY14" fmla="*/ 40259 h 59182"/>
                <a:gd name="connsiteX15" fmla="*/ 42905 w 51562"/>
                <a:gd name="connsiteY15" fmla="*/ 30480 h 59182"/>
                <a:gd name="connsiteX16" fmla="*/ 42905 w 51562"/>
                <a:gd name="connsiteY16" fmla="*/ 28702 h 59182"/>
                <a:gd name="connsiteX17" fmla="*/ 41504 w 51562"/>
                <a:gd name="connsiteY17" fmla="*/ 18796 h 59182"/>
                <a:gd name="connsiteX18" fmla="*/ 37303 w 51562"/>
                <a:gd name="connsiteY18" fmla="*/ 12065 h 59182"/>
                <a:gd name="connsiteX19" fmla="*/ 30683 w 51562"/>
                <a:gd name="connsiteY19" fmla="*/ 8255 h 59182"/>
                <a:gd name="connsiteX20" fmla="*/ 21771 w 51562"/>
                <a:gd name="connsiteY20" fmla="*/ 6985 h 59182"/>
                <a:gd name="connsiteX21" fmla="*/ 8021 w 51562"/>
                <a:gd name="connsiteY21" fmla="*/ 6985 h 59182"/>
                <a:gd name="connsiteX22" fmla="*/ 8021 w 51562"/>
                <a:gd name="connsiteY22" fmla="*/ 51943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62" h="59182">
                  <a:moveTo>
                    <a:pt x="0" y="59182"/>
                  </a:moveTo>
                  <a:lnTo>
                    <a:pt x="0" y="0"/>
                  </a:lnTo>
                  <a:lnTo>
                    <a:pt x="22153" y="0"/>
                  </a:lnTo>
                  <a:cubicBezTo>
                    <a:pt x="28391" y="0"/>
                    <a:pt x="33611" y="1016"/>
                    <a:pt x="38067" y="3048"/>
                  </a:cubicBezTo>
                  <a:cubicBezTo>
                    <a:pt x="42396" y="5080"/>
                    <a:pt x="45833" y="8382"/>
                    <a:pt x="48125" y="12700"/>
                  </a:cubicBezTo>
                  <a:cubicBezTo>
                    <a:pt x="50416" y="17018"/>
                    <a:pt x="51562" y="22606"/>
                    <a:pt x="51562" y="29591"/>
                  </a:cubicBezTo>
                  <a:cubicBezTo>
                    <a:pt x="51562" y="36576"/>
                    <a:pt x="50416" y="41910"/>
                    <a:pt x="48125" y="46355"/>
                  </a:cubicBezTo>
                  <a:cubicBezTo>
                    <a:pt x="45833" y="50673"/>
                    <a:pt x="42396" y="53975"/>
                    <a:pt x="38067" y="56007"/>
                  </a:cubicBezTo>
                  <a:cubicBezTo>
                    <a:pt x="33738" y="58166"/>
                    <a:pt x="28391" y="59182"/>
                    <a:pt x="22153" y="59182"/>
                  </a:cubicBezTo>
                  <a:lnTo>
                    <a:pt x="0" y="59182"/>
                  </a:lnTo>
                  <a:close/>
                  <a:moveTo>
                    <a:pt x="8148" y="52070"/>
                  </a:moveTo>
                  <a:lnTo>
                    <a:pt x="21898" y="52070"/>
                  </a:lnTo>
                  <a:cubicBezTo>
                    <a:pt x="25208" y="52070"/>
                    <a:pt x="28136" y="51689"/>
                    <a:pt x="30683" y="50800"/>
                  </a:cubicBezTo>
                  <a:cubicBezTo>
                    <a:pt x="33229" y="49911"/>
                    <a:pt x="35521" y="48641"/>
                    <a:pt x="37303" y="46990"/>
                  </a:cubicBezTo>
                  <a:cubicBezTo>
                    <a:pt x="39085" y="45212"/>
                    <a:pt x="40486" y="43053"/>
                    <a:pt x="41504" y="40259"/>
                  </a:cubicBezTo>
                  <a:cubicBezTo>
                    <a:pt x="42396" y="37592"/>
                    <a:pt x="42905" y="34290"/>
                    <a:pt x="42905" y="30480"/>
                  </a:cubicBezTo>
                  <a:lnTo>
                    <a:pt x="42905" y="28702"/>
                  </a:lnTo>
                  <a:cubicBezTo>
                    <a:pt x="42905" y="24765"/>
                    <a:pt x="42396" y="21463"/>
                    <a:pt x="41504" y="18796"/>
                  </a:cubicBezTo>
                  <a:cubicBezTo>
                    <a:pt x="40613" y="16129"/>
                    <a:pt x="39213" y="13843"/>
                    <a:pt x="37303" y="12065"/>
                  </a:cubicBezTo>
                  <a:cubicBezTo>
                    <a:pt x="35521" y="10287"/>
                    <a:pt x="33229" y="9017"/>
                    <a:pt x="30683" y="8255"/>
                  </a:cubicBezTo>
                  <a:cubicBezTo>
                    <a:pt x="28136" y="7366"/>
                    <a:pt x="25081" y="6985"/>
                    <a:pt x="21771" y="6985"/>
                  </a:cubicBezTo>
                  <a:lnTo>
                    <a:pt x="8021" y="6985"/>
                  </a:lnTo>
                  <a:lnTo>
                    <a:pt x="8021" y="51943"/>
                  </a:lnTo>
                  <a:close/>
                </a:path>
              </a:pathLst>
            </a:custGeom>
            <a:solidFill>
              <a:srgbClr val="1D4966"/>
            </a:solidFill>
            <a:ln w="0" cap="flat">
              <a:noFill/>
              <a:prstDash val="solid"/>
              <a:miter/>
            </a:ln>
          </p:spPr>
          <p:txBody>
            <a:bodyPr rtlCol="0" anchor="ctr"/>
            <a:lstStyle/>
            <a:p>
              <a:endParaRPr lang="en-AD" sz="2400"/>
            </a:p>
          </p:txBody>
        </p:sp>
        <p:sp>
          <p:nvSpPr>
            <p:cNvPr id="331" name="Freeform 330">
              <a:extLst>
                <a:ext uri="{FF2B5EF4-FFF2-40B4-BE49-F238E27FC236}">
                  <a16:creationId xmlns:a16="http://schemas.microsoft.com/office/drawing/2014/main" id="{81720270-23FE-CE9C-ABCF-8203A9F2F1CC}"/>
                </a:ext>
              </a:extLst>
            </p:cNvPr>
            <p:cNvSpPr/>
            <p:nvPr/>
          </p:nvSpPr>
          <p:spPr>
            <a:xfrm>
              <a:off x="213673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5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5"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32" name="Freeform 331">
              <a:extLst>
                <a:ext uri="{FF2B5EF4-FFF2-40B4-BE49-F238E27FC236}">
                  <a16:creationId xmlns:a16="http://schemas.microsoft.com/office/drawing/2014/main" id="{3070F1F8-4723-FFCD-88F3-84E1686D7315}"/>
                </a:ext>
              </a:extLst>
            </p:cNvPr>
            <p:cNvSpPr/>
            <p:nvPr/>
          </p:nvSpPr>
          <p:spPr>
            <a:xfrm>
              <a:off x="2180399" y="1499108"/>
              <a:ext cx="41249" cy="45338"/>
            </a:xfrm>
            <a:custGeom>
              <a:avLst/>
              <a:gdLst>
                <a:gd name="connsiteX0" fmla="*/ 16806 w 41249"/>
                <a:gd name="connsiteY0" fmla="*/ 45339 h 45338"/>
                <a:gd name="connsiteX1" fmla="*/ 0 w 41249"/>
                <a:gd name="connsiteY1" fmla="*/ 0 h 45338"/>
                <a:gd name="connsiteX2" fmla="*/ 7894 w 41249"/>
                <a:gd name="connsiteY2" fmla="*/ 0 h 45338"/>
                <a:gd name="connsiteX3" fmla="*/ 16169 w 41249"/>
                <a:gd name="connsiteY3" fmla="*/ 22733 h 45338"/>
                <a:gd name="connsiteX4" fmla="*/ 17569 w 41249"/>
                <a:gd name="connsiteY4" fmla="*/ 26797 h 45338"/>
                <a:gd name="connsiteX5" fmla="*/ 19225 w 41249"/>
                <a:gd name="connsiteY5" fmla="*/ 31750 h 45338"/>
                <a:gd name="connsiteX6" fmla="*/ 20625 w 41249"/>
                <a:gd name="connsiteY6" fmla="*/ 36322 h 45338"/>
                <a:gd name="connsiteX7" fmla="*/ 21007 w 41249"/>
                <a:gd name="connsiteY7" fmla="*/ 36322 h 45338"/>
                <a:gd name="connsiteX8" fmla="*/ 22407 w 41249"/>
                <a:gd name="connsiteY8" fmla="*/ 31877 h 45338"/>
                <a:gd name="connsiteX9" fmla="*/ 24062 w 41249"/>
                <a:gd name="connsiteY9" fmla="*/ 26924 h 45338"/>
                <a:gd name="connsiteX10" fmla="*/ 25463 w 41249"/>
                <a:gd name="connsiteY10" fmla="*/ 22733 h 45338"/>
                <a:gd name="connsiteX11" fmla="*/ 33611 w 41249"/>
                <a:gd name="connsiteY11" fmla="*/ 0 h 45338"/>
                <a:gd name="connsiteX12" fmla="*/ 41250 w 41249"/>
                <a:gd name="connsiteY12" fmla="*/ 0 h 45338"/>
                <a:gd name="connsiteX13" fmla="*/ 24445 w 41249"/>
                <a:gd name="connsiteY13" fmla="*/ 45339 h 45338"/>
                <a:gd name="connsiteX14" fmla="*/ 16806 w 41249"/>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49" h="45338">
                  <a:moveTo>
                    <a:pt x="16806" y="45339"/>
                  </a:moveTo>
                  <a:lnTo>
                    <a:pt x="0" y="0"/>
                  </a:lnTo>
                  <a:lnTo>
                    <a:pt x="7894" y="0"/>
                  </a:lnTo>
                  <a:lnTo>
                    <a:pt x="16169" y="22733"/>
                  </a:lnTo>
                  <a:cubicBezTo>
                    <a:pt x="16551" y="23876"/>
                    <a:pt x="17060" y="25146"/>
                    <a:pt x="17569" y="26797"/>
                  </a:cubicBezTo>
                  <a:cubicBezTo>
                    <a:pt x="18079" y="28448"/>
                    <a:pt x="18588" y="30099"/>
                    <a:pt x="19225" y="31750"/>
                  </a:cubicBezTo>
                  <a:cubicBezTo>
                    <a:pt x="19734" y="33401"/>
                    <a:pt x="20243" y="34925"/>
                    <a:pt x="20625" y="36322"/>
                  </a:cubicBezTo>
                  <a:lnTo>
                    <a:pt x="21007" y="36322"/>
                  </a:lnTo>
                  <a:cubicBezTo>
                    <a:pt x="21389" y="35052"/>
                    <a:pt x="21898" y="33528"/>
                    <a:pt x="22407" y="31877"/>
                  </a:cubicBezTo>
                  <a:cubicBezTo>
                    <a:pt x="22917" y="30226"/>
                    <a:pt x="23426" y="28575"/>
                    <a:pt x="24062" y="26924"/>
                  </a:cubicBezTo>
                  <a:cubicBezTo>
                    <a:pt x="24572" y="25273"/>
                    <a:pt x="25081" y="23876"/>
                    <a:pt x="25463" y="22733"/>
                  </a:cubicBezTo>
                  <a:lnTo>
                    <a:pt x="33611" y="0"/>
                  </a:lnTo>
                  <a:lnTo>
                    <a:pt x="41250" y="0"/>
                  </a:lnTo>
                  <a:lnTo>
                    <a:pt x="24445" y="45339"/>
                  </a:lnTo>
                  <a:lnTo>
                    <a:pt x="16806" y="45339"/>
                  </a:lnTo>
                  <a:close/>
                </a:path>
              </a:pathLst>
            </a:custGeom>
            <a:solidFill>
              <a:srgbClr val="1D4966"/>
            </a:solidFill>
            <a:ln w="0" cap="flat">
              <a:noFill/>
              <a:prstDash val="solid"/>
              <a:miter/>
            </a:ln>
          </p:spPr>
          <p:txBody>
            <a:bodyPr rtlCol="0" anchor="ctr"/>
            <a:lstStyle/>
            <a:p>
              <a:endParaRPr lang="en-AD" sz="2400"/>
            </a:p>
          </p:txBody>
        </p:sp>
        <p:sp>
          <p:nvSpPr>
            <p:cNvPr id="333" name="Freeform 332">
              <a:extLst>
                <a:ext uri="{FF2B5EF4-FFF2-40B4-BE49-F238E27FC236}">
                  <a16:creationId xmlns:a16="http://schemas.microsoft.com/office/drawing/2014/main" id="{CB7C2314-DB86-A362-C8E1-7E4180EACD61}"/>
                </a:ext>
              </a:extLst>
            </p:cNvPr>
            <p:cNvSpPr/>
            <p:nvPr/>
          </p:nvSpPr>
          <p:spPr>
            <a:xfrm>
              <a:off x="222445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34" name="Freeform 333">
              <a:extLst>
                <a:ext uri="{FF2B5EF4-FFF2-40B4-BE49-F238E27FC236}">
                  <a16:creationId xmlns:a16="http://schemas.microsoft.com/office/drawing/2014/main" id="{2FB57CE8-DFB7-D119-DA15-71565705D9A5}"/>
                </a:ext>
              </a:extLst>
            </p:cNvPr>
            <p:cNvSpPr/>
            <p:nvPr/>
          </p:nvSpPr>
          <p:spPr>
            <a:xfrm>
              <a:off x="2273975"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5" name="Freeform 334">
              <a:extLst>
                <a:ext uri="{FF2B5EF4-FFF2-40B4-BE49-F238E27FC236}">
                  <a16:creationId xmlns:a16="http://schemas.microsoft.com/office/drawing/2014/main" id="{F9567A0C-10A4-CD95-0FD9-0892B3364009}"/>
                </a:ext>
              </a:extLst>
            </p:cNvPr>
            <p:cNvSpPr/>
            <p:nvPr/>
          </p:nvSpPr>
          <p:spPr>
            <a:xfrm>
              <a:off x="2290272"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36" name="Freeform 335">
              <a:extLst>
                <a:ext uri="{FF2B5EF4-FFF2-40B4-BE49-F238E27FC236}">
                  <a16:creationId xmlns:a16="http://schemas.microsoft.com/office/drawing/2014/main" id="{A8C1548D-73ED-E2CE-FAD4-4F29436AD8E7}"/>
                </a:ext>
              </a:extLst>
            </p:cNvPr>
            <p:cNvSpPr/>
            <p:nvPr/>
          </p:nvSpPr>
          <p:spPr>
            <a:xfrm>
              <a:off x="2341070"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8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8"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37" name="Freeform 336">
              <a:extLst>
                <a:ext uri="{FF2B5EF4-FFF2-40B4-BE49-F238E27FC236}">
                  <a16:creationId xmlns:a16="http://schemas.microsoft.com/office/drawing/2014/main" id="{0CD92699-E656-CB9F-B6D1-5AB7190EA08E}"/>
                </a:ext>
              </a:extLst>
            </p:cNvPr>
            <p:cNvSpPr/>
            <p:nvPr/>
          </p:nvSpPr>
          <p:spPr>
            <a:xfrm>
              <a:off x="2389577"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8" name="Freeform 337">
              <a:extLst>
                <a:ext uri="{FF2B5EF4-FFF2-40B4-BE49-F238E27FC236}">
                  <a16:creationId xmlns:a16="http://schemas.microsoft.com/office/drawing/2014/main" id="{DC79AEE8-25C4-3920-6EC1-B8013A4F3390}"/>
                </a:ext>
              </a:extLst>
            </p:cNvPr>
            <p:cNvSpPr/>
            <p:nvPr/>
          </p:nvSpPr>
          <p:spPr>
            <a:xfrm>
              <a:off x="2407528"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7"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7"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39" name="Freeform 338">
              <a:extLst>
                <a:ext uri="{FF2B5EF4-FFF2-40B4-BE49-F238E27FC236}">
                  <a16:creationId xmlns:a16="http://schemas.microsoft.com/office/drawing/2014/main" id="{F8F5FE41-8571-C645-8083-670B7129E1BC}"/>
                </a:ext>
              </a:extLst>
            </p:cNvPr>
            <p:cNvSpPr/>
            <p:nvPr/>
          </p:nvSpPr>
          <p:spPr>
            <a:xfrm>
              <a:off x="2451070"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3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6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6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3"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865"/>
                  </a:moveTo>
                  <a:lnTo>
                    <a:pt x="30683" y="62865"/>
                  </a:lnTo>
                  <a:cubicBezTo>
                    <a:pt x="31956" y="62865"/>
                    <a:pt x="33229" y="62611"/>
                    <a:pt x="34375" y="62103"/>
                  </a:cubicBezTo>
                  <a:cubicBezTo>
                    <a:pt x="35521" y="61595"/>
                    <a:pt x="36284"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5" y="53340"/>
                    <a:pt x="7639" y="54864"/>
                    <a:pt x="7639" y="56642"/>
                  </a:cubicBezTo>
                  <a:cubicBezTo>
                    <a:pt x="7639" y="58547"/>
                    <a:pt x="8275"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40" name="Freeform 339">
              <a:extLst>
                <a:ext uri="{FF2B5EF4-FFF2-40B4-BE49-F238E27FC236}">
                  <a16:creationId xmlns:a16="http://schemas.microsoft.com/office/drawing/2014/main" id="{0A43B855-37C4-0F6D-CD26-C44E9FB7D298}"/>
                </a:ext>
              </a:extLst>
            </p:cNvPr>
            <p:cNvSpPr/>
            <p:nvPr/>
          </p:nvSpPr>
          <p:spPr>
            <a:xfrm>
              <a:off x="2519310" y="1497964"/>
              <a:ext cx="43668" cy="47498"/>
            </a:xfrm>
            <a:custGeom>
              <a:avLst/>
              <a:gdLst>
                <a:gd name="connsiteX0" fmla="*/ 14386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4 w 43668"/>
                <a:gd name="connsiteY17" fmla="*/ 14478 h 47498"/>
                <a:gd name="connsiteX18" fmla="*/ 2164 w 43668"/>
                <a:gd name="connsiteY18" fmla="*/ 13589 h 47498"/>
                <a:gd name="connsiteX19" fmla="*/ 2164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6 w 43668"/>
                <a:gd name="connsiteY39" fmla="*/ 47371 h 47498"/>
                <a:gd name="connsiteX40" fmla="*/ 16296 w 43668"/>
                <a:gd name="connsiteY40" fmla="*/ 41148 h 47498"/>
                <a:gd name="connsiteX41" fmla="*/ 21516 w 43668"/>
                <a:gd name="connsiteY41" fmla="*/ 40259 h 47498"/>
                <a:gd name="connsiteX42" fmla="*/ 25845 w 43668"/>
                <a:gd name="connsiteY42" fmla="*/ 37846 h 47498"/>
                <a:gd name="connsiteX43" fmla="*/ 28900 w 43668"/>
                <a:gd name="connsiteY43" fmla="*/ 34036 h 47498"/>
                <a:gd name="connsiteX44" fmla="*/ 30046 w 43668"/>
                <a:gd name="connsiteY44" fmla="*/ 29083 h 47498"/>
                <a:gd name="connsiteX45" fmla="*/ 30046 w 43668"/>
                <a:gd name="connsiteY45" fmla="*/ 25273 h 47498"/>
                <a:gd name="connsiteX46" fmla="*/ 18079 w 43668"/>
                <a:gd name="connsiteY46" fmla="*/ 26035 h 47498"/>
                <a:gd name="connsiteX47" fmla="*/ 10567 w 43668"/>
                <a:gd name="connsiteY47" fmla="*/ 28829 h 47498"/>
                <a:gd name="connsiteX48" fmla="*/ 7893 w 43668"/>
                <a:gd name="connsiteY48" fmla="*/ 34417 h 47498"/>
                <a:gd name="connsiteX49" fmla="*/ 8912 w 43668"/>
                <a:gd name="connsiteY49" fmla="*/ 38227 h 47498"/>
                <a:gd name="connsiteX50" fmla="*/ 11840 w 43668"/>
                <a:gd name="connsiteY50" fmla="*/ 40386 h 47498"/>
                <a:gd name="connsiteX51" fmla="*/ 16296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6"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6"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7"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8"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2" y="47117"/>
                    <a:pt x="16678" y="47371"/>
                    <a:pt x="14386" y="47371"/>
                  </a:cubicBezTo>
                  <a:close/>
                  <a:moveTo>
                    <a:pt x="16296" y="41148"/>
                  </a:moveTo>
                  <a:cubicBezTo>
                    <a:pt x="18079"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9" y="26035"/>
                  </a:cubicBezTo>
                  <a:cubicBezTo>
                    <a:pt x="14768"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41" name="Freeform 340">
              <a:extLst>
                <a:ext uri="{FF2B5EF4-FFF2-40B4-BE49-F238E27FC236}">
                  <a16:creationId xmlns:a16="http://schemas.microsoft.com/office/drawing/2014/main" id="{4547883F-A57F-5822-132C-AA193B2FA8C6}"/>
                </a:ext>
              </a:extLst>
            </p:cNvPr>
            <p:cNvSpPr/>
            <p:nvPr/>
          </p:nvSpPr>
          <p:spPr>
            <a:xfrm>
              <a:off x="2568835"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2" name="Freeform 341">
              <a:extLst>
                <a:ext uri="{FF2B5EF4-FFF2-40B4-BE49-F238E27FC236}">
                  <a16:creationId xmlns:a16="http://schemas.microsoft.com/office/drawing/2014/main" id="{D719BE82-6B7A-B269-A874-B7D3DCC4C3CA}"/>
                </a:ext>
              </a:extLst>
            </p:cNvPr>
            <p:cNvSpPr/>
            <p:nvPr/>
          </p:nvSpPr>
          <p:spPr>
            <a:xfrm>
              <a:off x="2614668" y="1482089"/>
              <a:ext cx="39722" cy="63373"/>
            </a:xfrm>
            <a:custGeom>
              <a:avLst/>
              <a:gdLst>
                <a:gd name="connsiteX0" fmla="*/ 18079 w 39722"/>
                <a:gd name="connsiteY0" fmla="*/ 63373 h 63373"/>
                <a:gd name="connsiteX1" fmla="*/ 8403 w 39722"/>
                <a:gd name="connsiteY1" fmla="*/ 60833 h 63373"/>
                <a:gd name="connsiteX2" fmla="*/ 2164 w 39722"/>
                <a:gd name="connsiteY2" fmla="*/ 53086 h 63373"/>
                <a:gd name="connsiteX3" fmla="*/ 0 w 39722"/>
                <a:gd name="connsiteY3" fmla="*/ 39370 h 63373"/>
                <a:gd name="connsiteX4" fmla="*/ 2292 w 39722"/>
                <a:gd name="connsiteY4" fmla="*/ 26162 h 63373"/>
                <a:gd name="connsiteX5" fmla="*/ 8530 w 39722"/>
                <a:gd name="connsiteY5" fmla="*/ 18542 h 63373"/>
                <a:gd name="connsiteX6" fmla="*/ 17824 w 39722"/>
                <a:gd name="connsiteY6" fmla="*/ 16002 h 63373"/>
                <a:gd name="connsiteX7" fmla="*/ 23426 w 39722"/>
                <a:gd name="connsiteY7" fmla="*/ 16637 h 63373"/>
                <a:gd name="connsiteX8" fmla="*/ 28009 w 39722"/>
                <a:gd name="connsiteY8" fmla="*/ 18796 h 63373"/>
                <a:gd name="connsiteX9" fmla="*/ 31574 w 39722"/>
                <a:gd name="connsiteY9" fmla="*/ 22733 h 63373"/>
                <a:gd name="connsiteX10" fmla="*/ 32083 w 39722"/>
                <a:gd name="connsiteY10" fmla="*/ 22733 h 63373"/>
                <a:gd name="connsiteX11" fmla="*/ 32083 w 39722"/>
                <a:gd name="connsiteY11" fmla="*/ 0 h 63373"/>
                <a:gd name="connsiteX12" fmla="*/ 39722 w 39722"/>
                <a:gd name="connsiteY12" fmla="*/ 0 h 63373"/>
                <a:gd name="connsiteX13" fmla="*/ 39722 w 39722"/>
                <a:gd name="connsiteY13" fmla="*/ 62357 h 63373"/>
                <a:gd name="connsiteX14" fmla="*/ 33611 w 39722"/>
                <a:gd name="connsiteY14" fmla="*/ 62357 h 63373"/>
                <a:gd name="connsiteX15" fmla="*/ 32975 w 39722"/>
                <a:gd name="connsiteY15" fmla="*/ 55880 h 63373"/>
                <a:gd name="connsiteX16" fmla="*/ 32338 w 39722"/>
                <a:gd name="connsiteY16" fmla="*/ 55880 h 63373"/>
                <a:gd name="connsiteX17" fmla="*/ 26227 w 39722"/>
                <a:gd name="connsiteY17" fmla="*/ 61468 h 63373"/>
                <a:gd name="connsiteX18" fmla="*/ 18079 w 39722"/>
                <a:gd name="connsiteY18" fmla="*/ 63373 h 63373"/>
                <a:gd name="connsiteX19" fmla="*/ 19861 w 39722"/>
                <a:gd name="connsiteY19" fmla="*/ 56769 h 63373"/>
                <a:gd name="connsiteX20" fmla="*/ 26863 w 39722"/>
                <a:gd name="connsiteY20" fmla="*/ 54864 h 63373"/>
                <a:gd name="connsiteX21" fmla="*/ 30810 w 39722"/>
                <a:gd name="connsiteY21" fmla="*/ 49403 h 63373"/>
                <a:gd name="connsiteX22" fmla="*/ 32083 w 39722"/>
                <a:gd name="connsiteY22" fmla="*/ 40386 h 63373"/>
                <a:gd name="connsiteX23" fmla="*/ 32083 w 39722"/>
                <a:gd name="connsiteY23" fmla="*/ 38989 h 63373"/>
                <a:gd name="connsiteX24" fmla="*/ 31192 w 39722"/>
                <a:gd name="connsiteY24" fmla="*/ 31115 h 63373"/>
                <a:gd name="connsiteX25" fmla="*/ 28646 w 39722"/>
                <a:gd name="connsiteY25" fmla="*/ 26035 h 63373"/>
                <a:gd name="connsiteX26" fmla="*/ 24826 w 39722"/>
                <a:gd name="connsiteY26" fmla="*/ 23368 h 63373"/>
                <a:gd name="connsiteX27" fmla="*/ 20243 w 39722"/>
                <a:gd name="connsiteY27" fmla="*/ 22606 h 63373"/>
                <a:gd name="connsiteX28" fmla="*/ 13368 w 39722"/>
                <a:gd name="connsiteY28" fmla="*/ 24257 h 63373"/>
                <a:gd name="connsiteX29" fmla="*/ 9421 w 39722"/>
                <a:gd name="connsiteY29" fmla="*/ 29464 h 63373"/>
                <a:gd name="connsiteX30" fmla="*/ 8148 w 39722"/>
                <a:gd name="connsiteY30" fmla="*/ 38735 h 63373"/>
                <a:gd name="connsiteX31" fmla="*/ 8148 w 39722"/>
                <a:gd name="connsiteY31" fmla="*/ 40513 h 63373"/>
                <a:gd name="connsiteX32" fmla="*/ 9549 w 39722"/>
                <a:gd name="connsiteY32" fmla="*/ 49911 h 63373"/>
                <a:gd name="connsiteX33" fmla="*/ 13623 w 39722"/>
                <a:gd name="connsiteY33" fmla="*/ 54991 h 63373"/>
                <a:gd name="connsiteX34" fmla="*/ 20116 w 39722"/>
                <a:gd name="connsiteY34" fmla="*/ 56515 h 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3">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3"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43" name="Freeform 342">
              <a:extLst>
                <a:ext uri="{FF2B5EF4-FFF2-40B4-BE49-F238E27FC236}">
                  <a16:creationId xmlns:a16="http://schemas.microsoft.com/office/drawing/2014/main" id="{125D106E-7BC6-3A89-BB9A-D9F92343D6B7}"/>
                </a:ext>
              </a:extLst>
            </p:cNvPr>
            <p:cNvSpPr/>
            <p:nvPr/>
          </p:nvSpPr>
          <p:spPr>
            <a:xfrm>
              <a:off x="2684819"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4" name="Freeform 343">
              <a:extLst>
                <a:ext uri="{FF2B5EF4-FFF2-40B4-BE49-F238E27FC236}">
                  <a16:creationId xmlns:a16="http://schemas.microsoft.com/office/drawing/2014/main" id="{41693861-2BF5-249D-08C8-E4820BBAB89E}"/>
                </a:ext>
              </a:extLst>
            </p:cNvPr>
            <p:cNvSpPr/>
            <p:nvPr/>
          </p:nvSpPr>
          <p:spPr>
            <a:xfrm>
              <a:off x="2703152" y="1498219"/>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5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6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6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6" y="1270"/>
                    <a:pt x="16042" y="762"/>
                  </a:cubicBezTo>
                  <a:cubicBezTo>
                    <a:pt x="17824" y="254"/>
                    <a:pt x="19606" y="0"/>
                    <a:pt x="21643" y="0"/>
                  </a:cubicBezTo>
                  <a:cubicBezTo>
                    <a:pt x="24572" y="0"/>
                    <a:pt x="27118" y="635"/>
                    <a:pt x="29282" y="1778"/>
                  </a:cubicBezTo>
                  <a:cubicBezTo>
                    <a:pt x="31446"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5"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8" y="7366"/>
                    <a:pt x="49780" y="7112"/>
                  </a:cubicBezTo>
                  <a:cubicBezTo>
                    <a:pt x="48761" y="6858"/>
                    <a:pt x="47615" y="6731"/>
                    <a:pt x="46342" y="6731"/>
                  </a:cubicBezTo>
                  <a:cubicBezTo>
                    <a:pt x="44305" y="6731"/>
                    <a:pt x="42523" y="7239"/>
                    <a:pt x="40741" y="8255"/>
                  </a:cubicBezTo>
                  <a:cubicBezTo>
                    <a:pt x="39085" y="9271"/>
                    <a:pt x="37685" y="10795"/>
                    <a:pt x="36666"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5" y="9271"/>
                    <a:pt x="10185" y="10795"/>
                    <a:pt x="9166"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5" name="Freeform 344">
              <a:extLst>
                <a:ext uri="{FF2B5EF4-FFF2-40B4-BE49-F238E27FC236}">
                  <a16:creationId xmlns:a16="http://schemas.microsoft.com/office/drawing/2014/main" id="{521F23C8-5A3B-F276-3DDF-9120A14374E8}"/>
                </a:ext>
              </a:extLst>
            </p:cNvPr>
            <p:cNvSpPr/>
            <p:nvPr/>
          </p:nvSpPr>
          <p:spPr>
            <a:xfrm>
              <a:off x="2776485"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46" name="Freeform 345">
              <a:extLst>
                <a:ext uri="{FF2B5EF4-FFF2-40B4-BE49-F238E27FC236}">
                  <a16:creationId xmlns:a16="http://schemas.microsoft.com/office/drawing/2014/main" id="{FB5958B2-14D8-BF4F-D9C0-837E5ECE316B}"/>
                </a:ext>
              </a:extLst>
            </p:cNvPr>
            <p:cNvSpPr/>
            <p:nvPr/>
          </p:nvSpPr>
          <p:spPr>
            <a:xfrm>
              <a:off x="2824992"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7" name="Freeform 346">
              <a:extLst>
                <a:ext uri="{FF2B5EF4-FFF2-40B4-BE49-F238E27FC236}">
                  <a16:creationId xmlns:a16="http://schemas.microsoft.com/office/drawing/2014/main" id="{7B8DA1AD-947C-2B55-87BB-0FFCDCE3B2E8}"/>
                </a:ext>
              </a:extLst>
            </p:cNvPr>
            <p:cNvSpPr/>
            <p:nvPr/>
          </p:nvSpPr>
          <p:spPr>
            <a:xfrm>
              <a:off x="2841161"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4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4"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48" name="Freeform 347">
              <a:extLst>
                <a:ext uri="{FF2B5EF4-FFF2-40B4-BE49-F238E27FC236}">
                  <a16:creationId xmlns:a16="http://schemas.microsoft.com/office/drawing/2014/main" id="{FE22F075-112C-992D-D791-006CC0BEB2AD}"/>
                </a:ext>
              </a:extLst>
            </p:cNvPr>
            <p:cNvSpPr/>
            <p:nvPr/>
          </p:nvSpPr>
          <p:spPr>
            <a:xfrm>
              <a:off x="2890559" y="1498219"/>
              <a:ext cx="62766" cy="46355"/>
            </a:xfrm>
            <a:custGeom>
              <a:avLst/>
              <a:gdLst>
                <a:gd name="connsiteX0" fmla="*/ 0 w 62766"/>
                <a:gd name="connsiteY0" fmla="*/ 46228 h 46355"/>
                <a:gd name="connsiteX1" fmla="*/ 0 w 62766"/>
                <a:gd name="connsiteY1" fmla="*/ 889 h 46355"/>
                <a:gd name="connsiteX2" fmla="*/ 6111 w 62766"/>
                <a:gd name="connsiteY2" fmla="*/ 889 h 46355"/>
                <a:gd name="connsiteX3" fmla="*/ 6748 w 62766"/>
                <a:gd name="connsiteY3" fmla="*/ 7747 h 46355"/>
                <a:gd name="connsiteX4" fmla="*/ 7384 w 62766"/>
                <a:gd name="connsiteY4" fmla="*/ 7747 h 46355"/>
                <a:gd name="connsiteX5" fmla="*/ 11331 w 62766"/>
                <a:gd name="connsiteY5" fmla="*/ 3302 h 46355"/>
                <a:gd name="connsiteX6" fmla="*/ 16042 w 62766"/>
                <a:gd name="connsiteY6" fmla="*/ 762 h 46355"/>
                <a:gd name="connsiteX7" fmla="*/ 21644 w 62766"/>
                <a:gd name="connsiteY7" fmla="*/ 0 h 46355"/>
                <a:gd name="connsiteX8" fmla="*/ 29282 w 62766"/>
                <a:gd name="connsiteY8" fmla="*/ 1778 h 46355"/>
                <a:gd name="connsiteX9" fmla="*/ 33993 w 62766"/>
                <a:gd name="connsiteY9" fmla="*/ 7874 h 46355"/>
                <a:gd name="connsiteX10" fmla="*/ 34502 w 62766"/>
                <a:gd name="connsiteY10" fmla="*/ 7874 h 46355"/>
                <a:gd name="connsiteX11" fmla="*/ 38322 w 62766"/>
                <a:gd name="connsiteY11" fmla="*/ 3429 h 46355"/>
                <a:gd name="connsiteX12" fmla="*/ 43160 w 62766"/>
                <a:gd name="connsiteY12" fmla="*/ 889 h 46355"/>
                <a:gd name="connsiteX13" fmla="*/ 48889 w 62766"/>
                <a:gd name="connsiteY13" fmla="*/ 0 h 46355"/>
                <a:gd name="connsiteX14" fmla="*/ 56146 w 62766"/>
                <a:gd name="connsiteY14" fmla="*/ 1397 h 46355"/>
                <a:gd name="connsiteX15" fmla="*/ 60984 w 62766"/>
                <a:gd name="connsiteY15" fmla="*/ 6096 h 46355"/>
                <a:gd name="connsiteX16" fmla="*/ 62766 w 62766"/>
                <a:gd name="connsiteY16" fmla="*/ 14732 h 46355"/>
                <a:gd name="connsiteX17" fmla="*/ 62766 w 62766"/>
                <a:gd name="connsiteY17" fmla="*/ 46355 h 46355"/>
                <a:gd name="connsiteX18" fmla="*/ 55127 w 62766"/>
                <a:gd name="connsiteY18" fmla="*/ 46355 h 46355"/>
                <a:gd name="connsiteX19" fmla="*/ 55127 w 62766"/>
                <a:gd name="connsiteY19" fmla="*/ 15875 h 46355"/>
                <a:gd name="connsiteX20" fmla="*/ 54491 w 62766"/>
                <a:gd name="connsiteY20" fmla="*/ 11303 h 46355"/>
                <a:gd name="connsiteX21" fmla="*/ 52581 w 62766"/>
                <a:gd name="connsiteY21" fmla="*/ 8509 h 46355"/>
                <a:gd name="connsiteX22" fmla="*/ 49780 w 62766"/>
                <a:gd name="connsiteY22" fmla="*/ 7112 h 46355"/>
                <a:gd name="connsiteX23" fmla="*/ 46343 w 62766"/>
                <a:gd name="connsiteY23" fmla="*/ 6731 h 46355"/>
                <a:gd name="connsiteX24" fmla="*/ 40741 w 62766"/>
                <a:gd name="connsiteY24" fmla="*/ 8255 h 46355"/>
                <a:gd name="connsiteX25" fmla="*/ 36667 w 62766"/>
                <a:gd name="connsiteY25" fmla="*/ 12700 h 46355"/>
                <a:gd name="connsiteX26" fmla="*/ 35139 w 62766"/>
                <a:gd name="connsiteY26" fmla="*/ 19685 h 46355"/>
                <a:gd name="connsiteX27" fmla="*/ 35139 w 62766"/>
                <a:gd name="connsiteY27" fmla="*/ 46355 h 46355"/>
                <a:gd name="connsiteX28" fmla="*/ 27500 w 62766"/>
                <a:gd name="connsiteY28" fmla="*/ 46355 h 46355"/>
                <a:gd name="connsiteX29" fmla="*/ 27500 w 62766"/>
                <a:gd name="connsiteY29" fmla="*/ 15875 h 46355"/>
                <a:gd name="connsiteX30" fmla="*/ 26863 w 62766"/>
                <a:gd name="connsiteY30" fmla="*/ 11303 h 46355"/>
                <a:gd name="connsiteX31" fmla="*/ 25081 w 62766"/>
                <a:gd name="connsiteY31" fmla="*/ 8509 h 46355"/>
                <a:gd name="connsiteX32" fmla="*/ 22407 w 62766"/>
                <a:gd name="connsiteY32" fmla="*/ 7112 h 46355"/>
                <a:gd name="connsiteX33" fmla="*/ 19097 w 62766"/>
                <a:gd name="connsiteY33" fmla="*/ 6731 h 46355"/>
                <a:gd name="connsiteX34" fmla="*/ 13368 w 62766"/>
                <a:gd name="connsiteY34" fmla="*/ 8255 h 46355"/>
                <a:gd name="connsiteX35" fmla="*/ 9167 w 62766"/>
                <a:gd name="connsiteY35" fmla="*/ 12700 h 46355"/>
                <a:gd name="connsiteX36" fmla="*/ 7639 w 62766"/>
                <a:gd name="connsiteY36" fmla="*/ 19685 h 46355"/>
                <a:gd name="connsiteX37" fmla="*/ 7639 w 62766"/>
                <a:gd name="connsiteY37" fmla="*/ 46355 h 46355"/>
                <a:gd name="connsiteX38" fmla="*/ 0 w 62766"/>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6"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7" y="0"/>
                    <a:pt x="21644" y="0"/>
                  </a:cubicBezTo>
                  <a:cubicBezTo>
                    <a:pt x="24572" y="0"/>
                    <a:pt x="27118" y="635"/>
                    <a:pt x="29282" y="1778"/>
                  </a:cubicBezTo>
                  <a:cubicBezTo>
                    <a:pt x="31447" y="2921"/>
                    <a:pt x="32975"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4" y="6096"/>
                  </a:cubicBezTo>
                  <a:cubicBezTo>
                    <a:pt x="62129" y="8255"/>
                    <a:pt x="62766" y="11176"/>
                    <a:pt x="62766" y="14732"/>
                  </a:cubicBezTo>
                  <a:lnTo>
                    <a:pt x="62766" y="46355"/>
                  </a:lnTo>
                  <a:lnTo>
                    <a:pt x="55127" y="46355"/>
                  </a:lnTo>
                  <a:lnTo>
                    <a:pt x="55127" y="15875"/>
                  </a:lnTo>
                  <a:cubicBezTo>
                    <a:pt x="55127" y="14097"/>
                    <a:pt x="54873" y="12573"/>
                    <a:pt x="54491" y="11303"/>
                  </a:cubicBezTo>
                  <a:cubicBezTo>
                    <a:pt x="54109" y="10033"/>
                    <a:pt x="53472" y="9144"/>
                    <a:pt x="52581" y="8509"/>
                  </a:cubicBezTo>
                  <a:cubicBezTo>
                    <a:pt x="51817" y="7874"/>
                    <a:pt x="50799" y="7366"/>
                    <a:pt x="49780" y="7112"/>
                  </a:cubicBezTo>
                  <a:cubicBezTo>
                    <a:pt x="48761" y="6858"/>
                    <a:pt x="47616" y="6731"/>
                    <a:pt x="46343" y="6731"/>
                  </a:cubicBezTo>
                  <a:cubicBezTo>
                    <a:pt x="44306"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9" name="Freeform 348">
              <a:extLst>
                <a:ext uri="{FF2B5EF4-FFF2-40B4-BE49-F238E27FC236}">
                  <a16:creationId xmlns:a16="http://schemas.microsoft.com/office/drawing/2014/main" id="{E42BA946-8ECF-774F-E262-20A0FE34C4EE}"/>
                </a:ext>
              </a:extLst>
            </p:cNvPr>
            <p:cNvSpPr/>
            <p:nvPr/>
          </p:nvSpPr>
          <p:spPr>
            <a:xfrm>
              <a:off x="2961473"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50" name="Freeform 349">
              <a:extLst>
                <a:ext uri="{FF2B5EF4-FFF2-40B4-BE49-F238E27FC236}">
                  <a16:creationId xmlns:a16="http://schemas.microsoft.com/office/drawing/2014/main" id="{85259F3C-5ED0-EEB9-9DD0-59356D9E3927}"/>
                </a:ext>
              </a:extLst>
            </p:cNvPr>
            <p:cNvSpPr/>
            <p:nvPr/>
          </p:nvSpPr>
          <p:spPr>
            <a:xfrm>
              <a:off x="3010616"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1" name="Freeform 350">
              <a:extLst>
                <a:ext uri="{FF2B5EF4-FFF2-40B4-BE49-F238E27FC236}">
                  <a16:creationId xmlns:a16="http://schemas.microsoft.com/office/drawing/2014/main" id="{A8A916EC-EF07-E270-88B0-FE0140DDE130}"/>
                </a:ext>
              </a:extLst>
            </p:cNvPr>
            <p:cNvSpPr/>
            <p:nvPr/>
          </p:nvSpPr>
          <p:spPr>
            <a:xfrm>
              <a:off x="3054667"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6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7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6" y="51562"/>
                  </a:cubicBezTo>
                  <a:cubicBezTo>
                    <a:pt x="14896" y="52324"/>
                    <a:pt x="15914" y="52578"/>
                    <a:pt x="17315" y="52578"/>
                  </a:cubicBezTo>
                  <a:lnTo>
                    <a:pt x="22153" y="52578"/>
                  </a:lnTo>
                  <a:lnTo>
                    <a:pt x="22153" y="57531"/>
                  </a:lnTo>
                  <a:cubicBezTo>
                    <a:pt x="22153" y="57531"/>
                    <a:pt x="20880" y="58039"/>
                    <a:pt x="20115" y="58166"/>
                  </a:cubicBezTo>
                  <a:cubicBezTo>
                    <a:pt x="19352" y="58293"/>
                    <a:pt x="18461" y="58547"/>
                    <a:pt x="17697" y="58674"/>
                  </a:cubicBezTo>
                  <a:cubicBezTo>
                    <a:pt x="16805"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2" name="Freeform 351">
              <a:extLst>
                <a:ext uri="{FF2B5EF4-FFF2-40B4-BE49-F238E27FC236}">
                  <a16:creationId xmlns:a16="http://schemas.microsoft.com/office/drawing/2014/main" id="{5ABDEA47-3AA1-F00E-769A-68790429305B}"/>
                </a:ext>
              </a:extLst>
            </p:cNvPr>
            <p:cNvSpPr/>
            <p:nvPr/>
          </p:nvSpPr>
          <p:spPr>
            <a:xfrm>
              <a:off x="3084331"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3" name="Freeform 352">
              <a:extLst>
                <a:ext uri="{FF2B5EF4-FFF2-40B4-BE49-F238E27FC236}">
                  <a16:creationId xmlns:a16="http://schemas.microsoft.com/office/drawing/2014/main" id="{9C896356-8647-67A6-A79D-B56FD68FA3E8}"/>
                </a:ext>
              </a:extLst>
            </p:cNvPr>
            <p:cNvSpPr/>
            <p:nvPr/>
          </p:nvSpPr>
          <p:spPr>
            <a:xfrm>
              <a:off x="3102282"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4" name="Freeform 353">
              <a:extLst>
                <a:ext uri="{FF2B5EF4-FFF2-40B4-BE49-F238E27FC236}">
                  <a16:creationId xmlns:a16="http://schemas.microsoft.com/office/drawing/2014/main" id="{EAAAFA38-A7B9-1E25-832C-4C1992624E34}"/>
                </a:ext>
              </a:extLst>
            </p:cNvPr>
            <p:cNvSpPr/>
            <p:nvPr/>
          </p:nvSpPr>
          <p:spPr>
            <a:xfrm>
              <a:off x="3145824"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4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7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7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7" y="46736"/>
                    <a:pt x="4711" y="45720"/>
                    <a:pt x="3947" y="44450"/>
                  </a:cubicBezTo>
                  <a:cubicBezTo>
                    <a:pt x="3183" y="43180"/>
                    <a:pt x="2674" y="41910"/>
                    <a:pt x="2674" y="40386"/>
                  </a:cubicBezTo>
                  <a:cubicBezTo>
                    <a:pt x="2674" y="38354"/>
                    <a:pt x="3438" y="36703"/>
                    <a:pt x="4838" y="35306"/>
                  </a:cubicBezTo>
                  <a:cubicBezTo>
                    <a:pt x="6366" y="33909"/>
                    <a:pt x="8148" y="33020"/>
                    <a:pt x="10185" y="32512"/>
                  </a:cubicBezTo>
                  <a:cubicBezTo>
                    <a:pt x="8276"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4"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4" y="35052"/>
                    <a:pt x="26736" y="35687"/>
                    <a:pt x="22662" y="35687"/>
                  </a:cubicBezTo>
                  <a:lnTo>
                    <a:pt x="15532" y="35687"/>
                  </a:lnTo>
                  <a:cubicBezTo>
                    <a:pt x="14005" y="35687"/>
                    <a:pt x="12731" y="35941"/>
                    <a:pt x="11713" y="36576"/>
                  </a:cubicBezTo>
                  <a:cubicBezTo>
                    <a:pt x="10695" y="37211"/>
                    <a:pt x="10185" y="38100"/>
                    <a:pt x="10185" y="39497"/>
                  </a:cubicBezTo>
                  <a:cubicBezTo>
                    <a:pt x="10185" y="40640"/>
                    <a:pt x="10695" y="41529"/>
                    <a:pt x="11713" y="42291"/>
                  </a:cubicBezTo>
                  <a:cubicBezTo>
                    <a:pt x="12731" y="43053"/>
                    <a:pt x="14005" y="43307"/>
                    <a:pt x="15532" y="43307"/>
                  </a:cubicBezTo>
                  <a:lnTo>
                    <a:pt x="33993" y="43307"/>
                  </a:lnTo>
                  <a:cubicBezTo>
                    <a:pt x="37303" y="43307"/>
                    <a:pt x="40104" y="44450"/>
                    <a:pt x="42141" y="46609"/>
                  </a:cubicBezTo>
                  <a:cubicBezTo>
                    <a:pt x="44306"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7" y="62865"/>
                  </a:moveTo>
                  <a:lnTo>
                    <a:pt x="30683" y="62865"/>
                  </a:lnTo>
                  <a:cubicBezTo>
                    <a:pt x="31956" y="62865"/>
                    <a:pt x="33229" y="62611"/>
                    <a:pt x="34375" y="62103"/>
                  </a:cubicBezTo>
                  <a:cubicBezTo>
                    <a:pt x="35521" y="61595"/>
                    <a:pt x="36285"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6" y="53340"/>
                    <a:pt x="7639" y="54864"/>
                    <a:pt x="7639" y="56642"/>
                  </a:cubicBezTo>
                  <a:cubicBezTo>
                    <a:pt x="7639" y="58547"/>
                    <a:pt x="8276"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7"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55" name="Freeform 354">
              <a:extLst>
                <a:ext uri="{FF2B5EF4-FFF2-40B4-BE49-F238E27FC236}">
                  <a16:creationId xmlns:a16="http://schemas.microsoft.com/office/drawing/2014/main" id="{C7AFFC1F-A8F7-EAB0-1DF3-1AD746A9BBD9}"/>
                </a:ext>
              </a:extLst>
            </p:cNvPr>
            <p:cNvSpPr/>
            <p:nvPr/>
          </p:nvSpPr>
          <p:spPr>
            <a:xfrm>
              <a:off x="3211900" y="1485264"/>
              <a:ext cx="54108" cy="59182"/>
            </a:xfrm>
            <a:custGeom>
              <a:avLst/>
              <a:gdLst>
                <a:gd name="connsiteX0" fmla="*/ 22153 w 54108"/>
                <a:gd name="connsiteY0" fmla="*/ 59182 h 59182"/>
                <a:gd name="connsiteX1" fmla="*/ 0 w 54108"/>
                <a:gd name="connsiteY1" fmla="*/ 0 h 59182"/>
                <a:gd name="connsiteX2" fmla="*/ 8912 w 54108"/>
                <a:gd name="connsiteY2" fmla="*/ 0 h 59182"/>
                <a:gd name="connsiteX3" fmla="*/ 24062 w 54108"/>
                <a:gd name="connsiteY3" fmla="*/ 41910 h 59182"/>
                <a:gd name="connsiteX4" fmla="*/ 25081 w 54108"/>
                <a:gd name="connsiteY4" fmla="*/ 44704 h 59182"/>
                <a:gd name="connsiteX5" fmla="*/ 26099 w 54108"/>
                <a:gd name="connsiteY5" fmla="*/ 47752 h 59182"/>
                <a:gd name="connsiteX6" fmla="*/ 26991 w 54108"/>
                <a:gd name="connsiteY6" fmla="*/ 50292 h 59182"/>
                <a:gd name="connsiteX7" fmla="*/ 27500 w 54108"/>
                <a:gd name="connsiteY7" fmla="*/ 50292 h 59182"/>
                <a:gd name="connsiteX8" fmla="*/ 28391 w 54108"/>
                <a:gd name="connsiteY8" fmla="*/ 47752 h 59182"/>
                <a:gd name="connsiteX9" fmla="*/ 29410 w 54108"/>
                <a:gd name="connsiteY9" fmla="*/ 44831 h 59182"/>
                <a:gd name="connsiteX10" fmla="*/ 30428 w 54108"/>
                <a:gd name="connsiteY10" fmla="*/ 41910 h 59182"/>
                <a:gd name="connsiteX11" fmla="*/ 45451 w 54108"/>
                <a:gd name="connsiteY11" fmla="*/ 0 h 59182"/>
                <a:gd name="connsiteX12" fmla="*/ 54109 w 54108"/>
                <a:gd name="connsiteY12" fmla="*/ 0 h 59182"/>
                <a:gd name="connsiteX13" fmla="*/ 31956 w 54108"/>
                <a:gd name="connsiteY13" fmla="*/ 59182 h 59182"/>
                <a:gd name="connsiteX14" fmla="*/ 22025 w 54108"/>
                <a:gd name="connsiteY14" fmla="*/ 59182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108" h="59182">
                  <a:moveTo>
                    <a:pt x="22153" y="59182"/>
                  </a:moveTo>
                  <a:lnTo>
                    <a:pt x="0" y="0"/>
                  </a:lnTo>
                  <a:lnTo>
                    <a:pt x="8912" y="0"/>
                  </a:lnTo>
                  <a:lnTo>
                    <a:pt x="24062" y="41910"/>
                  </a:lnTo>
                  <a:cubicBezTo>
                    <a:pt x="24444" y="42672"/>
                    <a:pt x="24699" y="43688"/>
                    <a:pt x="25081" y="44704"/>
                  </a:cubicBezTo>
                  <a:cubicBezTo>
                    <a:pt x="25463" y="45720"/>
                    <a:pt x="25718" y="46736"/>
                    <a:pt x="26099" y="47752"/>
                  </a:cubicBezTo>
                  <a:cubicBezTo>
                    <a:pt x="26481" y="48768"/>
                    <a:pt x="26736" y="49530"/>
                    <a:pt x="26991" y="50292"/>
                  </a:cubicBezTo>
                  <a:lnTo>
                    <a:pt x="27500" y="50292"/>
                  </a:lnTo>
                  <a:cubicBezTo>
                    <a:pt x="27755" y="49657"/>
                    <a:pt x="28009" y="48768"/>
                    <a:pt x="28391" y="47752"/>
                  </a:cubicBezTo>
                  <a:cubicBezTo>
                    <a:pt x="28773" y="46736"/>
                    <a:pt x="29028" y="45847"/>
                    <a:pt x="29410" y="44831"/>
                  </a:cubicBezTo>
                  <a:cubicBezTo>
                    <a:pt x="29792" y="43815"/>
                    <a:pt x="30046" y="42926"/>
                    <a:pt x="30428" y="41910"/>
                  </a:cubicBezTo>
                  <a:lnTo>
                    <a:pt x="45451" y="0"/>
                  </a:lnTo>
                  <a:lnTo>
                    <a:pt x="54109" y="0"/>
                  </a:lnTo>
                  <a:lnTo>
                    <a:pt x="31956" y="59182"/>
                  </a:lnTo>
                  <a:lnTo>
                    <a:pt x="22025" y="59182"/>
                  </a:lnTo>
                  <a:close/>
                </a:path>
              </a:pathLst>
            </a:custGeom>
            <a:solidFill>
              <a:srgbClr val="1D4966"/>
            </a:solidFill>
            <a:ln w="0" cap="flat">
              <a:noFill/>
              <a:prstDash val="solid"/>
              <a:miter/>
            </a:ln>
          </p:spPr>
          <p:txBody>
            <a:bodyPr rtlCol="0" anchor="ctr"/>
            <a:lstStyle/>
            <a:p>
              <a:endParaRPr lang="en-AD" sz="2400"/>
            </a:p>
          </p:txBody>
        </p:sp>
        <p:sp>
          <p:nvSpPr>
            <p:cNvPr id="356" name="Freeform 355">
              <a:extLst>
                <a:ext uri="{FF2B5EF4-FFF2-40B4-BE49-F238E27FC236}">
                  <a16:creationId xmlns:a16="http://schemas.microsoft.com/office/drawing/2014/main" id="{D6524127-6464-1E91-E1DA-B80D84C58771}"/>
                </a:ext>
              </a:extLst>
            </p:cNvPr>
            <p:cNvSpPr/>
            <p:nvPr/>
          </p:nvSpPr>
          <p:spPr>
            <a:xfrm>
              <a:off x="3272884"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7" name="Freeform 356">
              <a:extLst>
                <a:ext uri="{FF2B5EF4-FFF2-40B4-BE49-F238E27FC236}">
                  <a16:creationId xmlns:a16="http://schemas.microsoft.com/office/drawing/2014/main" id="{35BD3DF8-65B0-7DEC-F91E-D1133BA9DFA9}"/>
                </a:ext>
              </a:extLst>
            </p:cNvPr>
            <p:cNvSpPr/>
            <p:nvPr/>
          </p:nvSpPr>
          <p:spPr>
            <a:xfrm>
              <a:off x="3291217"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58" name="Freeform 357">
              <a:extLst>
                <a:ext uri="{FF2B5EF4-FFF2-40B4-BE49-F238E27FC236}">
                  <a16:creationId xmlns:a16="http://schemas.microsoft.com/office/drawing/2014/main" id="{D172E70B-BCC3-14EE-2777-3A3CD03941C0}"/>
                </a:ext>
              </a:extLst>
            </p:cNvPr>
            <p:cNvSpPr/>
            <p:nvPr/>
          </p:nvSpPr>
          <p:spPr>
            <a:xfrm>
              <a:off x="3317571"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1" y="58547"/>
                    <a:pt x="17696"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9" name="Freeform 358">
              <a:extLst>
                <a:ext uri="{FF2B5EF4-FFF2-40B4-BE49-F238E27FC236}">
                  <a16:creationId xmlns:a16="http://schemas.microsoft.com/office/drawing/2014/main" id="{ECB0BB03-50B6-B47E-A499-23D3DF93DBDC}"/>
                </a:ext>
              </a:extLst>
            </p:cNvPr>
            <p:cNvSpPr/>
            <p:nvPr/>
          </p:nvSpPr>
          <p:spPr>
            <a:xfrm>
              <a:off x="3346344"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7 w 37303"/>
                <a:gd name="connsiteY9" fmla="*/ 39751 h 46355"/>
                <a:gd name="connsiteX10" fmla="*/ 23298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3" y="38481"/>
                    <a:pt x="12222" y="38989"/>
                    <a:pt x="13368" y="39370"/>
                  </a:cubicBezTo>
                  <a:cubicBezTo>
                    <a:pt x="14514" y="39624"/>
                    <a:pt x="15787" y="39751"/>
                    <a:pt x="17187" y="39751"/>
                  </a:cubicBezTo>
                  <a:cubicBezTo>
                    <a:pt x="19352" y="39751"/>
                    <a:pt x="21389" y="39243"/>
                    <a:pt x="23298"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60" name="Freeform 359">
              <a:extLst>
                <a:ext uri="{FF2B5EF4-FFF2-40B4-BE49-F238E27FC236}">
                  <a16:creationId xmlns:a16="http://schemas.microsoft.com/office/drawing/2014/main" id="{58C67394-478D-853E-BFFA-CF3D6E010EAA}"/>
                </a:ext>
              </a:extLst>
            </p:cNvPr>
            <p:cNvSpPr/>
            <p:nvPr/>
          </p:nvSpPr>
          <p:spPr>
            <a:xfrm>
              <a:off x="3391541" y="1497964"/>
              <a:ext cx="43668" cy="47498"/>
            </a:xfrm>
            <a:custGeom>
              <a:avLst/>
              <a:gdLst>
                <a:gd name="connsiteX0" fmla="*/ 14387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5 w 43668"/>
                <a:gd name="connsiteY17" fmla="*/ 14478 h 47498"/>
                <a:gd name="connsiteX18" fmla="*/ 2165 w 43668"/>
                <a:gd name="connsiteY18" fmla="*/ 13589 h 47498"/>
                <a:gd name="connsiteX19" fmla="*/ 2165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7 w 43668"/>
                <a:gd name="connsiteY39" fmla="*/ 47371 h 47498"/>
                <a:gd name="connsiteX40" fmla="*/ 16169 w 43668"/>
                <a:gd name="connsiteY40" fmla="*/ 41148 h 47498"/>
                <a:gd name="connsiteX41" fmla="*/ 21389 w 43668"/>
                <a:gd name="connsiteY41" fmla="*/ 40259 h 47498"/>
                <a:gd name="connsiteX42" fmla="*/ 25717 w 43668"/>
                <a:gd name="connsiteY42" fmla="*/ 37846 h 47498"/>
                <a:gd name="connsiteX43" fmla="*/ 28773 w 43668"/>
                <a:gd name="connsiteY43" fmla="*/ 34036 h 47498"/>
                <a:gd name="connsiteX44" fmla="*/ 29919 w 43668"/>
                <a:gd name="connsiteY44" fmla="*/ 29083 h 47498"/>
                <a:gd name="connsiteX45" fmla="*/ 29919 w 43668"/>
                <a:gd name="connsiteY45" fmla="*/ 25273 h 47498"/>
                <a:gd name="connsiteX46" fmla="*/ 17951 w 43668"/>
                <a:gd name="connsiteY46" fmla="*/ 26035 h 47498"/>
                <a:gd name="connsiteX47" fmla="*/ 10440 w 43668"/>
                <a:gd name="connsiteY47" fmla="*/ 28829 h 47498"/>
                <a:gd name="connsiteX48" fmla="*/ 7766 w 43668"/>
                <a:gd name="connsiteY48" fmla="*/ 34417 h 47498"/>
                <a:gd name="connsiteX49" fmla="*/ 8785 w 43668"/>
                <a:gd name="connsiteY49" fmla="*/ 38227 h 47498"/>
                <a:gd name="connsiteX50" fmla="*/ 11713 w 43668"/>
                <a:gd name="connsiteY50" fmla="*/ 40386 h 47498"/>
                <a:gd name="connsiteX51" fmla="*/ 16169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169" y="41148"/>
                  </a:moveTo>
                  <a:cubicBezTo>
                    <a:pt x="17951" y="41148"/>
                    <a:pt x="19734" y="40894"/>
                    <a:pt x="21389" y="40259"/>
                  </a:cubicBezTo>
                  <a:cubicBezTo>
                    <a:pt x="23044" y="39624"/>
                    <a:pt x="24445" y="38862"/>
                    <a:pt x="25717" y="37846"/>
                  </a:cubicBezTo>
                  <a:cubicBezTo>
                    <a:pt x="26991" y="36830"/>
                    <a:pt x="28009" y="35560"/>
                    <a:pt x="28773" y="34036"/>
                  </a:cubicBezTo>
                  <a:cubicBezTo>
                    <a:pt x="29537" y="32512"/>
                    <a:pt x="29919" y="30861"/>
                    <a:pt x="29919" y="29083"/>
                  </a:cubicBezTo>
                  <a:lnTo>
                    <a:pt x="29919" y="25273"/>
                  </a:lnTo>
                  <a:cubicBezTo>
                    <a:pt x="25208" y="25273"/>
                    <a:pt x="21262" y="25527"/>
                    <a:pt x="17951" y="26035"/>
                  </a:cubicBezTo>
                  <a:cubicBezTo>
                    <a:pt x="14641" y="26543"/>
                    <a:pt x="12095" y="27432"/>
                    <a:pt x="10440" y="28829"/>
                  </a:cubicBezTo>
                  <a:cubicBezTo>
                    <a:pt x="8657" y="30099"/>
                    <a:pt x="7766" y="32004"/>
                    <a:pt x="7766" y="34417"/>
                  </a:cubicBezTo>
                  <a:cubicBezTo>
                    <a:pt x="7766" y="35941"/>
                    <a:pt x="8148" y="37211"/>
                    <a:pt x="8785" y="38227"/>
                  </a:cubicBezTo>
                  <a:cubicBezTo>
                    <a:pt x="9421" y="39243"/>
                    <a:pt x="10440" y="39878"/>
                    <a:pt x="11713" y="40386"/>
                  </a:cubicBezTo>
                  <a:cubicBezTo>
                    <a:pt x="12986" y="40894"/>
                    <a:pt x="14387" y="41148"/>
                    <a:pt x="16169" y="41148"/>
                  </a:cubicBezTo>
                  <a:close/>
                </a:path>
              </a:pathLst>
            </a:custGeom>
            <a:solidFill>
              <a:srgbClr val="1D4966"/>
            </a:solidFill>
            <a:ln w="0" cap="flat">
              <a:noFill/>
              <a:prstDash val="solid"/>
              <a:miter/>
            </a:ln>
          </p:spPr>
          <p:txBody>
            <a:bodyPr rtlCol="0" anchor="ctr"/>
            <a:lstStyle/>
            <a:p>
              <a:endParaRPr lang="en-AD" sz="2400"/>
            </a:p>
          </p:txBody>
        </p:sp>
        <p:sp>
          <p:nvSpPr>
            <p:cNvPr id="361" name="Freeform 360">
              <a:extLst>
                <a:ext uri="{FF2B5EF4-FFF2-40B4-BE49-F238E27FC236}">
                  <a16:creationId xmlns:a16="http://schemas.microsoft.com/office/drawing/2014/main" id="{5D54F685-B630-D69D-2BF8-E8813AE3F6E3}"/>
                </a:ext>
              </a:extLst>
            </p:cNvPr>
            <p:cNvSpPr/>
            <p:nvPr/>
          </p:nvSpPr>
          <p:spPr>
            <a:xfrm>
              <a:off x="3441448"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2" name="Freeform 361">
              <a:extLst>
                <a:ext uri="{FF2B5EF4-FFF2-40B4-BE49-F238E27FC236}">
                  <a16:creationId xmlns:a16="http://schemas.microsoft.com/office/drawing/2014/main" id="{96CA9B3F-8E44-150F-1862-6AC0DDA4AE93}"/>
                </a:ext>
              </a:extLst>
            </p:cNvPr>
            <p:cNvSpPr/>
            <p:nvPr/>
          </p:nvSpPr>
          <p:spPr>
            <a:xfrm>
              <a:off x="3477860" y="1484375"/>
              <a:ext cx="54363" cy="61087"/>
            </a:xfrm>
            <a:custGeom>
              <a:avLst/>
              <a:gdLst>
                <a:gd name="connsiteX0" fmla="*/ 28391 w 54363"/>
                <a:gd name="connsiteY0" fmla="*/ 61087 h 61087"/>
                <a:gd name="connsiteX1" fmla="*/ 12986 w 54363"/>
                <a:gd name="connsiteY1" fmla="*/ 57785 h 61087"/>
                <a:gd name="connsiteX2" fmla="*/ 3310 w 54363"/>
                <a:gd name="connsiteY2" fmla="*/ 47752 h 61087"/>
                <a:gd name="connsiteX3" fmla="*/ 0 w 54363"/>
                <a:gd name="connsiteY3" fmla="*/ 30607 h 61087"/>
                <a:gd name="connsiteX4" fmla="*/ 7512 w 54363"/>
                <a:gd name="connsiteY4" fmla="*/ 7620 h 61087"/>
                <a:gd name="connsiteX5" fmla="*/ 28391 w 54363"/>
                <a:gd name="connsiteY5" fmla="*/ 0 h 61087"/>
                <a:gd name="connsiteX6" fmla="*/ 41887 w 54363"/>
                <a:gd name="connsiteY6" fmla="*/ 2413 h 61087"/>
                <a:gd name="connsiteX7" fmla="*/ 51053 w 54363"/>
                <a:gd name="connsiteY7" fmla="*/ 9779 h 61087"/>
                <a:gd name="connsiteX8" fmla="*/ 54363 w 54363"/>
                <a:gd name="connsiteY8" fmla="*/ 22225 h 61087"/>
                <a:gd name="connsiteX9" fmla="*/ 46088 w 54363"/>
                <a:gd name="connsiteY9" fmla="*/ 22225 h 61087"/>
                <a:gd name="connsiteX10" fmla="*/ 43924 w 54363"/>
                <a:gd name="connsiteY10" fmla="*/ 13716 h 61087"/>
                <a:gd name="connsiteX11" fmla="*/ 37685 w 54363"/>
                <a:gd name="connsiteY11" fmla="*/ 8636 h 61087"/>
                <a:gd name="connsiteX12" fmla="*/ 28391 w 54363"/>
                <a:gd name="connsiteY12" fmla="*/ 6985 h 61087"/>
                <a:gd name="connsiteX13" fmla="*/ 17697 w 54363"/>
                <a:gd name="connsiteY13" fmla="*/ 9398 h 61087"/>
                <a:gd name="connsiteX14" fmla="*/ 10822 w 54363"/>
                <a:gd name="connsiteY14" fmla="*/ 16891 h 61087"/>
                <a:gd name="connsiteX15" fmla="*/ 8530 w 54363"/>
                <a:gd name="connsiteY15" fmla="*/ 29845 h 61087"/>
                <a:gd name="connsiteX16" fmla="*/ 8530 w 54363"/>
                <a:gd name="connsiteY16" fmla="*/ 31623 h 61087"/>
                <a:gd name="connsiteX17" fmla="*/ 10822 w 54363"/>
                <a:gd name="connsiteY17" fmla="*/ 44450 h 61087"/>
                <a:gd name="connsiteX18" fmla="*/ 17569 w 54363"/>
                <a:gd name="connsiteY18" fmla="*/ 51689 h 61087"/>
                <a:gd name="connsiteX19" fmla="*/ 28391 w 54363"/>
                <a:gd name="connsiteY19" fmla="*/ 53975 h 61087"/>
                <a:gd name="connsiteX20" fmla="*/ 37940 w 54363"/>
                <a:gd name="connsiteY20" fmla="*/ 52324 h 61087"/>
                <a:gd name="connsiteX21" fmla="*/ 44178 w 54363"/>
                <a:gd name="connsiteY21" fmla="*/ 47244 h 61087"/>
                <a:gd name="connsiteX22" fmla="*/ 46343 w 54363"/>
                <a:gd name="connsiteY22" fmla="*/ 38608 h 61087"/>
                <a:gd name="connsiteX23" fmla="*/ 54363 w 54363"/>
                <a:gd name="connsiteY23" fmla="*/ 38608 h 61087"/>
                <a:gd name="connsiteX24" fmla="*/ 50926 w 54363"/>
                <a:gd name="connsiteY24" fmla="*/ 51181 h 61087"/>
                <a:gd name="connsiteX25" fmla="*/ 41632 w 54363"/>
                <a:gd name="connsiteY25" fmla="*/ 58547 h 61087"/>
                <a:gd name="connsiteX26" fmla="*/ 28264 w 54363"/>
                <a:gd name="connsiteY26" fmla="*/ 60960 h 6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63" h="61087">
                  <a:moveTo>
                    <a:pt x="28391" y="61087"/>
                  </a:moveTo>
                  <a:cubicBezTo>
                    <a:pt x="22280" y="61087"/>
                    <a:pt x="17188" y="59944"/>
                    <a:pt x="12986" y="57785"/>
                  </a:cubicBezTo>
                  <a:cubicBezTo>
                    <a:pt x="8785" y="55626"/>
                    <a:pt x="5602" y="52197"/>
                    <a:pt x="3310" y="47752"/>
                  </a:cubicBezTo>
                  <a:cubicBezTo>
                    <a:pt x="1146" y="43180"/>
                    <a:pt x="0" y="37465"/>
                    <a:pt x="0" y="30607"/>
                  </a:cubicBezTo>
                  <a:cubicBezTo>
                    <a:pt x="0" y="20320"/>
                    <a:pt x="2546" y="12700"/>
                    <a:pt x="7512" y="7620"/>
                  </a:cubicBezTo>
                  <a:cubicBezTo>
                    <a:pt x="12477" y="2540"/>
                    <a:pt x="19479" y="0"/>
                    <a:pt x="28391" y="0"/>
                  </a:cubicBezTo>
                  <a:cubicBezTo>
                    <a:pt x="33484" y="0"/>
                    <a:pt x="37940" y="762"/>
                    <a:pt x="41887" y="2413"/>
                  </a:cubicBezTo>
                  <a:cubicBezTo>
                    <a:pt x="45833" y="4064"/>
                    <a:pt x="48889" y="6477"/>
                    <a:pt x="51053" y="9779"/>
                  </a:cubicBezTo>
                  <a:cubicBezTo>
                    <a:pt x="53217" y="13081"/>
                    <a:pt x="54363" y="17272"/>
                    <a:pt x="54363" y="22225"/>
                  </a:cubicBezTo>
                  <a:lnTo>
                    <a:pt x="46088" y="22225"/>
                  </a:lnTo>
                  <a:cubicBezTo>
                    <a:pt x="46088" y="18796"/>
                    <a:pt x="45324" y="15875"/>
                    <a:pt x="43924" y="13716"/>
                  </a:cubicBezTo>
                  <a:cubicBezTo>
                    <a:pt x="42396" y="11430"/>
                    <a:pt x="40359" y="9779"/>
                    <a:pt x="37685" y="8636"/>
                  </a:cubicBezTo>
                  <a:cubicBezTo>
                    <a:pt x="35011" y="7493"/>
                    <a:pt x="31956" y="6985"/>
                    <a:pt x="28391" y="6985"/>
                  </a:cubicBezTo>
                  <a:cubicBezTo>
                    <a:pt x="24190" y="6985"/>
                    <a:pt x="20625" y="7747"/>
                    <a:pt x="17697" y="9398"/>
                  </a:cubicBezTo>
                  <a:cubicBezTo>
                    <a:pt x="14641" y="11049"/>
                    <a:pt x="12477" y="13462"/>
                    <a:pt x="10822" y="16891"/>
                  </a:cubicBezTo>
                  <a:cubicBezTo>
                    <a:pt x="9294" y="20193"/>
                    <a:pt x="8530" y="24638"/>
                    <a:pt x="8530" y="29845"/>
                  </a:cubicBezTo>
                  <a:lnTo>
                    <a:pt x="8530" y="31623"/>
                  </a:lnTo>
                  <a:cubicBezTo>
                    <a:pt x="8530" y="36830"/>
                    <a:pt x="9294" y="41148"/>
                    <a:pt x="10822" y="44450"/>
                  </a:cubicBezTo>
                  <a:cubicBezTo>
                    <a:pt x="12350" y="47752"/>
                    <a:pt x="14641" y="50165"/>
                    <a:pt x="17569" y="51689"/>
                  </a:cubicBezTo>
                  <a:cubicBezTo>
                    <a:pt x="20498" y="53213"/>
                    <a:pt x="24063" y="53975"/>
                    <a:pt x="28391" y="53975"/>
                  </a:cubicBezTo>
                  <a:cubicBezTo>
                    <a:pt x="32083" y="53975"/>
                    <a:pt x="35266" y="53467"/>
                    <a:pt x="37940" y="52324"/>
                  </a:cubicBezTo>
                  <a:cubicBezTo>
                    <a:pt x="40613" y="51181"/>
                    <a:pt x="42650" y="49530"/>
                    <a:pt x="44178" y="47244"/>
                  </a:cubicBezTo>
                  <a:cubicBezTo>
                    <a:pt x="45706" y="44958"/>
                    <a:pt x="46343" y="42164"/>
                    <a:pt x="46343" y="38608"/>
                  </a:cubicBezTo>
                  <a:lnTo>
                    <a:pt x="54363" y="38608"/>
                  </a:lnTo>
                  <a:cubicBezTo>
                    <a:pt x="54363" y="43688"/>
                    <a:pt x="53217" y="47879"/>
                    <a:pt x="50926" y="51181"/>
                  </a:cubicBezTo>
                  <a:cubicBezTo>
                    <a:pt x="48634" y="54483"/>
                    <a:pt x="45579" y="56896"/>
                    <a:pt x="41632" y="58547"/>
                  </a:cubicBezTo>
                  <a:cubicBezTo>
                    <a:pt x="37685" y="60198"/>
                    <a:pt x="33229" y="60960"/>
                    <a:pt x="28264" y="60960"/>
                  </a:cubicBezTo>
                  <a:close/>
                </a:path>
              </a:pathLst>
            </a:custGeom>
            <a:solidFill>
              <a:srgbClr val="1D4966"/>
            </a:solidFill>
            <a:ln w="0" cap="flat">
              <a:noFill/>
              <a:prstDash val="solid"/>
              <a:miter/>
            </a:ln>
          </p:spPr>
          <p:txBody>
            <a:bodyPr rtlCol="0" anchor="ctr"/>
            <a:lstStyle/>
            <a:p>
              <a:endParaRPr lang="en-AD" sz="2400"/>
            </a:p>
          </p:txBody>
        </p:sp>
        <p:sp>
          <p:nvSpPr>
            <p:cNvPr id="363" name="Freeform 362">
              <a:extLst>
                <a:ext uri="{FF2B5EF4-FFF2-40B4-BE49-F238E27FC236}">
                  <a16:creationId xmlns:a16="http://schemas.microsoft.com/office/drawing/2014/main" id="{47D36965-E16B-F98D-955D-CDB7A5D84668}"/>
                </a:ext>
              </a:extLst>
            </p:cNvPr>
            <p:cNvSpPr/>
            <p:nvPr/>
          </p:nvSpPr>
          <p:spPr>
            <a:xfrm>
              <a:off x="3539607"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4" name="Freeform 363">
              <a:extLst>
                <a:ext uri="{FF2B5EF4-FFF2-40B4-BE49-F238E27FC236}">
                  <a16:creationId xmlns:a16="http://schemas.microsoft.com/office/drawing/2014/main" id="{A7F92252-E08B-4EBB-78F8-AB56A6992939}"/>
                </a:ext>
              </a:extLst>
            </p:cNvPr>
            <p:cNvSpPr/>
            <p:nvPr/>
          </p:nvSpPr>
          <p:spPr>
            <a:xfrm>
              <a:off x="3590151"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65" name="Freeform 364">
              <a:extLst>
                <a:ext uri="{FF2B5EF4-FFF2-40B4-BE49-F238E27FC236}">
                  <a16:creationId xmlns:a16="http://schemas.microsoft.com/office/drawing/2014/main" id="{3CD47F60-914B-24AC-5819-6D64E22E2D8C}"/>
                </a:ext>
              </a:extLst>
            </p:cNvPr>
            <p:cNvSpPr/>
            <p:nvPr/>
          </p:nvSpPr>
          <p:spPr>
            <a:xfrm>
              <a:off x="3634329"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7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0" y="58547"/>
                    <a:pt x="17696" y="58674"/>
                  </a:cubicBezTo>
                  <a:cubicBezTo>
                    <a:pt x="16806" y="58801"/>
                    <a:pt x="16041" y="58928"/>
                    <a:pt x="15277" y="58928"/>
                  </a:cubicBezTo>
                  <a:close/>
                </a:path>
              </a:pathLst>
            </a:custGeom>
            <a:solidFill>
              <a:srgbClr val="1D4966"/>
            </a:solidFill>
            <a:ln w="0" cap="flat">
              <a:noFill/>
              <a:prstDash val="solid"/>
              <a:miter/>
            </a:ln>
          </p:spPr>
          <p:txBody>
            <a:bodyPr rtlCol="0" anchor="ctr"/>
            <a:lstStyle/>
            <a:p>
              <a:endParaRPr lang="en-AD" sz="2400"/>
            </a:p>
          </p:txBody>
        </p:sp>
        <p:sp>
          <p:nvSpPr>
            <p:cNvPr id="366" name="Freeform 365">
              <a:extLst>
                <a:ext uri="{FF2B5EF4-FFF2-40B4-BE49-F238E27FC236}">
                  <a16:creationId xmlns:a16="http://schemas.microsoft.com/office/drawing/2014/main" id="{FA75F968-719F-78C6-CDE6-54336E50A406}"/>
                </a:ext>
              </a:extLst>
            </p:cNvPr>
            <p:cNvSpPr/>
            <p:nvPr/>
          </p:nvSpPr>
          <p:spPr>
            <a:xfrm>
              <a:off x="366373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67" name="Freeform 366">
              <a:extLst>
                <a:ext uri="{FF2B5EF4-FFF2-40B4-BE49-F238E27FC236}">
                  <a16:creationId xmlns:a16="http://schemas.microsoft.com/office/drawing/2014/main" id="{CD6C5082-4DE4-C7BD-FE10-19A74C8BCC54}"/>
                </a:ext>
              </a:extLst>
            </p:cNvPr>
            <p:cNvSpPr/>
            <p:nvPr/>
          </p:nvSpPr>
          <p:spPr>
            <a:xfrm>
              <a:off x="368983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9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9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9"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9"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8" name="Freeform 367">
              <a:extLst>
                <a:ext uri="{FF2B5EF4-FFF2-40B4-BE49-F238E27FC236}">
                  <a16:creationId xmlns:a16="http://schemas.microsoft.com/office/drawing/2014/main" id="{35B34987-F17C-7A71-3CAB-0D57895034C5}"/>
                </a:ext>
              </a:extLst>
            </p:cNvPr>
            <p:cNvSpPr/>
            <p:nvPr/>
          </p:nvSpPr>
          <p:spPr>
            <a:xfrm>
              <a:off x="3740891"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9" name="Freeform 368">
              <a:extLst>
                <a:ext uri="{FF2B5EF4-FFF2-40B4-BE49-F238E27FC236}">
                  <a16:creationId xmlns:a16="http://schemas.microsoft.com/office/drawing/2014/main" id="{D3B4D5F9-19E6-73E4-C1A1-B3ADF768F5AC}"/>
                </a:ext>
              </a:extLst>
            </p:cNvPr>
            <p:cNvSpPr/>
            <p:nvPr/>
          </p:nvSpPr>
          <p:spPr>
            <a:xfrm>
              <a:off x="3777812" y="1484249"/>
              <a:ext cx="56909" cy="61340"/>
            </a:xfrm>
            <a:custGeom>
              <a:avLst/>
              <a:gdLst>
                <a:gd name="connsiteX0" fmla="*/ 29283 w 56909"/>
                <a:gd name="connsiteY0" fmla="*/ 61214 h 61340"/>
                <a:gd name="connsiteX1" fmla="*/ 7512 w 56909"/>
                <a:gd name="connsiteY1" fmla="*/ 53721 h 61340"/>
                <a:gd name="connsiteX2" fmla="*/ 0 w 56909"/>
                <a:gd name="connsiteY2" fmla="*/ 30607 h 61340"/>
                <a:gd name="connsiteX3" fmla="*/ 3438 w 56909"/>
                <a:gd name="connsiteY3" fmla="*/ 13589 h 61340"/>
                <a:gd name="connsiteX4" fmla="*/ 13623 w 56909"/>
                <a:gd name="connsiteY4" fmla="*/ 3429 h 61340"/>
                <a:gd name="connsiteX5" fmla="*/ 30046 w 56909"/>
                <a:gd name="connsiteY5" fmla="*/ 0 h 61340"/>
                <a:gd name="connsiteX6" fmla="*/ 40995 w 56909"/>
                <a:gd name="connsiteY6" fmla="*/ 1270 h 61340"/>
                <a:gd name="connsiteX7" fmla="*/ 49525 w 56909"/>
                <a:gd name="connsiteY7" fmla="*/ 5207 h 61340"/>
                <a:gd name="connsiteX8" fmla="*/ 55000 w 56909"/>
                <a:gd name="connsiteY8" fmla="*/ 11811 h 61340"/>
                <a:gd name="connsiteX9" fmla="*/ 56910 w 56909"/>
                <a:gd name="connsiteY9" fmla="*/ 21209 h 61340"/>
                <a:gd name="connsiteX10" fmla="*/ 48507 w 56909"/>
                <a:gd name="connsiteY10" fmla="*/ 21209 h 61340"/>
                <a:gd name="connsiteX11" fmla="*/ 47106 w 56909"/>
                <a:gd name="connsiteY11" fmla="*/ 14732 h 61340"/>
                <a:gd name="connsiteX12" fmla="*/ 43160 w 56909"/>
                <a:gd name="connsiteY12" fmla="*/ 10287 h 61340"/>
                <a:gd name="connsiteX13" fmla="*/ 37303 w 56909"/>
                <a:gd name="connsiteY13" fmla="*/ 7874 h 61340"/>
                <a:gd name="connsiteX14" fmla="*/ 30173 w 56909"/>
                <a:gd name="connsiteY14" fmla="*/ 7112 h 61340"/>
                <a:gd name="connsiteX15" fmla="*/ 20880 w 56909"/>
                <a:gd name="connsiteY15" fmla="*/ 8382 h 61340"/>
                <a:gd name="connsiteX16" fmla="*/ 14005 w 56909"/>
                <a:gd name="connsiteY16" fmla="*/ 12446 h 61340"/>
                <a:gd name="connsiteX17" fmla="*/ 9803 w 56909"/>
                <a:gd name="connsiteY17" fmla="*/ 19558 h 61340"/>
                <a:gd name="connsiteX18" fmla="*/ 8275 w 56909"/>
                <a:gd name="connsiteY18" fmla="*/ 29845 h 61340"/>
                <a:gd name="connsiteX19" fmla="*/ 8275 w 56909"/>
                <a:gd name="connsiteY19" fmla="*/ 31623 h 61340"/>
                <a:gd name="connsiteX20" fmla="*/ 10694 w 56909"/>
                <a:gd name="connsiteY20" fmla="*/ 44577 h 61340"/>
                <a:gd name="connsiteX21" fmla="*/ 17824 w 56909"/>
                <a:gd name="connsiteY21" fmla="*/ 51816 h 61340"/>
                <a:gd name="connsiteX22" fmla="*/ 29028 w 56909"/>
                <a:gd name="connsiteY22" fmla="*/ 54102 h 61340"/>
                <a:gd name="connsiteX23" fmla="*/ 39977 w 56909"/>
                <a:gd name="connsiteY23" fmla="*/ 52197 h 61340"/>
                <a:gd name="connsiteX24" fmla="*/ 46470 w 56909"/>
                <a:gd name="connsiteY24" fmla="*/ 46609 h 61340"/>
                <a:gd name="connsiteX25" fmla="*/ 48634 w 56909"/>
                <a:gd name="connsiteY25" fmla="*/ 37084 h 61340"/>
                <a:gd name="connsiteX26" fmla="*/ 48634 w 56909"/>
                <a:gd name="connsiteY26" fmla="*/ 36068 h 61340"/>
                <a:gd name="connsiteX27" fmla="*/ 27754 w 56909"/>
                <a:gd name="connsiteY27" fmla="*/ 36068 h 61340"/>
                <a:gd name="connsiteX28" fmla="*/ 27754 w 56909"/>
                <a:gd name="connsiteY28" fmla="*/ 29083 h 61340"/>
                <a:gd name="connsiteX29" fmla="*/ 56910 w 56909"/>
                <a:gd name="connsiteY29" fmla="*/ 29083 h 61340"/>
                <a:gd name="connsiteX30" fmla="*/ 56910 w 56909"/>
                <a:gd name="connsiteY30" fmla="*/ 60198 h 61340"/>
                <a:gd name="connsiteX31" fmla="*/ 50671 w 56909"/>
                <a:gd name="connsiteY31" fmla="*/ 60198 h 61340"/>
                <a:gd name="connsiteX32" fmla="*/ 49780 w 56909"/>
                <a:gd name="connsiteY32" fmla="*/ 52705 h 61340"/>
                <a:gd name="connsiteX33" fmla="*/ 44306 w 56909"/>
                <a:gd name="connsiteY33" fmla="*/ 57658 h 61340"/>
                <a:gd name="connsiteX34" fmla="*/ 37303 w 56909"/>
                <a:gd name="connsiteY34" fmla="*/ 60452 h 61340"/>
                <a:gd name="connsiteX35" fmla="*/ 29155 w 56909"/>
                <a:gd name="connsiteY35" fmla="*/ 61341 h 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909" h="61340">
                  <a:moveTo>
                    <a:pt x="29283" y="61214"/>
                  </a:moveTo>
                  <a:cubicBezTo>
                    <a:pt x="19734" y="61214"/>
                    <a:pt x="12477" y="58674"/>
                    <a:pt x="7512" y="53721"/>
                  </a:cubicBezTo>
                  <a:cubicBezTo>
                    <a:pt x="2546" y="48768"/>
                    <a:pt x="0" y="41021"/>
                    <a:pt x="0" y="30607"/>
                  </a:cubicBezTo>
                  <a:cubicBezTo>
                    <a:pt x="0" y="23876"/>
                    <a:pt x="1146" y="18161"/>
                    <a:pt x="3438" y="13589"/>
                  </a:cubicBezTo>
                  <a:cubicBezTo>
                    <a:pt x="5729" y="9017"/>
                    <a:pt x="9167" y="5588"/>
                    <a:pt x="13623" y="3429"/>
                  </a:cubicBezTo>
                  <a:cubicBezTo>
                    <a:pt x="18079" y="1143"/>
                    <a:pt x="23553" y="0"/>
                    <a:pt x="30046" y="0"/>
                  </a:cubicBezTo>
                  <a:cubicBezTo>
                    <a:pt x="34120" y="0"/>
                    <a:pt x="37685" y="381"/>
                    <a:pt x="40995" y="1270"/>
                  </a:cubicBezTo>
                  <a:cubicBezTo>
                    <a:pt x="44306" y="2159"/>
                    <a:pt x="47106" y="3429"/>
                    <a:pt x="49525" y="5207"/>
                  </a:cubicBezTo>
                  <a:cubicBezTo>
                    <a:pt x="51944" y="6985"/>
                    <a:pt x="53727" y="9144"/>
                    <a:pt x="55000" y="11811"/>
                  </a:cubicBezTo>
                  <a:cubicBezTo>
                    <a:pt x="56273" y="14478"/>
                    <a:pt x="56910" y="17526"/>
                    <a:pt x="56910" y="21209"/>
                  </a:cubicBezTo>
                  <a:lnTo>
                    <a:pt x="48507" y="21209"/>
                  </a:lnTo>
                  <a:cubicBezTo>
                    <a:pt x="48507" y="18669"/>
                    <a:pt x="47998" y="16510"/>
                    <a:pt x="47106" y="14732"/>
                  </a:cubicBezTo>
                  <a:cubicBezTo>
                    <a:pt x="46215" y="12954"/>
                    <a:pt x="44815" y="11430"/>
                    <a:pt x="43160" y="10287"/>
                  </a:cubicBezTo>
                  <a:cubicBezTo>
                    <a:pt x="41505" y="9144"/>
                    <a:pt x="39468" y="8255"/>
                    <a:pt x="37303" y="7874"/>
                  </a:cubicBezTo>
                  <a:cubicBezTo>
                    <a:pt x="35011" y="7366"/>
                    <a:pt x="32720" y="7112"/>
                    <a:pt x="30173" y="7112"/>
                  </a:cubicBezTo>
                  <a:cubicBezTo>
                    <a:pt x="26736" y="7112"/>
                    <a:pt x="23681" y="7493"/>
                    <a:pt x="20880" y="8382"/>
                  </a:cubicBezTo>
                  <a:cubicBezTo>
                    <a:pt x="18206" y="9271"/>
                    <a:pt x="15914" y="10541"/>
                    <a:pt x="14005" y="12446"/>
                  </a:cubicBezTo>
                  <a:cubicBezTo>
                    <a:pt x="12222" y="14224"/>
                    <a:pt x="10694" y="16637"/>
                    <a:pt x="9803" y="19558"/>
                  </a:cubicBezTo>
                  <a:cubicBezTo>
                    <a:pt x="8785" y="22479"/>
                    <a:pt x="8275" y="25908"/>
                    <a:pt x="8275" y="29845"/>
                  </a:cubicBezTo>
                  <a:lnTo>
                    <a:pt x="8275" y="31623"/>
                  </a:lnTo>
                  <a:cubicBezTo>
                    <a:pt x="8275" y="36957"/>
                    <a:pt x="9039" y="41275"/>
                    <a:pt x="10694" y="44577"/>
                  </a:cubicBezTo>
                  <a:cubicBezTo>
                    <a:pt x="12350" y="47879"/>
                    <a:pt x="14769" y="50292"/>
                    <a:pt x="17824" y="51816"/>
                  </a:cubicBezTo>
                  <a:cubicBezTo>
                    <a:pt x="20880" y="53340"/>
                    <a:pt x="24699" y="54102"/>
                    <a:pt x="29028" y="54102"/>
                  </a:cubicBezTo>
                  <a:cubicBezTo>
                    <a:pt x="33356" y="54102"/>
                    <a:pt x="37176" y="53467"/>
                    <a:pt x="39977" y="52197"/>
                  </a:cubicBezTo>
                  <a:cubicBezTo>
                    <a:pt x="42905" y="50927"/>
                    <a:pt x="44942" y="49022"/>
                    <a:pt x="46470" y="46609"/>
                  </a:cubicBezTo>
                  <a:cubicBezTo>
                    <a:pt x="47870" y="44069"/>
                    <a:pt x="48634" y="40894"/>
                    <a:pt x="48634" y="37084"/>
                  </a:cubicBezTo>
                  <a:lnTo>
                    <a:pt x="48634" y="36068"/>
                  </a:lnTo>
                  <a:lnTo>
                    <a:pt x="27754" y="36068"/>
                  </a:lnTo>
                  <a:lnTo>
                    <a:pt x="27754" y="29083"/>
                  </a:lnTo>
                  <a:lnTo>
                    <a:pt x="56910" y="29083"/>
                  </a:lnTo>
                  <a:lnTo>
                    <a:pt x="56910" y="60198"/>
                  </a:lnTo>
                  <a:lnTo>
                    <a:pt x="50671" y="60198"/>
                  </a:lnTo>
                  <a:lnTo>
                    <a:pt x="49780" y="52705"/>
                  </a:lnTo>
                  <a:cubicBezTo>
                    <a:pt x="48252" y="54737"/>
                    <a:pt x="46343" y="56388"/>
                    <a:pt x="44306" y="57658"/>
                  </a:cubicBezTo>
                  <a:cubicBezTo>
                    <a:pt x="42141" y="58928"/>
                    <a:pt x="39849" y="59817"/>
                    <a:pt x="37303" y="60452"/>
                  </a:cubicBezTo>
                  <a:cubicBezTo>
                    <a:pt x="34757" y="61087"/>
                    <a:pt x="31956" y="61341"/>
                    <a:pt x="29155" y="61341"/>
                  </a:cubicBezTo>
                  <a:close/>
                </a:path>
              </a:pathLst>
            </a:custGeom>
            <a:solidFill>
              <a:srgbClr val="1D4966"/>
            </a:solidFill>
            <a:ln w="0" cap="flat">
              <a:noFill/>
              <a:prstDash val="solid"/>
              <a:miter/>
            </a:ln>
          </p:spPr>
          <p:txBody>
            <a:bodyPr rtlCol="0" anchor="ctr"/>
            <a:lstStyle/>
            <a:p>
              <a:endParaRPr lang="en-AD" sz="2400"/>
            </a:p>
          </p:txBody>
        </p:sp>
        <p:sp>
          <p:nvSpPr>
            <p:cNvPr id="370" name="Freeform 369">
              <a:extLst>
                <a:ext uri="{FF2B5EF4-FFF2-40B4-BE49-F238E27FC236}">
                  <a16:creationId xmlns:a16="http://schemas.microsoft.com/office/drawing/2014/main" id="{EE5C4300-151D-5EB0-FF1A-D449F674285D}"/>
                </a:ext>
              </a:extLst>
            </p:cNvPr>
            <p:cNvSpPr/>
            <p:nvPr/>
          </p:nvSpPr>
          <p:spPr>
            <a:xfrm>
              <a:off x="384719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59"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1" name="Freeform 370">
              <a:extLst>
                <a:ext uri="{FF2B5EF4-FFF2-40B4-BE49-F238E27FC236}">
                  <a16:creationId xmlns:a16="http://schemas.microsoft.com/office/drawing/2014/main" id="{EAB54CC3-277C-84A5-DF72-2C36DA10610A}"/>
                </a:ext>
              </a:extLst>
            </p:cNvPr>
            <p:cNvSpPr/>
            <p:nvPr/>
          </p:nvSpPr>
          <p:spPr>
            <a:xfrm>
              <a:off x="387329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2" name="Freeform 371">
              <a:extLst>
                <a:ext uri="{FF2B5EF4-FFF2-40B4-BE49-F238E27FC236}">
                  <a16:creationId xmlns:a16="http://schemas.microsoft.com/office/drawing/2014/main" id="{25A202AA-C337-03F0-6AAB-EE6CE126EE3D}"/>
                </a:ext>
              </a:extLst>
            </p:cNvPr>
            <p:cNvSpPr/>
            <p:nvPr/>
          </p:nvSpPr>
          <p:spPr>
            <a:xfrm>
              <a:off x="3923842"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8 w 37303"/>
                <a:gd name="connsiteY9" fmla="*/ 39751 h 46355"/>
                <a:gd name="connsiteX10" fmla="*/ 23299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3"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73" name="Freeform 372">
              <a:extLst>
                <a:ext uri="{FF2B5EF4-FFF2-40B4-BE49-F238E27FC236}">
                  <a16:creationId xmlns:a16="http://schemas.microsoft.com/office/drawing/2014/main" id="{72E9B226-2461-EFC6-1C17-056CCAB7DE0B}"/>
                </a:ext>
              </a:extLst>
            </p:cNvPr>
            <p:cNvSpPr/>
            <p:nvPr/>
          </p:nvSpPr>
          <p:spPr>
            <a:xfrm>
              <a:off x="3971712"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7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1"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5"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7"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6"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74" name="Freeform 373">
              <a:extLst>
                <a:ext uri="{FF2B5EF4-FFF2-40B4-BE49-F238E27FC236}">
                  <a16:creationId xmlns:a16="http://schemas.microsoft.com/office/drawing/2014/main" id="{623773B9-67F6-910C-358E-011DF3792017}"/>
                </a:ext>
              </a:extLst>
            </p:cNvPr>
            <p:cNvSpPr/>
            <p:nvPr/>
          </p:nvSpPr>
          <p:spPr>
            <a:xfrm>
              <a:off x="4017164" y="1498219"/>
              <a:ext cx="37557" cy="47625"/>
            </a:xfrm>
            <a:custGeom>
              <a:avLst/>
              <a:gdLst>
                <a:gd name="connsiteX0" fmla="*/ 18842 w 37557"/>
                <a:gd name="connsiteY0" fmla="*/ 47244 h 47625"/>
                <a:gd name="connsiteX1" fmla="*/ 10694 w 37557"/>
                <a:gd name="connsiteY1" fmla="*/ 46355 h 47625"/>
                <a:gd name="connsiteX2" fmla="*/ 4838 w 37557"/>
                <a:gd name="connsiteY2" fmla="*/ 43561 h 47625"/>
                <a:gd name="connsiteX3" fmla="*/ 1273 w 37557"/>
                <a:gd name="connsiteY3" fmla="*/ 39243 h 47625"/>
                <a:gd name="connsiteX4" fmla="*/ 0 w 37557"/>
                <a:gd name="connsiteY4" fmla="*/ 33528 h 47625"/>
                <a:gd name="connsiteX5" fmla="*/ 0 w 37557"/>
                <a:gd name="connsiteY5" fmla="*/ 32766 h 47625"/>
                <a:gd name="connsiteX6" fmla="*/ 0 w 37557"/>
                <a:gd name="connsiteY6" fmla="*/ 32131 h 47625"/>
                <a:gd name="connsiteX7" fmla="*/ 7512 w 37557"/>
                <a:gd name="connsiteY7" fmla="*/ 32131 h 47625"/>
                <a:gd name="connsiteX8" fmla="*/ 7512 w 37557"/>
                <a:gd name="connsiteY8" fmla="*/ 32766 h 47625"/>
                <a:gd name="connsiteX9" fmla="*/ 7512 w 37557"/>
                <a:gd name="connsiteY9" fmla="*/ 33274 h 47625"/>
                <a:gd name="connsiteX10" fmla="*/ 9167 w 37557"/>
                <a:gd name="connsiteY10" fmla="*/ 37973 h 47625"/>
                <a:gd name="connsiteX11" fmla="*/ 13368 w 37557"/>
                <a:gd name="connsiteY11" fmla="*/ 40386 h 47625"/>
                <a:gd name="connsiteX12" fmla="*/ 19352 w 37557"/>
                <a:gd name="connsiteY12" fmla="*/ 41021 h 47625"/>
                <a:gd name="connsiteX13" fmla="*/ 24572 w 37557"/>
                <a:gd name="connsiteY13" fmla="*/ 40259 h 47625"/>
                <a:gd name="connsiteX14" fmla="*/ 28391 w 37557"/>
                <a:gd name="connsiteY14" fmla="*/ 37973 h 47625"/>
                <a:gd name="connsiteX15" fmla="*/ 29792 w 37557"/>
                <a:gd name="connsiteY15" fmla="*/ 34163 h 47625"/>
                <a:gd name="connsiteX16" fmla="*/ 27881 w 37557"/>
                <a:gd name="connsiteY16" fmla="*/ 29845 h 47625"/>
                <a:gd name="connsiteX17" fmla="*/ 23044 w 37557"/>
                <a:gd name="connsiteY17" fmla="*/ 27432 h 47625"/>
                <a:gd name="connsiteX18" fmla="*/ 16678 w 37557"/>
                <a:gd name="connsiteY18" fmla="*/ 25654 h 47625"/>
                <a:gd name="connsiteX19" fmla="*/ 11203 w 37557"/>
                <a:gd name="connsiteY19" fmla="*/ 23876 h 47625"/>
                <a:gd name="connsiteX20" fmla="*/ 6238 w 37557"/>
                <a:gd name="connsiteY20" fmla="*/ 21590 h 47625"/>
                <a:gd name="connsiteX21" fmla="*/ 2673 w 37557"/>
                <a:gd name="connsiteY21" fmla="*/ 18034 h 47625"/>
                <a:gd name="connsiteX22" fmla="*/ 1273 w 37557"/>
                <a:gd name="connsiteY22" fmla="*/ 12446 h 47625"/>
                <a:gd name="connsiteX23" fmla="*/ 2546 w 37557"/>
                <a:gd name="connsiteY23" fmla="*/ 7112 h 47625"/>
                <a:gd name="connsiteX24" fmla="*/ 6111 w 37557"/>
                <a:gd name="connsiteY24" fmla="*/ 3175 h 47625"/>
                <a:gd name="connsiteX25" fmla="*/ 11713 w 37557"/>
                <a:gd name="connsiteY25" fmla="*/ 762 h 47625"/>
                <a:gd name="connsiteX26" fmla="*/ 19097 w 37557"/>
                <a:gd name="connsiteY26" fmla="*/ 0 h 47625"/>
                <a:gd name="connsiteX27" fmla="*/ 26609 w 37557"/>
                <a:gd name="connsiteY27" fmla="*/ 889 h 47625"/>
                <a:gd name="connsiteX28" fmla="*/ 31956 w 37557"/>
                <a:gd name="connsiteY28" fmla="*/ 3556 h 47625"/>
                <a:gd name="connsiteX29" fmla="*/ 35139 w 37557"/>
                <a:gd name="connsiteY29" fmla="*/ 7493 h 47625"/>
                <a:gd name="connsiteX30" fmla="*/ 36157 w 37557"/>
                <a:gd name="connsiteY30" fmla="*/ 12192 h 47625"/>
                <a:gd name="connsiteX31" fmla="*/ 36157 w 37557"/>
                <a:gd name="connsiteY31" fmla="*/ 13208 h 47625"/>
                <a:gd name="connsiteX32" fmla="*/ 36157 w 37557"/>
                <a:gd name="connsiteY32" fmla="*/ 13970 h 47625"/>
                <a:gd name="connsiteX33" fmla="*/ 28773 w 37557"/>
                <a:gd name="connsiteY33" fmla="*/ 13970 h 47625"/>
                <a:gd name="connsiteX34" fmla="*/ 28773 w 37557"/>
                <a:gd name="connsiteY34" fmla="*/ 13081 h 47625"/>
                <a:gd name="connsiteX35" fmla="*/ 27881 w 37557"/>
                <a:gd name="connsiteY35" fmla="*/ 9779 h 47625"/>
                <a:gd name="connsiteX36" fmla="*/ 24826 w 37557"/>
                <a:gd name="connsiteY36" fmla="*/ 7239 h 47625"/>
                <a:gd name="connsiteX37" fmla="*/ 18715 w 37557"/>
                <a:gd name="connsiteY37" fmla="*/ 6223 h 47625"/>
                <a:gd name="connsiteX38" fmla="*/ 14386 w 37557"/>
                <a:gd name="connsiteY38" fmla="*/ 6604 h 47625"/>
                <a:gd name="connsiteX39" fmla="*/ 11331 w 37557"/>
                <a:gd name="connsiteY39" fmla="*/ 7874 h 47625"/>
                <a:gd name="connsiteX40" fmla="*/ 9549 w 37557"/>
                <a:gd name="connsiteY40" fmla="*/ 9779 h 47625"/>
                <a:gd name="connsiteX41" fmla="*/ 8912 w 37557"/>
                <a:gd name="connsiteY41" fmla="*/ 12192 h 47625"/>
                <a:gd name="connsiteX42" fmla="*/ 10439 w 37557"/>
                <a:gd name="connsiteY42" fmla="*/ 15621 h 47625"/>
                <a:gd name="connsiteX43" fmla="*/ 14386 w 37557"/>
                <a:gd name="connsiteY43" fmla="*/ 17653 h 47625"/>
                <a:gd name="connsiteX44" fmla="*/ 19734 w 37557"/>
                <a:gd name="connsiteY44" fmla="*/ 19431 h 47625"/>
                <a:gd name="connsiteX45" fmla="*/ 25972 w 37557"/>
                <a:gd name="connsiteY45" fmla="*/ 21209 h 47625"/>
                <a:gd name="connsiteX46" fmla="*/ 31701 w 37557"/>
                <a:gd name="connsiteY46" fmla="*/ 23495 h 47625"/>
                <a:gd name="connsiteX47" fmla="*/ 35902 w 37557"/>
                <a:gd name="connsiteY47" fmla="*/ 27305 h 47625"/>
                <a:gd name="connsiteX48" fmla="*/ 37558 w 37557"/>
                <a:gd name="connsiteY48" fmla="*/ 33528 h 47625"/>
                <a:gd name="connsiteX49" fmla="*/ 36157 w 37557"/>
                <a:gd name="connsiteY49" fmla="*/ 39878 h 47625"/>
                <a:gd name="connsiteX50" fmla="*/ 32211 w 37557"/>
                <a:gd name="connsiteY50" fmla="*/ 44323 h 47625"/>
                <a:gd name="connsiteX51" fmla="*/ 26227 w 37557"/>
                <a:gd name="connsiteY51" fmla="*/ 46863 h 47625"/>
                <a:gd name="connsiteX52" fmla="*/ 18715 w 37557"/>
                <a:gd name="connsiteY52"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5">
                  <a:moveTo>
                    <a:pt x="18842" y="47244"/>
                  </a:moveTo>
                  <a:cubicBezTo>
                    <a:pt x="15787" y="47244"/>
                    <a:pt x="12986" y="46990"/>
                    <a:pt x="10694" y="46355"/>
                  </a:cubicBezTo>
                  <a:cubicBezTo>
                    <a:pt x="8275"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5" y="39878"/>
                    <a:pt x="13368" y="40386"/>
                  </a:cubicBezTo>
                  <a:cubicBezTo>
                    <a:pt x="15150" y="40894"/>
                    <a:pt x="17187"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1" y="29845"/>
                  </a:cubicBezTo>
                  <a:cubicBezTo>
                    <a:pt x="26609" y="28829"/>
                    <a:pt x="24954" y="28067"/>
                    <a:pt x="23044" y="27432"/>
                  </a:cubicBezTo>
                  <a:cubicBezTo>
                    <a:pt x="21007" y="26797"/>
                    <a:pt x="18970" y="26289"/>
                    <a:pt x="16678" y="25654"/>
                  </a:cubicBezTo>
                  <a:cubicBezTo>
                    <a:pt x="14896" y="25146"/>
                    <a:pt x="12986" y="24511"/>
                    <a:pt x="11203" y="23876"/>
                  </a:cubicBezTo>
                  <a:cubicBezTo>
                    <a:pt x="9421" y="23241"/>
                    <a:pt x="7766" y="22479"/>
                    <a:pt x="6238" y="21590"/>
                  </a:cubicBezTo>
                  <a:cubicBezTo>
                    <a:pt x="4711" y="20701"/>
                    <a:pt x="3565" y="19431"/>
                    <a:pt x="2673" y="18034"/>
                  </a:cubicBezTo>
                  <a:cubicBezTo>
                    <a:pt x="1782" y="16510"/>
                    <a:pt x="1273" y="14732"/>
                    <a:pt x="1273" y="12446"/>
                  </a:cubicBezTo>
                  <a:cubicBezTo>
                    <a:pt x="1273" y="10414"/>
                    <a:pt x="1655" y="8636"/>
                    <a:pt x="2546" y="7112"/>
                  </a:cubicBezTo>
                  <a:cubicBezTo>
                    <a:pt x="3437" y="5588"/>
                    <a:pt x="4583" y="4191"/>
                    <a:pt x="6111" y="3175"/>
                  </a:cubicBezTo>
                  <a:cubicBezTo>
                    <a:pt x="7639" y="2032"/>
                    <a:pt x="9549" y="1270"/>
                    <a:pt x="11713" y="762"/>
                  </a:cubicBezTo>
                  <a:cubicBezTo>
                    <a:pt x="13877" y="254"/>
                    <a:pt x="16423" y="0"/>
                    <a:pt x="19097" y="0"/>
                  </a:cubicBezTo>
                  <a:cubicBezTo>
                    <a:pt x="22025" y="0"/>
                    <a:pt x="24444"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1" y="9779"/>
                  </a:cubicBezTo>
                  <a:cubicBezTo>
                    <a:pt x="27245" y="8763"/>
                    <a:pt x="26227" y="7874"/>
                    <a:pt x="24826" y="7239"/>
                  </a:cubicBezTo>
                  <a:cubicBezTo>
                    <a:pt x="23298" y="6604"/>
                    <a:pt x="21389" y="6223"/>
                    <a:pt x="18715" y="6223"/>
                  </a:cubicBezTo>
                  <a:cubicBezTo>
                    <a:pt x="17060" y="6223"/>
                    <a:pt x="15659" y="6350"/>
                    <a:pt x="14386"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39" y="15621"/>
                  </a:cubicBezTo>
                  <a:cubicBezTo>
                    <a:pt x="11458" y="16383"/>
                    <a:pt x="12731" y="17145"/>
                    <a:pt x="14386" y="17653"/>
                  </a:cubicBezTo>
                  <a:cubicBezTo>
                    <a:pt x="16041" y="18161"/>
                    <a:pt x="17824" y="18796"/>
                    <a:pt x="19734" y="19431"/>
                  </a:cubicBezTo>
                  <a:cubicBezTo>
                    <a:pt x="21771" y="20066"/>
                    <a:pt x="23808" y="20574"/>
                    <a:pt x="25972" y="21209"/>
                  </a:cubicBezTo>
                  <a:cubicBezTo>
                    <a:pt x="28136" y="21844"/>
                    <a:pt x="30046" y="22606"/>
                    <a:pt x="31701" y="23495"/>
                  </a:cubicBezTo>
                  <a:cubicBezTo>
                    <a:pt x="33483" y="24384"/>
                    <a:pt x="34884" y="25654"/>
                    <a:pt x="35902" y="27305"/>
                  </a:cubicBezTo>
                  <a:cubicBezTo>
                    <a:pt x="36921" y="28829"/>
                    <a:pt x="37558" y="30988"/>
                    <a:pt x="37558" y="33528"/>
                  </a:cubicBezTo>
                  <a:cubicBezTo>
                    <a:pt x="37558" y="35941"/>
                    <a:pt x="37048" y="38100"/>
                    <a:pt x="36157" y="39878"/>
                  </a:cubicBezTo>
                  <a:cubicBezTo>
                    <a:pt x="35266" y="41656"/>
                    <a:pt x="33865"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75" name="Freeform 374">
              <a:extLst>
                <a:ext uri="{FF2B5EF4-FFF2-40B4-BE49-F238E27FC236}">
                  <a16:creationId xmlns:a16="http://schemas.microsoft.com/office/drawing/2014/main" id="{77EC2A99-7FA6-DFEE-1A59-3812ED878896}"/>
                </a:ext>
              </a:extLst>
            </p:cNvPr>
            <p:cNvSpPr/>
            <p:nvPr/>
          </p:nvSpPr>
          <p:spPr>
            <a:xfrm>
              <a:off x="2071800" y="1588008"/>
              <a:ext cx="22152" cy="59181"/>
            </a:xfrm>
            <a:custGeom>
              <a:avLst/>
              <a:gdLst>
                <a:gd name="connsiteX0" fmla="*/ 15023 w 22152"/>
                <a:gd name="connsiteY0" fmla="*/ 59182 h 59181"/>
                <a:gd name="connsiteX1" fmla="*/ 9549 w 22152"/>
                <a:gd name="connsiteY1" fmla="*/ 57785 h 59181"/>
                <a:gd name="connsiteX2" fmla="*/ 6748 w 22152"/>
                <a:gd name="connsiteY2" fmla="*/ 54229 h 59181"/>
                <a:gd name="connsiteX3" fmla="*/ 5857 w 22152"/>
                <a:gd name="connsiteY3" fmla="*/ 49530 h 59181"/>
                <a:gd name="connsiteX4" fmla="*/ 5857 w 22152"/>
                <a:gd name="connsiteY4" fmla="*/ 19050 h 59181"/>
                <a:gd name="connsiteX5" fmla="*/ 0 w 22152"/>
                <a:gd name="connsiteY5" fmla="*/ 19050 h 59181"/>
                <a:gd name="connsiteX6" fmla="*/ 0 w 22152"/>
                <a:gd name="connsiteY6" fmla="*/ 12700 h 59181"/>
                <a:gd name="connsiteX7" fmla="*/ 6111 w 22152"/>
                <a:gd name="connsiteY7" fmla="*/ 12700 h 59181"/>
                <a:gd name="connsiteX8" fmla="*/ 7512 w 22152"/>
                <a:gd name="connsiteY8" fmla="*/ 0 h 59181"/>
                <a:gd name="connsiteX9" fmla="*/ 13623 w 22152"/>
                <a:gd name="connsiteY9" fmla="*/ 0 h 59181"/>
                <a:gd name="connsiteX10" fmla="*/ 13623 w 22152"/>
                <a:gd name="connsiteY10" fmla="*/ 12700 h 59181"/>
                <a:gd name="connsiteX11" fmla="*/ 22153 w 22152"/>
                <a:gd name="connsiteY11" fmla="*/ 12700 h 59181"/>
                <a:gd name="connsiteX12" fmla="*/ 22153 w 22152"/>
                <a:gd name="connsiteY12" fmla="*/ 19050 h 59181"/>
                <a:gd name="connsiteX13" fmla="*/ 13623 w 22152"/>
                <a:gd name="connsiteY13" fmla="*/ 19050 h 59181"/>
                <a:gd name="connsiteX14" fmla="*/ 13623 w 22152"/>
                <a:gd name="connsiteY14" fmla="*/ 48387 h 59181"/>
                <a:gd name="connsiteX15" fmla="*/ 14387 w 22152"/>
                <a:gd name="connsiteY15" fmla="*/ 51562 h 59181"/>
                <a:gd name="connsiteX16" fmla="*/ 17315 w 22152"/>
                <a:gd name="connsiteY16" fmla="*/ 52578 h 59181"/>
                <a:gd name="connsiteX17" fmla="*/ 22153 w 22152"/>
                <a:gd name="connsiteY17" fmla="*/ 52578 h 59181"/>
                <a:gd name="connsiteX18" fmla="*/ 22153 w 22152"/>
                <a:gd name="connsiteY18" fmla="*/ 57531 h 59181"/>
                <a:gd name="connsiteX19" fmla="*/ 20116 w 22152"/>
                <a:gd name="connsiteY19" fmla="*/ 58166 h 59181"/>
                <a:gd name="connsiteX20" fmla="*/ 17697 w 22152"/>
                <a:gd name="connsiteY20" fmla="*/ 58674 h 59181"/>
                <a:gd name="connsiteX21" fmla="*/ 15278 w 22152"/>
                <a:gd name="connsiteY21" fmla="*/ 58928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1">
                  <a:moveTo>
                    <a:pt x="15023" y="59182"/>
                  </a:moveTo>
                  <a:cubicBezTo>
                    <a:pt x="12604" y="59182"/>
                    <a:pt x="10822" y="58674"/>
                    <a:pt x="9549" y="57785"/>
                  </a:cubicBezTo>
                  <a:cubicBezTo>
                    <a:pt x="8276" y="56896"/>
                    <a:pt x="7257" y="55753"/>
                    <a:pt x="6748" y="54229"/>
                  </a:cubicBezTo>
                  <a:cubicBezTo>
                    <a:pt x="6111" y="52705"/>
                    <a:pt x="5857" y="51181"/>
                    <a:pt x="5857" y="49530"/>
                  </a:cubicBezTo>
                  <a:lnTo>
                    <a:pt x="5857"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80" y="58039"/>
                    <a:pt x="20116" y="58166"/>
                  </a:cubicBezTo>
                  <a:cubicBezTo>
                    <a:pt x="19352" y="58293"/>
                    <a:pt x="18461" y="58547"/>
                    <a:pt x="17697"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76" name="Freeform 375">
              <a:extLst>
                <a:ext uri="{FF2B5EF4-FFF2-40B4-BE49-F238E27FC236}">
                  <a16:creationId xmlns:a16="http://schemas.microsoft.com/office/drawing/2014/main" id="{D163C64B-9B40-5F15-117B-4D5E994D9643}"/>
                </a:ext>
              </a:extLst>
            </p:cNvPr>
            <p:cNvSpPr/>
            <p:nvPr/>
          </p:nvSpPr>
          <p:spPr>
            <a:xfrm>
              <a:off x="2098409"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7" name="Freeform 376">
              <a:extLst>
                <a:ext uri="{FF2B5EF4-FFF2-40B4-BE49-F238E27FC236}">
                  <a16:creationId xmlns:a16="http://schemas.microsoft.com/office/drawing/2014/main" id="{21851F32-4A24-65F1-206B-5C6BA513A689}"/>
                </a:ext>
              </a:extLst>
            </p:cNvPr>
            <p:cNvSpPr/>
            <p:nvPr/>
          </p:nvSpPr>
          <p:spPr>
            <a:xfrm>
              <a:off x="2168686" y="1599819"/>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8" name="Freeform 377">
              <a:extLst>
                <a:ext uri="{FF2B5EF4-FFF2-40B4-BE49-F238E27FC236}">
                  <a16:creationId xmlns:a16="http://schemas.microsoft.com/office/drawing/2014/main" id="{FCE2CBC0-7808-D4AC-1324-5105F78D188F}"/>
                </a:ext>
              </a:extLst>
            </p:cNvPr>
            <p:cNvSpPr/>
            <p:nvPr/>
          </p:nvSpPr>
          <p:spPr>
            <a:xfrm>
              <a:off x="2194658"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79" name="Freeform 378">
              <a:extLst>
                <a:ext uri="{FF2B5EF4-FFF2-40B4-BE49-F238E27FC236}">
                  <a16:creationId xmlns:a16="http://schemas.microsoft.com/office/drawing/2014/main" id="{7EDA27CD-0AF6-1C26-ECD5-7F7A9452F57D}"/>
                </a:ext>
              </a:extLst>
            </p:cNvPr>
            <p:cNvSpPr/>
            <p:nvPr/>
          </p:nvSpPr>
          <p:spPr>
            <a:xfrm>
              <a:off x="2241892" y="1583816"/>
              <a:ext cx="39722" cy="63372"/>
            </a:xfrm>
            <a:custGeom>
              <a:avLst/>
              <a:gdLst>
                <a:gd name="connsiteX0" fmla="*/ 18079 w 39722"/>
                <a:gd name="connsiteY0" fmla="*/ 63373 h 63372"/>
                <a:gd name="connsiteX1" fmla="*/ 8403 w 39722"/>
                <a:gd name="connsiteY1" fmla="*/ 60833 h 63372"/>
                <a:gd name="connsiteX2" fmla="*/ 2164 w 39722"/>
                <a:gd name="connsiteY2" fmla="*/ 53086 h 63372"/>
                <a:gd name="connsiteX3" fmla="*/ 0 w 39722"/>
                <a:gd name="connsiteY3" fmla="*/ 39370 h 63372"/>
                <a:gd name="connsiteX4" fmla="*/ 2292 w 39722"/>
                <a:gd name="connsiteY4" fmla="*/ 26162 h 63372"/>
                <a:gd name="connsiteX5" fmla="*/ 8530 w 39722"/>
                <a:gd name="connsiteY5" fmla="*/ 18542 h 63372"/>
                <a:gd name="connsiteX6" fmla="*/ 17824 w 39722"/>
                <a:gd name="connsiteY6" fmla="*/ 16002 h 63372"/>
                <a:gd name="connsiteX7" fmla="*/ 23426 w 39722"/>
                <a:gd name="connsiteY7" fmla="*/ 16637 h 63372"/>
                <a:gd name="connsiteX8" fmla="*/ 28009 w 39722"/>
                <a:gd name="connsiteY8" fmla="*/ 18796 h 63372"/>
                <a:gd name="connsiteX9" fmla="*/ 31574 w 39722"/>
                <a:gd name="connsiteY9" fmla="*/ 22733 h 63372"/>
                <a:gd name="connsiteX10" fmla="*/ 32083 w 39722"/>
                <a:gd name="connsiteY10" fmla="*/ 22733 h 63372"/>
                <a:gd name="connsiteX11" fmla="*/ 32083 w 39722"/>
                <a:gd name="connsiteY11" fmla="*/ 0 h 63372"/>
                <a:gd name="connsiteX12" fmla="*/ 39722 w 39722"/>
                <a:gd name="connsiteY12" fmla="*/ 0 h 63372"/>
                <a:gd name="connsiteX13" fmla="*/ 39722 w 39722"/>
                <a:gd name="connsiteY13" fmla="*/ 62357 h 63372"/>
                <a:gd name="connsiteX14" fmla="*/ 33611 w 39722"/>
                <a:gd name="connsiteY14" fmla="*/ 62357 h 63372"/>
                <a:gd name="connsiteX15" fmla="*/ 32975 w 39722"/>
                <a:gd name="connsiteY15" fmla="*/ 55880 h 63372"/>
                <a:gd name="connsiteX16" fmla="*/ 32338 w 39722"/>
                <a:gd name="connsiteY16" fmla="*/ 55880 h 63372"/>
                <a:gd name="connsiteX17" fmla="*/ 26227 w 39722"/>
                <a:gd name="connsiteY17" fmla="*/ 61468 h 63372"/>
                <a:gd name="connsiteX18" fmla="*/ 18079 w 39722"/>
                <a:gd name="connsiteY18" fmla="*/ 63373 h 63372"/>
                <a:gd name="connsiteX19" fmla="*/ 19861 w 39722"/>
                <a:gd name="connsiteY19" fmla="*/ 56769 h 63372"/>
                <a:gd name="connsiteX20" fmla="*/ 26863 w 39722"/>
                <a:gd name="connsiteY20" fmla="*/ 54864 h 63372"/>
                <a:gd name="connsiteX21" fmla="*/ 30810 w 39722"/>
                <a:gd name="connsiteY21" fmla="*/ 49403 h 63372"/>
                <a:gd name="connsiteX22" fmla="*/ 32083 w 39722"/>
                <a:gd name="connsiteY22" fmla="*/ 40386 h 63372"/>
                <a:gd name="connsiteX23" fmla="*/ 32083 w 39722"/>
                <a:gd name="connsiteY23" fmla="*/ 38989 h 63372"/>
                <a:gd name="connsiteX24" fmla="*/ 31192 w 39722"/>
                <a:gd name="connsiteY24" fmla="*/ 31115 h 63372"/>
                <a:gd name="connsiteX25" fmla="*/ 28646 w 39722"/>
                <a:gd name="connsiteY25" fmla="*/ 26035 h 63372"/>
                <a:gd name="connsiteX26" fmla="*/ 24826 w 39722"/>
                <a:gd name="connsiteY26" fmla="*/ 23368 h 63372"/>
                <a:gd name="connsiteX27" fmla="*/ 20243 w 39722"/>
                <a:gd name="connsiteY27" fmla="*/ 22606 h 63372"/>
                <a:gd name="connsiteX28" fmla="*/ 13368 w 39722"/>
                <a:gd name="connsiteY28" fmla="*/ 24257 h 63372"/>
                <a:gd name="connsiteX29" fmla="*/ 9421 w 39722"/>
                <a:gd name="connsiteY29" fmla="*/ 29464 h 63372"/>
                <a:gd name="connsiteX30" fmla="*/ 8148 w 39722"/>
                <a:gd name="connsiteY30" fmla="*/ 38735 h 63372"/>
                <a:gd name="connsiteX31" fmla="*/ 8148 w 39722"/>
                <a:gd name="connsiteY31" fmla="*/ 40513 h 63372"/>
                <a:gd name="connsiteX32" fmla="*/ 9549 w 39722"/>
                <a:gd name="connsiteY32" fmla="*/ 49911 h 63372"/>
                <a:gd name="connsiteX33" fmla="*/ 13623 w 39722"/>
                <a:gd name="connsiteY33" fmla="*/ 54991 h 63372"/>
                <a:gd name="connsiteX34" fmla="*/ 20116 w 39722"/>
                <a:gd name="connsiteY34" fmla="*/ 56515 h 6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2">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2"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80" name="Freeform 379">
              <a:extLst>
                <a:ext uri="{FF2B5EF4-FFF2-40B4-BE49-F238E27FC236}">
                  <a16:creationId xmlns:a16="http://schemas.microsoft.com/office/drawing/2014/main" id="{E86C43EB-1958-B308-DB65-2614674A1CEB}"/>
                </a:ext>
              </a:extLst>
            </p:cNvPr>
            <p:cNvSpPr/>
            <p:nvPr/>
          </p:nvSpPr>
          <p:spPr>
            <a:xfrm>
              <a:off x="2292054"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81" name="Freeform 380">
              <a:extLst>
                <a:ext uri="{FF2B5EF4-FFF2-40B4-BE49-F238E27FC236}">
                  <a16:creationId xmlns:a16="http://schemas.microsoft.com/office/drawing/2014/main" id="{61319555-9221-89BA-3336-87AD6D743E81}"/>
                </a:ext>
              </a:extLst>
            </p:cNvPr>
            <p:cNvSpPr/>
            <p:nvPr/>
          </p:nvSpPr>
          <p:spPr>
            <a:xfrm>
              <a:off x="2337505"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5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5"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82" name="Freeform 381">
              <a:extLst>
                <a:ext uri="{FF2B5EF4-FFF2-40B4-BE49-F238E27FC236}">
                  <a16:creationId xmlns:a16="http://schemas.microsoft.com/office/drawing/2014/main" id="{77D144A4-73A8-DDD9-F380-7FDFECE78D92}"/>
                </a:ext>
              </a:extLst>
            </p:cNvPr>
            <p:cNvSpPr/>
            <p:nvPr/>
          </p:nvSpPr>
          <p:spPr>
            <a:xfrm>
              <a:off x="2382065"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83" name="Freeform 382">
              <a:extLst>
                <a:ext uri="{FF2B5EF4-FFF2-40B4-BE49-F238E27FC236}">
                  <a16:creationId xmlns:a16="http://schemas.microsoft.com/office/drawing/2014/main" id="{73433527-6623-D4CA-AC1F-00F1C3253865}"/>
                </a:ext>
              </a:extLst>
            </p:cNvPr>
            <p:cNvSpPr/>
            <p:nvPr/>
          </p:nvSpPr>
          <p:spPr>
            <a:xfrm>
              <a:off x="2447632"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2"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4" name="Freeform 383">
              <a:extLst>
                <a:ext uri="{FF2B5EF4-FFF2-40B4-BE49-F238E27FC236}">
                  <a16:creationId xmlns:a16="http://schemas.microsoft.com/office/drawing/2014/main" id="{EA3E412B-6044-00B9-2D7B-C07B0A050CDA}"/>
                </a:ext>
              </a:extLst>
            </p:cNvPr>
            <p:cNvSpPr/>
            <p:nvPr/>
          </p:nvSpPr>
          <p:spPr>
            <a:xfrm>
              <a:off x="2497157"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5" name="Freeform 384">
              <a:extLst>
                <a:ext uri="{FF2B5EF4-FFF2-40B4-BE49-F238E27FC236}">
                  <a16:creationId xmlns:a16="http://schemas.microsoft.com/office/drawing/2014/main" id="{5756796B-01E3-6549-74D2-A05EF8EF5427}"/>
                </a:ext>
              </a:extLst>
            </p:cNvPr>
            <p:cNvSpPr/>
            <p:nvPr/>
          </p:nvSpPr>
          <p:spPr>
            <a:xfrm>
              <a:off x="254528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6" name="Freeform 385">
              <a:extLst>
                <a:ext uri="{FF2B5EF4-FFF2-40B4-BE49-F238E27FC236}">
                  <a16:creationId xmlns:a16="http://schemas.microsoft.com/office/drawing/2014/main" id="{DD6DE1EE-DD4D-0765-9097-19E339EB986D}"/>
                </a:ext>
              </a:extLst>
            </p:cNvPr>
            <p:cNvSpPr/>
            <p:nvPr/>
          </p:nvSpPr>
          <p:spPr>
            <a:xfrm>
              <a:off x="2563615" y="1599946"/>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6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7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7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6" y="0"/>
                    <a:pt x="21643" y="0"/>
                  </a:cubicBezTo>
                  <a:cubicBezTo>
                    <a:pt x="24572" y="0"/>
                    <a:pt x="27118" y="635"/>
                    <a:pt x="29282" y="1778"/>
                  </a:cubicBezTo>
                  <a:cubicBezTo>
                    <a:pt x="31447"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9" y="7366"/>
                    <a:pt x="49780" y="7112"/>
                  </a:cubicBezTo>
                  <a:cubicBezTo>
                    <a:pt x="48761" y="6858"/>
                    <a:pt x="47616" y="6731"/>
                    <a:pt x="46342" y="6731"/>
                  </a:cubicBezTo>
                  <a:cubicBezTo>
                    <a:pt x="44305"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7" name="Freeform 386">
              <a:extLst>
                <a:ext uri="{FF2B5EF4-FFF2-40B4-BE49-F238E27FC236}">
                  <a16:creationId xmlns:a16="http://schemas.microsoft.com/office/drawing/2014/main" id="{9ED7E566-E9AF-76D6-99A4-90E3AA4D9EA0}"/>
                </a:ext>
              </a:extLst>
            </p:cNvPr>
            <p:cNvSpPr/>
            <p:nvPr/>
          </p:nvSpPr>
          <p:spPr>
            <a:xfrm>
              <a:off x="2634148"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5 w 43668"/>
                <a:gd name="connsiteY17" fmla="*/ 14478 h 47497"/>
                <a:gd name="connsiteX18" fmla="*/ 2165 w 43668"/>
                <a:gd name="connsiteY18" fmla="*/ 13589 h 47497"/>
                <a:gd name="connsiteX19" fmla="*/ 2165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6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4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3" y="2794"/>
                    <a:pt x="34502" y="4318"/>
                    <a:pt x="35776"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5"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3"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4" y="32004"/>
                    <a:pt x="7894" y="34417"/>
                  </a:cubicBezTo>
                  <a:cubicBezTo>
                    <a:pt x="7894" y="35941"/>
                    <a:pt x="8276" y="37211"/>
                    <a:pt x="8912" y="38227"/>
                  </a:cubicBezTo>
                  <a:cubicBezTo>
                    <a:pt x="9549" y="39243"/>
                    <a:pt x="10567" y="39878"/>
                    <a:pt x="11840" y="40386"/>
                  </a:cubicBezTo>
                  <a:cubicBezTo>
                    <a:pt x="13114"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8" name="Freeform 387">
              <a:extLst>
                <a:ext uri="{FF2B5EF4-FFF2-40B4-BE49-F238E27FC236}">
                  <a16:creationId xmlns:a16="http://schemas.microsoft.com/office/drawing/2014/main" id="{AD7C37F6-19D1-C740-2512-D0256FA885CF}"/>
                </a:ext>
              </a:extLst>
            </p:cNvPr>
            <p:cNvSpPr/>
            <p:nvPr/>
          </p:nvSpPr>
          <p:spPr>
            <a:xfrm>
              <a:off x="2684182"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9" name="Freeform 388">
              <a:extLst>
                <a:ext uri="{FF2B5EF4-FFF2-40B4-BE49-F238E27FC236}">
                  <a16:creationId xmlns:a16="http://schemas.microsoft.com/office/drawing/2014/main" id="{AA1FF330-6542-3614-6E25-88024021A593}"/>
                </a:ext>
              </a:extLst>
            </p:cNvPr>
            <p:cNvSpPr/>
            <p:nvPr/>
          </p:nvSpPr>
          <p:spPr>
            <a:xfrm>
              <a:off x="2721740"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90" name="Freeform 389">
              <a:extLst>
                <a:ext uri="{FF2B5EF4-FFF2-40B4-BE49-F238E27FC236}">
                  <a16:creationId xmlns:a16="http://schemas.microsoft.com/office/drawing/2014/main" id="{9FB48D22-1273-354A-2F3A-5FEE0CB671F3}"/>
                </a:ext>
              </a:extLst>
            </p:cNvPr>
            <p:cNvSpPr/>
            <p:nvPr/>
          </p:nvSpPr>
          <p:spPr>
            <a:xfrm>
              <a:off x="2766682" y="1599946"/>
              <a:ext cx="37557" cy="47624"/>
            </a:xfrm>
            <a:custGeom>
              <a:avLst/>
              <a:gdLst>
                <a:gd name="connsiteX0" fmla="*/ 18842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4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2" y="47244"/>
                  </a:moveTo>
                  <a:cubicBezTo>
                    <a:pt x="15787" y="47244"/>
                    <a:pt x="12986" y="46990"/>
                    <a:pt x="10694" y="46355"/>
                  </a:cubicBezTo>
                  <a:cubicBezTo>
                    <a:pt x="8276"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4" y="18034"/>
                  </a:cubicBezTo>
                  <a:cubicBezTo>
                    <a:pt x="1782" y="16510"/>
                    <a:pt x="1273" y="14732"/>
                    <a:pt x="1273" y="12446"/>
                  </a:cubicBezTo>
                  <a:cubicBezTo>
                    <a:pt x="1273" y="10414"/>
                    <a:pt x="1655" y="8636"/>
                    <a:pt x="2546" y="7112"/>
                  </a:cubicBezTo>
                  <a:cubicBezTo>
                    <a:pt x="3438" y="5588"/>
                    <a:pt x="4583" y="4191"/>
                    <a:pt x="6111" y="3175"/>
                  </a:cubicBezTo>
                  <a:cubicBezTo>
                    <a:pt x="7639" y="2032"/>
                    <a:pt x="9549" y="1270"/>
                    <a:pt x="11713" y="762"/>
                  </a:cubicBezTo>
                  <a:cubicBezTo>
                    <a:pt x="13877" y="254"/>
                    <a:pt x="16424" y="0"/>
                    <a:pt x="19097" y="0"/>
                  </a:cubicBezTo>
                  <a:cubicBezTo>
                    <a:pt x="22025" y="0"/>
                    <a:pt x="24444" y="254"/>
                    <a:pt x="26609" y="889"/>
                  </a:cubicBezTo>
                  <a:cubicBezTo>
                    <a:pt x="28773" y="1524"/>
                    <a:pt x="30556"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7"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6"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91" name="Freeform 390">
              <a:extLst>
                <a:ext uri="{FF2B5EF4-FFF2-40B4-BE49-F238E27FC236}">
                  <a16:creationId xmlns:a16="http://schemas.microsoft.com/office/drawing/2014/main" id="{D818929D-60B3-9670-13AA-759B7676CFE0}"/>
                </a:ext>
              </a:extLst>
            </p:cNvPr>
            <p:cNvSpPr/>
            <p:nvPr/>
          </p:nvSpPr>
          <p:spPr>
            <a:xfrm>
              <a:off x="2810478" y="1599819"/>
              <a:ext cx="40486" cy="47370"/>
            </a:xfrm>
            <a:custGeom>
              <a:avLst/>
              <a:gdLst>
                <a:gd name="connsiteX0" fmla="*/ 20752 w 40486"/>
                <a:gd name="connsiteY0" fmla="*/ 47371 h 47370"/>
                <a:gd name="connsiteX1" fmla="*/ 9421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1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1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0 w 40486"/>
                <a:gd name="connsiteY22" fmla="*/ 46101 h 47370"/>
                <a:gd name="connsiteX23" fmla="*/ 20625 w 40486"/>
                <a:gd name="connsiteY23" fmla="*/ 47371 h 47370"/>
                <a:gd name="connsiteX24" fmla="*/ 8021 w 40486"/>
                <a:gd name="connsiteY24" fmla="*/ 19939 h 47370"/>
                <a:gd name="connsiteX25" fmla="*/ 32592 w 40486"/>
                <a:gd name="connsiteY25" fmla="*/ 19939 h 47370"/>
                <a:gd name="connsiteX26" fmla="*/ 31701 w 40486"/>
                <a:gd name="connsiteY26" fmla="*/ 13589 h 47370"/>
                <a:gd name="connsiteX27" fmla="*/ 29282 w 40486"/>
                <a:gd name="connsiteY27" fmla="*/ 9398 h 47370"/>
                <a:gd name="connsiteX28" fmla="*/ 25590 w 40486"/>
                <a:gd name="connsiteY28" fmla="*/ 6985 h 47370"/>
                <a:gd name="connsiteX29" fmla="*/ 20752 w 40486"/>
                <a:gd name="connsiteY29" fmla="*/ 6223 h 47370"/>
                <a:gd name="connsiteX30" fmla="*/ 14005 w 40486"/>
                <a:gd name="connsiteY30" fmla="*/ 7747 h 47370"/>
                <a:gd name="connsiteX31" fmla="*/ 9803 w 40486"/>
                <a:gd name="connsiteY31" fmla="*/ 12192 h 47370"/>
                <a:gd name="connsiteX32" fmla="*/ 8021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92" name="Freeform 391">
              <a:extLst>
                <a:ext uri="{FF2B5EF4-FFF2-40B4-BE49-F238E27FC236}">
                  <a16:creationId xmlns:a16="http://schemas.microsoft.com/office/drawing/2014/main" id="{7860F635-8813-C853-8BBF-A4E1FC9338CB}"/>
                </a:ext>
              </a:extLst>
            </p:cNvPr>
            <p:cNvSpPr/>
            <p:nvPr/>
          </p:nvSpPr>
          <p:spPr>
            <a:xfrm>
              <a:off x="2878973"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3" name="Freeform 392">
              <a:extLst>
                <a:ext uri="{FF2B5EF4-FFF2-40B4-BE49-F238E27FC236}">
                  <a16:creationId xmlns:a16="http://schemas.microsoft.com/office/drawing/2014/main" id="{E0ECC5A3-B13F-ADCF-8CAD-80D027FEE53B}"/>
                </a:ext>
              </a:extLst>
            </p:cNvPr>
            <p:cNvSpPr/>
            <p:nvPr/>
          </p:nvSpPr>
          <p:spPr>
            <a:xfrm>
              <a:off x="2896924"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3" y="4445"/>
                    <a:pt x="11840" y="3302"/>
                  </a:cubicBezTo>
                  <a:cubicBezTo>
                    <a:pt x="13368" y="2159"/>
                    <a:pt x="15023" y="1270"/>
                    <a:pt x="16933" y="762"/>
                  </a:cubicBezTo>
                  <a:cubicBezTo>
                    <a:pt x="18843" y="254"/>
                    <a:pt x="20752" y="0"/>
                    <a:pt x="22917" y="0"/>
                  </a:cubicBezTo>
                  <a:cubicBezTo>
                    <a:pt x="25845" y="0"/>
                    <a:pt x="28264" y="508"/>
                    <a:pt x="30428" y="1524"/>
                  </a:cubicBezTo>
                  <a:cubicBezTo>
                    <a:pt x="32593"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94" name="Freeform 393">
              <a:extLst>
                <a:ext uri="{FF2B5EF4-FFF2-40B4-BE49-F238E27FC236}">
                  <a16:creationId xmlns:a16="http://schemas.microsoft.com/office/drawing/2014/main" id="{68041686-B396-5313-C092-6594505DE2FC}"/>
                </a:ext>
              </a:extLst>
            </p:cNvPr>
            <p:cNvSpPr/>
            <p:nvPr/>
          </p:nvSpPr>
          <p:spPr>
            <a:xfrm>
              <a:off x="2960327" y="1587119"/>
              <a:ext cx="49015" cy="59054"/>
            </a:xfrm>
            <a:custGeom>
              <a:avLst/>
              <a:gdLst>
                <a:gd name="connsiteX0" fmla="*/ 20243 w 49015"/>
                <a:gd name="connsiteY0" fmla="*/ 59055 h 59054"/>
                <a:gd name="connsiteX1" fmla="*/ 20243 w 49015"/>
                <a:gd name="connsiteY1" fmla="*/ 7112 h 59054"/>
                <a:gd name="connsiteX2" fmla="*/ 0 w 49015"/>
                <a:gd name="connsiteY2" fmla="*/ 7112 h 59054"/>
                <a:gd name="connsiteX3" fmla="*/ 0 w 49015"/>
                <a:gd name="connsiteY3" fmla="*/ 0 h 59054"/>
                <a:gd name="connsiteX4" fmla="*/ 49016 w 49015"/>
                <a:gd name="connsiteY4" fmla="*/ 0 h 59054"/>
                <a:gd name="connsiteX5" fmla="*/ 49016 w 49015"/>
                <a:gd name="connsiteY5" fmla="*/ 7112 h 59054"/>
                <a:gd name="connsiteX6" fmla="*/ 28518 w 49015"/>
                <a:gd name="connsiteY6" fmla="*/ 7112 h 59054"/>
                <a:gd name="connsiteX7" fmla="*/ 28518 w 49015"/>
                <a:gd name="connsiteY7" fmla="*/ 59055 h 59054"/>
                <a:gd name="connsiteX8" fmla="*/ 20370 w 49015"/>
                <a:gd name="connsiteY8" fmla="*/ 59055 h 5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15" h="59054">
                  <a:moveTo>
                    <a:pt x="20243" y="59055"/>
                  </a:moveTo>
                  <a:lnTo>
                    <a:pt x="20243" y="7112"/>
                  </a:lnTo>
                  <a:lnTo>
                    <a:pt x="0" y="7112"/>
                  </a:lnTo>
                  <a:lnTo>
                    <a:pt x="0" y="0"/>
                  </a:lnTo>
                  <a:lnTo>
                    <a:pt x="49016" y="0"/>
                  </a:lnTo>
                  <a:lnTo>
                    <a:pt x="49016" y="7112"/>
                  </a:lnTo>
                  <a:lnTo>
                    <a:pt x="28518" y="7112"/>
                  </a:lnTo>
                  <a:lnTo>
                    <a:pt x="28518" y="59055"/>
                  </a:lnTo>
                  <a:lnTo>
                    <a:pt x="20370" y="59055"/>
                  </a:lnTo>
                  <a:close/>
                </a:path>
              </a:pathLst>
            </a:custGeom>
            <a:solidFill>
              <a:srgbClr val="1D4966"/>
            </a:solidFill>
            <a:ln w="0" cap="flat">
              <a:noFill/>
              <a:prstDash val="solid"/>
              <a:miter/>
            </a:ln>
          </p:spPr>
          <p:txBody>
            <a:bodyPr rtlCol="0" anchor="ctr"/>
            <a:lstStyle/>
            <a:p>
              <a:endParaRPr lang="en-AD" sz="2400"/>
            </a:p>
          </p:txBody>
        </p:sp>
        <p:sp>
          <p:nvSpPr>
            <p:cNvPr id="395" name="Freeform 394">
              <a:extLst>
                <a:ext uri="{FF2B5EF4-FFF2-40B4-BE49-F238E27FC236}">
                  <a16:creationId xmlns:a16="http://schemas.microsoft.com/office/drawing/2014/main" id="{D2DA8412-D247-4D0F-CD93-E45FFB4E7E36}"/>
                </a:ext>
              </a:extLst>
            </p:cNvPr>
            <p:cNvSpPr/>
            <p:nvPr/>
          </p:nvSpPr>
          <p:spPr>
            <a:xfrm>
              <a:off x="300590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96" name="Freeform 395">
              <a:extLst>
                <a:ext uri="{FF2B5EF4-FFF2-40B4-BE49-F238E27FC236}">
                  <a16:creationId xmlns:a16="http://schemas.microsoft.com/office/drawing/2014/main" id="{89AE9E0D-90FF-4159-8305-E635EE51F967}"/>
                </a:ext>
              </a:extLst>
            </p:cNvPr>
            <p:cNvSpPr/>
            <p:nvPr/>
          </p:nvSpPr>
          <p:spPr>
            <a:xfrm>
              <a:off x="3050211" y="1600835"/>
              <a:ext cx="42013" cy="45338"/>
            </a:xfrm>
            <a:custGeom>
              <a:avLst/>
              <a:gdLst>
                <a:gd name="connsiteX0" fmla="*/ 0 w 42013"/>
                <a:gd name="connsiteY0" fmla="*/ 45339 h 45338"/>
                <a:gd name="connsiteX1" fmla="*/ 16296 w 42013"/>
                <a:gd name="connsiteY1" fmla="*/ 22098 h 45338"/>
                <a:gd name="connsiteX2" fmla="*/ 764 w 42013"/>
                <a:gd name="connsiteY2" fmla="*/ 0 h 45338"/>
                <a:gd name="connsiteX3" fmla="*/ 9931 w 42013"/>
                <a:gd name="connsiteY3" fmla="*/ 0 h 45338"/>
                <a:gd name="connsiteX4" fmla="*/ 21007 w 42013"/>
                <a:gd name="connsiteY4" fmla="*/ 16256 h 45338"/>
                <a:gd name="connsiteX5" fmla="*/ 21389 w 42013"/>
                <a:gd name="connsiteY5" fmla="*/ 16256 h 45338"/>
                <a:gd name="connsiteX6" fmla="*/ 32465 w 42013"/>
                <a:gd name="connsiteY6" fmla="*/ 0 h 45338"/>
                <a:gd name="connsiteX7" fmla="*/ 41122 w 42013"/>
                <a:gd name="connsiteY7" fmla="*/ 0 h 45338"/>
                <a:gd name="connsiteX8" fmla="*/ 25590 w 42013"/>
                <a:gd name="connsiteY8" fmla="*/ 21844 h 45338"/>
                <a:gd name="connsiteX9" fmla="*/ 42014 w 42013"/>
                <a:gd name="connsiteY9" fmla="*/ 45339 h 45338"/>
                <a:gd name="connsiteX10" fmla="*/ 32974 w 42013"/>
                <a:gd name="connsiteY10" fmla="*/ 45339 h 45338"/>
                <a:gd name="connsiteX11" fmla="*/ 21007 w 42013"/>
                <a:gd name="connsiteY11" fmla="*/ 27813 h 45338"/>
                <a:gd name="connsiteX12" fmla="*/ 20625 w 42013"/>
                <a:gd name="connsiteY12" fmla="*/ 27813 h 45338"/>
                <a:gd name="connsiteX13" fmla="*/ 8657 w 42013"/>
                <a:gd name="connsiteY13" fmla="*/ 45339 h 45338"/>
                <a:gd name="connsiteX14" fmla="*/ 0 w 42013"/>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3" h="45338">
                  <a:moveTo>
                    <a:pt x="0" y="45339"/>
                  </a:moveTo>
                  <a:lnTo>
                    <a:pt x="16296" y="22098"/>
                  </a:lnTo>
                  <a:lnTo>
                    <a:pt x="764" y="0"/>
                  </a:lnTo>
                  <a:lnTo>
                    <a:pt x="9931" y="0"/>
                  </a:lnTo>
                  <a:lnTo>
                    <a:pt x="21007" y="16256"/>
                  </a:lnTo>
                  <a:lnTo>
                    <a:pt x="21389" y="16256"/>
                  </a:lnTo>
                  <a:lnTo>
                    <a:pt x="32465" y="0"/>
                  </a:lnTo>
                  <a:lnTo>
                    <a:pt x="41122" y="0"/>
                  </a:lnTo>
                  <a:lnTo>
                    <a:pt x="25590" y="21844"/>
                  </a:lnTo>
                  <a:lnTo>
                    <a:pt x="42014" y="45339"/>
                  </a:lnTo>
                  <a:lnTo>
                    <a:pt x="32974" y="45339"/>
                  </a:lnTo>
                  <a:lnTo>
                    <a:pt x="21007" y="27813"/>
                  </a:lnTo>
                  <a:lnTo>
                    <a:pt x="20625" y="27813"/>
                  </a:lnTo>
                  <a:lnTo>
                    <a:pt x="8657" y="45339"/>
                  </a:lnTo>
                  <a:lnTo>
                    <a:pt x="0" y="45339"/>
                  </a:lnTo>
                  <a:close/>
                </a:path>
              </a:pathLst>
            </a:custGeom>
            <a:solidFill>
              <a:srgbClr val="1D4966"/>
            </a:solidFill>
            <a:ln w="0" cap="flat">
              <a:noFill/>
              <a:prstDash val="solid"/>
              <a:miter/>
            </a:ln>
          </p:spPr>
          <p:txBody>
            <a:bodyPr rtlCol="0" anchor="ctr"/>
            <a:lstStyle/>
            <a:p>
              <a:endParaRPr lang="en-AD" sz="2400"/>
            </a:p>
          </p:txBody>
        </p:sp>
        <p:sp>
          <p:nvSpPr>
            <p:cNvPr id="397" name="Freeform 396">
              <a:extLst>
                <a:ext uri="{FF2B5EF4-FFF2-40B4-BE49-F238E27FC236}">
                  <a16:creationId xmlns:a16="http://schemas.microsoft.com/office/drawing/2014/main" id="{AE738815-13A7-292F-4D47-EF403F61B05A}"/>
                </a:ext>
              </a:extLst>
            </p:cNvPr>
            <p:cNvSpPr/>
            <p:nvPr/>
          </p:nvSpPr>
          <p:spPr>
            <a:xfrm>
              <a:off x="309897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8" name="Freeform 397">
              <a:extLst>
                <a:ext uri="{FF2B5EF4-FFF2-40B4-BE49-F238E27FC236}">
                  <a16:creationId xmlns:a16="http://schemas.microsoft.com/office/drawing/2014/main" id="{9623E925-E069-1F94-7936-70CF80337AE7}"/>
                </a:ext>
              </a:extLst>
            </p:cNvPr>
            <p:cNvSpPr/>
            <p:nvPr/>
          </p:nvSpPr>
          <p:spPr>
            <a:xfrm>
              <a:off x="3114887"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6"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99" name="Freeform 398">
              <a:extLst>
                <a:ext uri="{FF2B5EF4-FFF2-40B4-BE49-F238E27FC236}">
                  <a16:creationId xmlns:a16="http://schemas.microsoft.com/office/drawing/2014/main" id="{3E14810C-7F6F-547B-4D9F-10013843C4C8}"/>
                </a:ext>
              </a:extLst>
            </p:cNvPr>
            <p:cNvSpPr/>
            <p:nvPr/>
          </p:nvSpPr>
          <p:spPr>
            <a:xfrm>
              <a:off x="3159574"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0" name="Freeform 399">
              <a:extLst>
                <a:ext uri="{FF2B5EF4-FFF2-40B4-BE49-F238E27FC236}">
                  <a16:creationId xmlns:a16="http://schemas.microsoft.com/office/drawing/2014/main" id="{E8B491E6-5E2A-9026-000E-A5F746F79AE8}"/>
                </a:ext>
              </a:extLst>
            </p:cNvPr>
            <p:cNvSpPr/>
            <p:nvPr/>
          </p:nvSpPr>
          <p:spPr>
            <a:xfrm>
              <a:off x="3210500"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401" name="Freeform 400">
              <a:extLst>
                <a:ext uri="{FF2B5EF4-FFF2-40B4-BE49-F238E27FC236}">
                  <a16:creationId xmlns:a16="http://schemas.microsoft.com/office/drawing/2014/main" id="{E254A83A-4932-3AC2-1F85-DEF928214ECB}"/>
                </a:ext>
              </a:extLst>
            </p:cNvPr>
            <p:cNvSpPr/>
            <p:nvPr/>
          </p:nvSpPr>
          <p:spPr>
            <a:xfrm>
              <a:off x="322679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2" name="Freeform 401">
              <a:extLst>
                <a:ext uri="{FF2B5EF4-FFF2-40B4-BE49-F238E27FC236}">
                  <a16:creationId xmlns:a16="http://schemas.microsoft.com/office/drawing/2014/main" id="{F1DF24B5-832F-3663-D118-86214535AD68}"/>
                </a:ext>
              </a:extLst>
            </p:cNvPr>
            <p:cNvSpPr/>
            <p:nvPr/>
          </p:nvSpPr>
          <p:spPr>
            <a:xfrm>
              <a:off x="3272757" y="1593341"/>
              <a:ext cx="45960" cy="68580"/>
            </a:xfrm>
            <a:custGeom>
              <a:avLst/>
              <a:gdLst>
                <a:gd name="connsiteX0" fmla="*/ 12222 w 45960"/>
                <a:gd name="connsiteY0" fmla="*/ 68580 h 68580"/>
                <a:gd name="connsiteX1" fmla="*/ 6111 w 45960"/>
                <a:gd name="connsiteY1" fmla="*/ 67183 h 68580"/>
                <a:gd name="connsiteX2" fmla="*/ 1655 w 45960"/>
                <a:gd name="connsiteY2" fmla="*/ 63373 h 68580"/>
                <a:gd name="connsiteX3" fmla="*/ 0 w 45960"/>
                <a:gd name="connsiteY3" fmla="*/ 57404 h 68580"/>
                <a:gd name="connsiteX4" fmla="*/ 2164 w 45960"/>
                <a:gd name="connsiteY4" fmla="*/ 51054 h 68580"/>
                <a:gd name="connsiteX5" fmla="*/ 7257 w 45960"/>
                <a:gd name="connsiteY5" fmla="*/ 47371 h 68580"/>
                <a:gd name="connsiteX6" fmla="*/ 3947 w 45960"/>
                <a:gd name="connsiteY6" fmla="*/ 44450 h 68580"/>
                <a:gd name="connsiteX7" fmla="*/ 2673 w 45960"/>
                <a:gd name="connsiteY7" fmla="*/ 40386 h 68580"/>
                <a:gd name="connsiteX8" fmla="*/ 4838 w 45960"/>
                <a:gd name="connsiteY8" fmla="*/ 35306 h 68580"/>
                <a:gd name="connsiteX9" fmla="*/ 10185 w 45960"/>
                <a:gd name="connsiteY9" fmla="*/ 32512 h 68580"/>
                <a:gd name="connsiteX10" fmla="*/ 5602 w 45960"/>
                <a:gd name="connsiteY10" fmla="*/ 27686 h 68580"/>
                <a:gd name="connsiteX11" fmla="*/ 3947 w 45960"/>
                <a:gd name="connsiteY11" fmla="*/ 21082 h 68580"/>
                <a:gd name="connsiteX12" fmla="*/ 5984 w 45960"/>
                <a:gd name="connsiteY12" fmla="*/ 13462 h 68580"/>
                <a:gd name="connsiteX13" fmla="*/ 12222 w 45960"/>
                <a:gd name="connsiteY13" fmla="*/ 8255 h 68580"/>
                <a:gd name="connsiteX14" fmla="*/ 22407 w 45960"/>
                <a:gd name="connsiteY14" fmla="*/ 6350 h 68580"/>
                <a:gd name="connsiteX15" fmla="*/ 27627 w 45960"/>
                <a:gd name="connsiteY15" fmla="*/ 6731 h 68580"/>
                <a:gd name="connsiteX16" fmla="*/ 31956 w 45960"/>
                <a:gd name="connsiteY16" fmla="*/ 8001 h 68580"/>
                <a:gd name="connsiteX17" fmla="*/ 36539 w 45960"/>
                <a:gd name="connsiteY17" fmla="*/ 4445 h 68580"/>
                <a:gd name="connsiteX18" fmla="*/ 38449 w 45960"/>
                <a:gd name="connsiteY18" fmla="*/ 0 h 68580"/>
                <a:gd name="connsiteX19" fmla="*/ 45960 w 45960"/>
                <a:gd name="connsiteY19" fmla="*/ 0 h 68580"/>
                <a:gd name="connsiteX20" fmla="*/ 44815 w 45960"/>
                <a:gd name="connsiteY20" fmla="*/ 4826 h 68580"/>
                <a:gd name="connsiteX21" fmla="*/ 41632 w 45960"/>
                <a:gd name="connsiteY21" fmla="*/ 8636 h 68580"/>
                <a:gd name="connsiteX22" fmla="*/ 36794 w 45960"/>
                <a:gd name="connsiteY22" fmla="*/ 10668 h 68580"/>
                <a:gd name="connsiteX23" fmla="*/ 39977 w 45960"/>
                <a:gd name="connsiteY23" fmla="*/ 15367 h 68580"/>
                <a:gd name="connsiteX24" fmla="*/ 40995 w 45960"/>
                <a:gd name="connsiteY24" fmla="*/ 20955 h 68580"/>
                <a:gd name="connsiteX25" fmla="*/ 38958 w 45960"/>
                <a:gd name="connsiteY25" fmla="*/ 28575 h 68580"/>
                <a:gd name="connsiteX26" fmla="*/ 32847 w 45960"/>
                <a:gd name="connsiteY26" fmla="*/ 33782 h 68580"/>
                <a:gd name="connsiteX27" fmla="*/ 22662 w 45960"/>
                <a:gd name="connsiteY27" fmla="*/ 35687 h 68580"/>
                <a:gd name="connsiteX28" fmla="*/ 15532 w 45960"/>
                <a:gd name="connsiteY28" fmla="*/ 35687 h 68580"/>
                <a:gd name="connsiteX29" fmla="*/ 11713 w 45960"/>
                <a:gd name="connsiteY29" fmla="*/ 36576 h 68580"/>
                <a:gd name="connsiteX30" fmla="*/ 10185 w 45960"/>
                <a:gd name="connsiteY30" fmla="*/ 39497 h 68580"/>
                <a:gd name="connsiteX31" fmla="*/ 11713 w 45960"/>
                <a:gd name="connsiteY31" fmla="*/ 42291 h 68580"/>
                <a:gd name="connsiteX32" fmla="*/ 15532 w 45960"/>
                <a:gd name="connsiteY32" fmla="*/ 43307 h 68580"/>
                <a:gd name="connsiteX33" fmla="*/ 33993 w 45960"/>
                <a:gd name="connsiteY33" fmla="*/ 43307 h 68580"/>
                <a:gd name="connsiteX34" fmla="*/ 42141 w 45960"/>
                <a:gd name="connsiteY34" fmla="*/ 46609 h 68580"/>
                <a:gd name="connsiteX35" fmla="*/ 45324 w 45960"/>
                <a:gd name="connsiteY35" fmla="*/ 55118 h 68580"/>
                <a:gd name="connsiteX36" fmla="*/ 43414 w 45960"/>
                <a:gd name="connsiteY36" fmla="*/ 61849 h 68580"/>
                <a:gd name="connsiteX37" fmla="*/ 38194 w 45960"/>
                <a:gd name="connsiteY37" fmla="*/ 66548 h 68580"/>
                <a:gd name="connsiteX38" fmla="*/ 30428 w 45960"/>
                <a:gd name="connsiteY38" fmla="*/ 68326 h 68580"/>
                <a:gd name="connsiteX39" fmla="*/ 11840 w 45960"/>
                <a:gd name="connsiteY39" fmla="*/ 68326 h 68580"/>
                <a:gd name="connsiteX40" fmla="*/ 14386 w 45960"/>
                <a:gd name="connsiteY40" fmla="*/ 62738 h 68580"/>
                <a:gd name="connsiteX41" fmla="*/ 30682 w 45960"/>
                <a:gd name="connsiteY41" fmla="*/ 62738 h 68580"/>
                <a:gd name="connsiteX42" fmla="*/ 34375 w 45960"/>
                <a:gd name="connsiteY42" fmla="*/ 61976 h 68580"/>
                <a:gd name="connsiteX43" fmla="*/ 36921 w 45960"/>
                <a:gd name="connsiteY43" fmla="*/ 59690 h 68580"/>
                <a:gd name="connsiteX44" fmla="*/ 37812 w 45960"/>
                <a:gd name="connsiteY44" fmla="*/ 56515 h 68580"/>
                <a:gd name="connsiteX45" fmla="*/ 36030 w 45960"/>
                <a:gd name="connsiteY45" fmla="*/ 51816 h 68580"/>
                <a:gd name="connsiteX46" fmla="*/ 31701 w 45960"/>
                <a:gd name="connsiteY46" fmla="*/ 50038 h 68580"/>
                <a:gd name="connsiteX47" fmla="*/ 14259 w 45960"/>
                <a:gd name="connsiteY47" fmla="*/ 50038 h 68580"/>
                <a:gd name="connsiteX48" fmla="*/ 9549 w 45960"/>
                <a:gd name="connsiteY48" fmla="*/ 51943 h 68580"/>
                <a:gd name="connsiteX49" fmla="*/ 7639 w 45960"/>
                <a:gd name="connsiteY49" fmla="*/ 56515 h 68580"/>
                <a:gd name="connsiteX50" fmla="*/ 9549 w 45960"/>
                <a:gd name="connsiteY50" fmla="*/ 61087 h 68580"/>
                <a:gd name="connsiteX51" fmla="*/ 14259 w 45960"/>
                <a:gd name="connsiteY51" fmla="*/ 62865 h 68580"/>
                <a:gd name="connsiteX52" fmla="*/ 22662 w 45960"/>
                <a:gd name="connsiteY52" fmla="*/ 30226 h 68580"/>
                <a:gd name="connsiteX53" fmla="*/ 30810 w 45960"/>
                <a:gd name="connsiteY53" fmla="*/ 27813 h 68580"/>
                <a:gd name="connsiteX54" fmla="*/ 33483 w 45960"/>
                <a:gd name="connsiteY54" fmla="*/ 21209 h 68580"/>
                <a:gd name="connsiteX55" fmla="*/ 30810 w 45960"/>
                <a:gd name="connsiteY55" fmla="*/ 14605 h 68580"/>
                <a:gd name="connsiteX56" fmla="*/ 22662 w 45960"/>
                <a:gd name="connsiteY56" fmla="*/ 12192 h 68580"/>
                <a:gd name="connsiteX57" fmla="*/ 14386 w 45960"/>
                <a:gd name="connsiteY57" fmla="*/ 14605 h 68580"/>
                <a:gd name="connsiteX58" fmla="*/ 11713 w 45960"/>
                <a:gd name="connsiteY58" fmla="*/ 21209 h 68580"/>
                <a:gd name="connsiteX59" fmla="*/ 12986 w 45960"/>
                <a:gd name="connsiteY59" fmla="*/ 25908 h 68580"/>
                <a:gd name="connsiteX60" fmla="*/ 16678 w 45960"/>
                <a:gd name="connsiteY60" fmla="*/ 29083 h 68580"/>
                <a:gd name="connsiteX61" fmla="*/ 22789 w 45960"/>
                <a:gd name="connsiteY61" fmla="*/ 30226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80">
                  <a:moveTo>
                    <a:pt x="12222" y="68580"/>
                  </a:moveTo>
                  <a:cubicBezTo>
                    <a:pt x="10058" y="68580"/>
                    <a:pt x="8020"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0" y="6350"/>
                    <a:pt x="22407" y="6350"/>
                  </a:cubicBezTo>
                  <a:cubicBezTo>
                    <a:pt x="24190" y="6350"/>
                    <a:pt x="25972" y="6477"/>
                    <a:pt x="27627" y="6731"/>
                  </a:cubicBezTo>
                  <a:cubicBezTo>
                    <a:pt x="29282" y="6985"/>
                    <a:pt x="30682" y="7366"/>
                    <a:pt x="31956" y="8001"/>
                  </a:cubicBezTo>
                  <a:cubicBezTo>
                    <a:pt x="33993" y="7112"/>
                    <a:pt x="35520" y="5842"/>
                    <a:pt x="36539" y="4445"/>
                  </a:cubicBezTo>
                  <a:cubicBezTo>
                    <a:pt x="37558" y="3048"/>
                    <a:pt x="38194" y="1524"/>
                    <a:pt x="38449" y="0"/>
                  </a:cubicBezTo>
                  <a:lnTo>
                    <a:pt x="45960" y="0"/>
                  </a:lnTo>
                  <a:cubicBezTo>
                    <a:pt x="45960" y="1778"/>
                    <a:pt x="45578" y="3302"/>
                    <a:pt x="44815" y="4826"/>
                  </a:cubicBezTo>
                  <a:cubicBezTo>
                    <a:pt x="44051" y="6350"/>
                    <a:pt x="43032" y="7620"/>
                    <a:pt x="41632" y="8636"/>
                  </a:cubicBezTo>
                  <a:cubicBezTo>
                    <a:pt x="40358" y="9652"/>
                    <a:pt x="38703" y="10287"/>
                    <a:pt x="36794" y="10668"/>
                  </a:cubicBezTo>
                  <a:cubicBezTo>
                    <a:pt x="38194" y="12065"/>
                    <a:pt x="39340" y="13589"/>
                    <a:pt x="39977" y="15367"/>
                  </a:cubicBezTo>
                  <a:cubicBezTo>
                    <a:pt x="40740" y="17145"/>
                    <a:pt x="40995" y="18923"/>
                    <a:pt x="40995" y="20955"/>
                  </a:cubicBezTo>
                  <a:cubicBezTo>
                    <a:pt x="40995" y="23876"/>
                    <a:pt x="40358" y="26416"/>
                    <a:pt x="38958" y="28575"/>
                  </a:cubicBezTo>
                  <a:cubicBezTo>
                    <a:pt x="37558" y="30734"/>
                    <a:pt x="35520"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738"/>
                  </a:moveTo>
                  <a:lnTo>
                    <a:pt x="30682" y="62738"/>
                  </a:lnTo>
                  <a:cubicBezTo>
                    <a:pt x="31956" y="62738"/>
                    <a:pt x="33229" y="62484"/>
                    <a:pt x="34375" y="61976"/>
                  </a:cubicBezTo>
                  <a:cubicBezTo>
                    <a:pt x="35520" y="61468"/>
                    <a:pt x="36284" y="60706"/>
                    <a:pt x="36921" y="59690"/>
                  </a:cubicBezTo>
                  <a:cubicBezTo>
                    <a:pt x="37558" y="58674"/>
                    <a:pt x="37812" y="57658"/>
                    <a:pt x="37812" y="56515"/>
                  </a:cubicBezTo>
                  <a:cubicBezTo>
                    <a:pt x="37812" y="54610"/>
                    <a:pt x="37176" y="52959"/>
                    <a:pt x="36030" y="51816"/>
                  </a:cubicBezTo>
                  <a:cubicBezTo>
                    <a:pt x="34884" y="50673"/>
                    <a:pt x="33483" y="50038"/>
                    <a:pt x="31701" y="50038"/>
                  </a:cubicBezTo>
                  <a:lnTo>
                    <a:pt x="14259" y="50038"/>
                  </a:lnTo>
                  <a:cubicBezTo>
                    <a:pt x="12477" y="50038"/>
                    <a:pt x="10821" y="50673"/>
                    <a:pt x="9549" y="51943"/>
                  </a:cubicBezTo>
                  <a:cubicBezTo>
                    <a:pt x="8275" y="53213"/>
                    <a:pt x="7639" y="54737"/>
                    <a:pt x="7639" y="56515"/>
                  </a:cubicBezTo>
                  <a:cubicBezTo>
                    <a:pt x="7639" y="58420"/>
                    <a:pt x="8275" y="59944"/>
                    <a:pt x="9549" y="61087"/>
                  </a:cubicBezTo>
                  <a:cubicBezTo>
                    <a:pt x="10821" y="62230"/>
                    <a:pt x="12350" y="62865"/>
                    <a:pt x="14259" y="62865"/>
                  </a:cubicBezTo>
                  <a:close/>
                  <a:moveTo>
                    <a:pt x="22662" y="30226"/>
                  </a:moveTo>
                  <a:cubicBezTo>
                    <a:pt x="26354" y="30226"/>
                    <a:pt x="29028" y="29464"/>
                    <a:pt x="30810" y="27813"/>
                  </a:cubicBezTo>
                  <a:cubicBezTo>
                    <a:pt x="32592" y="26162"/>
                    <a:pt x="33483" y="24003"/>
                    <a:pt x="33483" y="21209"/>
                  </a:cubicBezTo>
                  <a:cubicBezTo>
                    <a:pt x="33483"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403" name="Freeform 402">
              <a:extLst>
                <a:ext uri="{FF2B5EF4-FFF2-40B4-BE49-F238E27FC236}">
                  <a16:creationId xmlns:a16="http://schemas.microsoft.com/office/drawing/2014/main" id="{C007ECA8-AFBC-3766-B28F-E35A9AB05652}"/>
                </a:ext>
              </a:extLst>
            </p:cNvPr>
            <p:cNvSpPr/>
            <p:nvPr/>
          </p:nvSpPr>
          <p:spPr>
            <a:xfrm>
              <a:off x="3321518" y="1600961"/>
              <a:ext cx="41122" cy="61086"/>
            </a:xfrm>
            <a:custGeom>
              <a:avLst/>
              <a:gdLst>
                <a:gd name="connsiteX0" fmla="*/ 8657 w 41122"/>
                <a:gd name="connsiteY0" fmla="*/ 60960 h 61086"/>
                <a:gd name="connsiteX1" fmla="*/ 5092 w 41122"/>
                <a:gd name="connsiteY1" fmla="*/ 60706 h 61086"/>
                <a:gd name="connsiteX2" fmla="*/ 3055 w 41122"/>
                <a:gd name="connsiteY2" fmla="*/ 60325 h 61086"/>
                <a:gd name="connsiteX3" fmla="*/ 3055 w 41122"/>
                <a:gd name="connsiteY3" fmla="*/ 54864 h 61086"/>
                <a:gd name="connsiteX4" fmla="*/ 6875 w 41122"/>
                <a:gd name="connsiteY4" fmla="*/ 54864 h 61086"/>
                <a:gd name="connsiteX5" fmla="*/ 10949 w 41122"/>
                <a:gd name="connsiteY5" fmla="*/ 53975 h 61086"/>
                <a:gd name="connsiteX6" fmla="*/ 14641 w 41122"/>
                <a:gd name="connsiteY6" fmla="*/ 51054 h 61086"/>
                <a:gd name="connsiteX7" fmla="*/ 17569 w 41122"/>
                <a:gd name="connsiteY7" fmla="*/ 45339 h 61086"/>
                <a:gd name="connsiteX8" fmla="*/ 0 w 41122"/>
                <a:gd name="connsiteY8" fmla="*/ 0 h 61086"/>
                <a:gd name="connsiteX9" fmla="*/ 7893 w 41122"/>
                <a:gd name="connsiteY9" fmla="*/ 0 h 61086"/>
                <a:gd name="connsiteX10" fmla="*/ 16933 w 41122"/>
                <a:gd name="connsiteY10" fmla="*/ 23368 h 61086"/>
                <a:gd name="connsiteX11" fmla="*/ 18333 w 41122"/>
                <a:gd name="connsiteY11" fmla="*/ 27432 h 61086"/>
                <a:gd name="connsiteX12" fmla="*/ 19988 w 41122"/>
                <a:gd name="connsiteY12" fmla="*/ 32258 h 61086"/>
                <a:gd name="connsiteX13" fmla="*/ 21389 w 41122"/>
                <a:gd name="connsiteY13" fmla="*/ 36703 h 61086"/>
                <a:gd name="connsiteX14" fmla="*/ 21898 w 41122"/>
                <a:gd name="connsiteY14" fmla="*/ 36703 h 61086"/>
                <a:gd name="connsiteX15" fmla="*/ 22789 w 41122"/>
                <a:gd name="connsiteY15" fmla="*/ 33655 h 61086"/>
                <a:gd name="connsiteX16" fmla="*/ 23808 w 41122"/>
                <a:gd name="connsiteY16" fmla="*/ 30099 h 61086"/>
                <a:gd name="connsiteX17" fmla="*/ 24954 w 41122"/>
                <a:gd name="connsiteY17" fmla="*/ 26543 h 61086"/>
                <a:gd name="connsiteX18" fmla="*/ 25845 w 41122"/>
                <a:gd name="connsiteY18" fmla="*/ 23622 h 61086"/>
                <a:gd name="connsiteX19" fmla="*/ 33484 w 41122"/>
                <a:gd name="connsiteY19" fmla="*/ 127 h 61086"/>
                <a:gd name="connsiteX20" fmla="*/ 41123 w 41122"/>
                <a:gd name="connsiteY20" fmla="*/ 127 h 61086"/>
                <a:gd name="connsiteX21" fmla="*/ 25717 w 41122"/>
                <a:gd name="connsiteY21" fmla="*/ 44196 h 61086"/>
                <a:gd name="connsiteX22" fmla="*/ 22916 w 41122"/>
                <a:gd name="connsiteY22" fmla="*/ 51054 h 61086"/>
                <a:gd name="connsiteX23" fmla="*/ 19479 w 41122"/>
                <a:gd name="connsiteY23" fmla="*/ 56388 h 61086"/>
                <a:gd name="connsiteX24" fmla="*/ 14896 w 41122"/>
                <a:gd name="connsiteY24" fmla="*/ 59817 h 61086"/>
                <a:gd name="connsiteX25" fmla="*/ 8530 w 41122"/>
                <a:gd name="connsiteY25" fmla="*/ 61087 h 6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122" h="61086">
                  <a:moveTo>
                    <a:pt x="8657" y="60960"/>
                  </a:moveTo>
                  <a:cubicBezTo>
                    <a:pt x="7257" y="60960"/>
                    <a:pt x="6111" y="60960"/>
                    <a:pt x="5092" y="60706"/>
                  </a:cubicBezTo>
                  <a:cubicBezTo>
                    <a:pt x="4074" y="60452"/>
                    <a:pt x="3437" y="60325"/>
                    <a:pt x="3055" y="60325"/>
                  </a:cubicBezTo>
                  <a:lnTo>
                    <a:pt x="3055" y="54864"/>
                  </a:lnTo>
                  <a:lnTo>
                    <a:pt x="6875" y="54864"/>
                  </a:lnTo>
                  <a:cubicBezTo>
                    <a:pt x="8275" y="54864"/>
                    <a:pt x="9549" y="54610"/>
                    <a:pt x="10949" y="53975"/>
                  </a:cubicBezTo>
                  <a:cubicBezTo>
                    <a:pt x="12222" y="53340"/>
                    <a:pt x="13495" y="52451"/>
                    <a:pt x="14641" y="51054"/>
                  </a:cubicBezTo>
                  <a:cubicBezTo>
                    <a:pt x="15787" y="49657"/>
                    <a:pt x="16806" y="47752"/>
                    <a:pt x="17569" y="45339"/>
                  </a:cubicBezTo>
                  <a:lnTo>
                    <a:pt x="0" y="0"/>
                  </a:lnTo>
                  <a:lnTo>
                    <a:pt x="7893" y="0"/>
                  </a:lnTo>
                  <a:lnTo>
                    <a:pt x="16933" y="23368"/>
                  </a:lnTo>
                  <a:cubicBezTo>
                    <a:pt x="17315" y="24511"/>
                    <a:pt x="17824" y="25781"/>
                    <a:pt x="18333" y="27432"/>
                  </a:cubicBezTo>
                  <a:cubicBezTo>
                    <a:pt x="18843" y="28956"/>
                    <a:pt x="19479" y="30607"/>
                    <a:pt x="19988" y="32258"/>
                  </a:cubicBezTo>
                  <a:cubicBezTo>
                    <a:pt x="20498" y="33909"/>
                    <a:pt x="21007" y="35433"/>
                    <a:pt x="21389" y="36703"/>
                  </a:cubicBezTo>
                  <a:lnTo>
                    <a:pt x="21898" y="36703"/>
                  </a:lnTo>
                  <a:cubicBezTo>
                    <a:pt x="22153" y="35814"/>
                    <a:pt x="22407" y="34798"/>
                    <a:pt x="22789" y="33655"/>
                  </a:cubicBezTo>
                  <a:cubicBezTo>
                    <a:pt x="23171" y="32512"/>
                    <a:pt x="23553" y="31369"/>
                    <a:pt x="23808" y="30099"/>
                  </a:cubicBezTo>
                  <a:cubicBezTo>
                    <a:pt x="24190" y="28829"/>
                    <a:pt x="24572" y="27686"/>
                    <a:pt x="24954" y="26543"/>
                  </a:cubicBezTo>
                  <a:cubicBezTo>
                    <a:pt x="25335" y="25400"/>
                    <a:pt x="25590" y="24384"/>
                    <a:pt x="25845" y="23622"/>
                  </a:cubicBezTo>
                  <a:lnTo>
                    <a:pt x="33484" y="127"/>
                  </a:lnTo>
                  <a:lnTo>
                    <a:pt x="41123" y="127"/>
                  </a:lnTo>
                  <a:lnTo>
                    <a:pt x="25717" y="44196"/>
                  </a:lnTo>
                  <a:cubicBezTo>
                    <a:pt x="24826" y="46609"/>
                    <a:pt x="23935" y="48895"/>
                    <a:pt x="22916" y="51054"/>
                  </a:cubicBezTo>
                  <a:cubicBezTo>
                    <a:pt x="21898" y="53213"/>
                    <a:pt x="20752" y="54991"/>
                    <a:pt x="19479" y="56388"/>
                  </a:cubicBezTo>
                  <a:cubicBezTo>
                    <a:pt x="18206" y="57912"/>
                    <a:pt x="16678" y="59055"/>
                    <a:pt x="14896" y="59817"/>
                  </a:cubicBezTo>
                  <a:cubicBezTo>
                    <a:pt x="13113" y="60706"/>
                    <a:pt x="10949" y="61087"/>
                    <a:pt x="8530" y="61087"/>
                  </a:cubicBezTo>
                  <a:close/>
                </a:path>
              </a:pathLst>
            </a:custGeom>
            <a:solidFill>
              <a:srgbClr val="1D4966"/>
            </a:solidFill>
            <a:ln w="0" cap="flat">
              <a:noFill/>
              <a:prstDash val="solid"/>
              <a:miter/>
            </a:ln>
          </p:spPr>
          <p:txBody>
            <a:bodyPr rtlCol="0" anchor="ctr"/>
            <a:lstStyle/>
            <a:p>
              <a:endParaRPr lang="en-AD" sz="2400"/>
            </a:p>
          </p:txBody>
        </p:sp>
        <p:sp>
          <p:nvSpPr>
            <p:cNvPr id="404" name="Freeform 403">
              <a:extLst>
                <a:ext uri="{FF2B5EF4-FFF2-40B4-BE49-F238E27FC236}">
                  <a16:creationId xmlns:a16="http://schemas.microsoft.com/office/drawing/2014/main" id="{DA9231CA-F367-22AA-85D7-17EF21812B9A}"/>
                </a:ext>
              </a:extLst>
            </p:cNvPr>
            <p:cNvSpPr/>
            <p:nvPr/>
          </p:nvSpPr>
          <p:spPr>
            <a:xfrm>
              <a:off x="3389886" y="1586991"/>
              <a:ext cx="51307" cy="59181"/>
            </a:xfrm>
            <a:custGeom>
              <a:avLst/>
              <a:gdLst>
                <a:gd name="connsiteX0" fmla="*/ 0 w 51307"/>
                <a:gd name="connsiteY0" fmla="*/ 59182 h 59181"/>
                <a:gd name="connsiteX1" fmla="*/ 0 w 51307"/>
                <a:gd name="connsiteY1" fmla="*/ 0 h 59181"/>
                <a:gd name="connsiteX2" fmla="*/ 31192 w 51307"/>
                <a:gd name="connsiteY2" fmla="*/ 0 h 59181"/>
                <a:gd name="connsiteX3" fmla="*/ 41250 w 51307"/>
                <a:gd name="connsiteY3" fmla="*/ 2159 h 59181"/>
                <a:gd name="connsiteX4" fmla="*/ 47234 w 51307"/>
                <a:gd name="connsiteY4" fmla="*/ 8255 h 59181"/>
                <a:gd name="connsiteX5" fmla="*/ 49271 w 51307"/>
                <a:gd name="connsiteY5" fmla="*/ 17272 h 59181"/>
                <a:gd name="connsiteX6" fmla="*/ 46470 w 51307"/>
                <a:gd name="connsiteY6" fmla="*/ 27813 h 59181"/>
                <a:gd name="connsiteX7" fmla="*/ 38831 w 51307"/>
                <a:gd name="connsiteY7" fmla="*/ 34163 h 59181"/>
                <a:gd name="connsiteX8" fmla="*/ 51308 w 51307"/>
                <a:gd name="connsiteY8" fmla="*/ 59182 h 59181"/>
                <a:gd name="connsiteX9" fmla="*/ 42268 w 51307"/>
                <a:gd name="connsiteY9" fmla="*/ 59182 h 59181"/>
                <a:gd name="connsiteX10" fmla="*/ 30683 w 51307"/>
                <a:gd name="connsiteY10" fmla="*/ 35687 h 59181"/>
                <a:gd name="connsiteX11" fmla="*/ 8148 w 51307"/>
                <a:gd name="connsiteY11" fmla="*/ 35687 h 59181"/>
                <a:gd name="connsiteX12" fmla="*/ 8148 w 51307"/>
                <a:gd name="connsiteY12" fmla="*/ 59182 h 59181"/>
                <a:gd name="connsiteX13" fmla="*/ 0 w 51307"/>
                <a:gd name="connsiteY13" fmla="*/ 59182 h 59181"/>
                <a:gd name="connsiteX14" fmla="*/ 8148 w 51307"/>
                <a:gd name="connsiteY14" fmla="*/ 28702 h 59181"/>
                <a:gd name="connsiteX15" fmla="*/ 30301 w 51307"/>
                <a:gd name="connsiteY15" fmla="*/ 28702 h 59181"/>
                <a:gd name="connsiteX16" fmla="*/ 38067 w 51307"/>
                <a:gd name="connsiteY16" fmla="*/ 25654 h 59181"/>
                <a:gd name="connsiteX17" fmla="*/ 40868 w 51307"/>
                <a:gd name="connsiteY17" fmla="*/ 17399 h 59181"/>
                <a:gd name="connsiteX18" fmla="*/ 39595 w 51307"/>
                <a:gd name="connsiteY18" fmla="*/ 11938 h 59181"/>
                <a:gd name="connsiteX19" fmla="*/ 36030 w 51307"/>
                <a:gd name="connsiteY19" fmla="*/ 8509 h 59181"/>
                <a:gd name="connsiteX20" fmla="*/ 30301 w 51307"/>
                <a:gd name="connsiteY20" fmla="*/ 7239 h 59181"/>
                <a:gd name="connsiteX21" fmla="*/ 8148 w 51307"/>
                <a:gd name="connsiteY21" fmla="*/ 7239 h 59181"/>
                <a:gd name="connsiteX22" fmla="*/ 8148 w 51307"/>
                <a:gd name="connsiteY22" fmla="*/ 28829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07" h="59181">
                  <a:moveTo>
                    <a:pt x="0" y="59182"/>
                  </a:moveTo>
                  <a:lnTo>
                    <a:pt x="0" y="0"/>
                  </a:lnTo>
                  <a:lnTo>
                    <a:pt x="31192" y="0"/>
                  </a:lnTo>
                  <a:cubicBezTo>
                    <a:pt x="35266" y="0"/>
                    <a:pt x="38576" y="762"/>
                    <a:pt x="41250" y="2159"/>
                  </a:cubicBezTo>
                  <a:cubicBezTo>
                    <a:pt x="43924" y="3556"/>
                    <a:pt x="45961" y="5715"/>
                    <a:pt x="47234" y="8255"/>
                  </a:cubicBezTo>
                  <a:cubicBezTo>
                    <a:pt x="48507" y="10922"/>
                    <a:pt x="49271" y="13843"/>
                    <a:pt x="49271" y="17272"/>
                  </a:cubicBezTo>
                  <a:cubicBezTo>
                    <a:pt x="49271" y="21336"/>
                    <a:pt x="48380" y="24892"/>
                    <a:pt x="46470" y="27813"/>
                  </a:cubicBezTo>
                  <a:cubicBezTo>
                    <a:pt x="44687" y="30734"/>
                    <a:pt x="42141" y="32893"/>
                    <a:pt x="38831" y="34163"/>
                  </a:cubicBezTo>
                  <a:lnTo>
                    <a:pt x="51308" y="59182"/>
                  </a:lnTo>
                  <a:lnTo>
                    <a:pt x="42268" y="59182"/>
                  </a:lnTo>
                  <a:lnTo>
                    <a:pt x="30683" y="35687"/>
                  </a:lnTo>
                  <a:lnTo>
                    <a:pt x="8148" y="35687"/>
                  </a:lnTo>
                  <a:lnTo>
                    <a:pt x="8148" y="59182"/>
                  </a:lnTo>
                  <a:lnTo>
                    <a:pt x="0" y="59182"/>
                  </a:lnTo>
                  <a:close/>
                  <a:moveTo>
                    <a:pt x="8148" y="28702"/>
                  </a:moveTo>
                  <a:lnTo>
                    <a:pt x="30301" y="28702"/>
                  </a:lnTo>
                  <a:cubicBezTo>
                    <a:pt x="33611" y="28702"/>
                    <a:pt x="36157" y="27686"/>
                    <a:pt x="38067" y="25654"/>
                  </a:cubicBezTo>
                  <a:cubicBezTo>
                    <a:pt x="39977" y="23622"/>
                    <a:pt x="40868" y="20828"/>
                    <a:pt x="40868" y="17399"/>
                  </a:cubicBezTo>
                  <a:cubicBezTo>
                    <a:pt x="40868" y="15240"/>
                    <a:pt x="40486" y="13335"/>
                    <a:pt x="39595" y="11938"/>
                  </a:cubicBezTo>
                  <a:cubicBezTo>
                    <a:pt x="38831" y="10414"/>
                    <a:pt x="37558" y="9271"/>
                    <a:pt x="36030" y="8509"/>
                  </a:cubicBezTo>
                  <a:cubicBezTo>
                    <a:pt x="34502" y="7620"/>
                    <a:pt x="32592" y="7239"/>
                    <a:pt x="30301" y="7239"/>
                  </a:cubicBezTo>
                  <a:lnTo>
                    <a:pt x="8148" y="7239"/>
                  </a:lnTo>
                  <a:lnTo>
                    <a:pt x="8148" y="28829"/>
                  </a:lnTo>
                  <a:close/>
                </a:path>
              </a:pathLst>
            </a:custGeom>
            <a:solidFill>
              <a:srgbClr val="1D4966"/>
            </a:solidFill>
            <a:ln w="0" cap="flat">
              <a:noFill/>
              <a:prstDash val="solid"/>
              <a:miter/>
            </a:ln>
          </p:spPr>
          <p:txBody>
            <a:bodyPr rtlCol="0" anchor="ctr"/>
            <a:lstStyle/>
            <a:p>
              <a:endParaRPr lang="en-AD" sz="2400"/>
            </a:p>
          </p:txBody>
        </p:sp>
        <p:sp>
          <p:nvSpPr>
            <p:cNvPr id="405" name="Freeform 404">
              <a:extLst>
                <a:ext uri="{FF2B5EF4-FFF2-40B4-BE49-F238E27FC236}">
                  <a16:creationId xmlns:a16="http://schemas.microsoft.com/office/drawing/2014/main" id="{AC87C393-4A0B-F608-0D7A-D185C29593AB}"/>
                </a:ext>
              </a:extLst>
            </p:cNvPr>
            <p:cNvSpPr/>
            <p:nvPr/>
          </p:nvSpPr>
          <p:spPr>
            <a:xfrm>
              <a:off x="3447304"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79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5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4"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8" y="41275"/>
                    <a:pt x="20879"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8"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406" name="Freeform 405">
              <a:extLst>
                <a:ext uri="{FF2B5EF4-FFF2-40B4-BE49-F238E27FC236}">
                  <a16:creationId xmlns:a16="http://schemas.microsoft.com/office/drawing/2014/main" id="{FE684C9D-AE70-7B30-CEAE-D3B880C2F15F}"/>
                </a:ext>
              </a:extLst>
            </p:cNvPr>
            <p:cNvSpPr/>
            <p:nvPr/>
          </p:nvSpPr>
          <p:spPr>
            <a:xfrm>
              <a:off x="3493774" y="1599946"/>
              <a:ext cx="37557" cy="47624"/>
            </a:xfrm>
            <a:custGeom>
              <a:avLst/>
              <a:gdLst>
                <a:gd name="connsiteX0" fmla="*/ 18843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3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3" y="47244"/>
                  </a:moveTo>
                  <a:cubicBezTo>
                    <a:pt x="15787" y="47244"/>
                    <a:pt x="12986" y="46990"/>
                    <a:pt x="10694" y="46355"/>
                  </a:cubicBezTo>
                  <a:cubicBezTo>
                    <a:pt x="8275" y="45720"/>
                    <a:pt x="6366" y="44831"/>
                    <a:pt x="4838" y="43561"/>
                  </a:cubicBezTo>
                  <a:cubicBezTo>
                    <a:pt x="3310" y="42291"/>
                    <a:pt x="2165"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2"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3" y="18034"/>
                  </a:cubicBezTo>
                  <a:cubicBezTo>
                    <a:pt x="1783" y="16510"/>
                    <a:pt x="1273" y="14732"/>
                    <a:pt x="1273" y="12446"/>
                  </a:cubicBezTo>
                  <a:cubicBezTo>
                    <a:pt x="1273" y="10414"/>
                    <a:pt x="1655" y="8636"/>
                    <a:pt x="2546" y="7112"/>
                  </a:cubicBezTo>
                  <a:cubicBezTo>
                    <a:pt x="3437" y="5588"/>
                    <a:pt x="4584" y="4191"/>
                    <a:pt x="6111" y="3175"/>
                  </a:cubicBezTo>
                  <a:cubicBezTo>
                    <a:pt x="7639" y="2032"/>
                    <a:pt x="9549" y="1270"/>
                    <a:pt x="11713" y="762"/>
                  </a:cubicBezTo>
                  <a:cubicBezTo>
                    <a:pt x="13877" y="254"/>
                    <a:pt x="16424" y="0"/>
                    <a:pt x="19097" y="0"/>
                  </a:cubicBezTo>
                  <a:cubicBezTo>
                    <a:pt x="22026" y="0"/>
                    <a:pt x="24445"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6"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407" name="Freeform 406">
              <a:extLst>
                <a:ext uri="{FF2B5EF4-FFF2-40B4-BE49-F238E27FC236}">
                  <a16:creationId xmlns:a16="http://schemas.microsoft.com/office/drawing/2014/main" id="{45CC9007-F797-24B4-33C2-5719FC70E74B}"/>
                </a:ext>
              </a:extLst>
            </p:cNvPr>
            <p:cNvSpPr/>
            <p:nvPr/>
          </p:nvSpPr>
          <p:spPr>
            <a:xfrm>
              <a:off x="3537443" y="1599819"/>
              <a:ext cx="40486" cy="47370"/>
            </a:xfrm>
            <a:custGeom>
              <a:avLst/>
              <a:gdLst>
                <a:gd name="connsiteX0" fmla="*/ 20752 w 40486"/>
                <a:gd name="connsiteY0" fmla="*/ 47371 h 47370"/>
                <a:gd name="connsiteX1" fmla="*/ 9422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2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2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1 w 40486"/>
                <a:gd name="connsiteY22" fmla="*/ 46101 h 47370"/>
                <a:gd name="connsiteX23" fmla="*/ 20625 w 40486"/>
                <a:gd name="connsiteY23" fmla="*/ 47371 h 47370"/>
                <a:gd name="connsiteX24" fmla="*/ 8148 w 40486"/>
                <a:gd name="connsiteY24" fmla="*/ 19939 h 47370"/>
                <a:gd name="connsiteX25" fmla="*/ 32720 w 40486"/>
                <a:gd name="connsiteY25" fmla="*/ 19939 h 47370"/>
                <a:gd name="connsiteX26" fmla="*/ 31829 w 40486"/>
                <a:gd name="connsiteY26" fmla="*/ 13589 h 47370"/>
                <a:gd name="connsiteX27" fmla="*/ 29410 w 40486"/>
                <a:gd name="connsiteY27" fmla="*/ 9398 h 47370"/>
                <a:gd name="connsiteX28" fmla="*/ 25718 w 40486"/>
                <a:gd name="connsiteY28" fmla="*/ 6985 h 47370"/>
                <a:gd name="connsiteX29" fmla="*/ 20880 w 40486"/>
                <a:gd name="connsiteY29" fmla="*/ 6223 h 47370"/>
                <a:gd name="connsiteX30" fmla="*/ 14132 w 40486"/>
                <a:gd name="connsiteY30" fmla="*/ 7747 h 47370"/>
                <a:gd name="connsiteX31" fmla="*/ 9931 w 40486"/>
                <a:gd name="connsiteY31" fmla="*/ 12192 h 47370"/>
                <a:gd name="connsiteX32" fmla="*/ 8148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2"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2" y="2540"/>
                  </a:cubicBezTo>
                  <a:cubicBezTo>
                    <a:pt x="12477" y="889"/>
                    <a:pt x="16424"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2" y="34544"/>
                  </a:cubicBezTo>
                  <a:cubicBezTo>
                    <a:pt x="10312" y="36830"/>
                    <a:pt x="11841"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20" y="45339"/>
                    <a:pt x="28901" y="46101"/>
                  </a:cubicBezTo>
                  <a:cubicBezTo>
                    <a:pt x="26482" y="46863"/>
                    <a:pt x="23681" y="47371"/>
                    <a:pt x="20625" y="47371"/>
                  </a:cubicBezTo>
                  <a:close/>
                  <a:moveTo>
                    <a:pt x="8148" y="19939"/>
                  </a:moveTo>
                  <a:lnTo>
                    <a:pt x="32720" y="19939"/>
                  </a:lnTo>
                  <a:cubicBezTo>
                    <a:pt x="32720" y="17399"/>
                    <a:pt x="32465" y="15240"/>
                    <a:pt x="31829" y="13589"/>
                  </a:cubicBezTo>
                  <a:cubicBezTo>
                    <a:pt x="31192" y="11811"/>
                    <a:pt x="30428" y="10414"/>
                    <a:pt x="29410" y="9398"/>
                  </a:cubicBezTo>
                  <a:cubicBezTo>
                    <a:pt x="28391" y="8255"/>
                    <a:pt x="27118" y="7493"/>
                    <a:pt x="25718" y="6985"/>
                  </a:cubicBezTo>
                  <a:cubicBezTo>
                    <a:pt x="24317" y="6477"/>
                    <a:pt x="22662" y="6223"/>
                    <a:pt x="20880" y="6223"/>
                  </a:cubicBezTo>
                  <a:cubicBezTo>
                    <a:pt x="18206" y="6223"/>
                    <a:pt x="16042" y="6731"/>
                    <a:pt x="14132" y="7747"/>
                  </a:cubicBezTo>
                  <a:cubicBezTo>
                    <a:pt x="12350" y="8763"/>
                    <a:pt x="10822" y="10160"/>
                    <a:pt x="9931" y="12192"/>
                  </a:cubicBezTo>
                  <a:cubicBezTo>
                    <a:pt x="8912" y="14224"/>
                    <a:pt x="8403" y="16764"/>
                    <a:pt x="8148" y="19939"/>
                  </a:cubicBezTo>
                  <a:close/>
                </a:path>
              </a:pathLst>
            </a:custGeom>
            <a:solidFill>
              <a:srgbClr val="1D4966"/>
            </a:solidFill>
            <a:ln w="0" cap="flat">
              <a:noFill/>
              <a:prstDash val="solid"/>
              <a:miter/>
            </a:ln>
          </p:spPr>
          <p:txBody>
            <a:bodyPr rtlCol="0" anchor="ctr"/>
            <a:lstStyle/>
            <a:p>
              <a:endParaRPr lang="en-AD" sz="2400"/>
            </a:p>
          </p:txBody>
        </p:sp>
        <p:sp>
          <p:nvSpPr>
            <p:cNvPr id="408" name="Freeform 407">
              <a:extLst>
                <a:ext uri="{FF2B5EF4-FFF2-40B4-BE49-F238E27FC236}">
                  <a16:creationId xmlns:a16="http://schemas.microsoft.com/office/drawing/2014/main" id="{BDDDEA47-D1D4-BD3D-7C39-B5433740A284}"/>
                </a:ext>
              </a:extLst>
            </p:cNvPr>
            <p:cNvSpPr/>
            <p:nvPr/>
          </p:nvSpPr>
          <p:spPr>
            <a:xfrm>
              <a:off x="3584167"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8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7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8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8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8"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7"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8"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296" y="41148"/>
                  </a:moveTo>
                  <a:cubicBezTo>
                    <a:pt x="18078"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8"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409" name="Freeform 408">
              <a:extLst>
                <a:ext uri="{FF2B5EF4-FFF2-40B4-BE49-F238E27FC236}">
                  <a16:creationId xmlns:a16="http://schemas.microsoft.com/office/drawing/2014/main" id="{3BDEF8EE-3B82-9A26-01FE-C3CE4936CA21}"/>
                </a:ext>
              </a:extLst>
            </p:cNvPr>
            <p:cNvSpPr/>
            <p:nvPr/>
          </p:nvSpPr>
          <p:spPr>
            <a:xfrm>
              <a:off x="3634074" y="1599819"/>
              <a:ext cx="21771" cy="46482"/>
            </a:xfrm>
            <a:custGeom>
              <a:avLst/>
              <a:gdLst>
                <a:gd name="connsiteX0" fmla="*/ 0 w 21771"/>
                <a:gd name="connsiteY0" fmla="*/ 46355 h 46482"/>
                <a:gd name="connsiteX1" fmla="*/ 0 w 21771"/>
                <a:gd name="connsiteY1" fmla="*/ 1016 h 46482"/>
                <a:gd name="connsiteX2" fmla="*/ 6111 w 21771"/>
                <a:gd name="connsiteY2" fmla="*/ 1016 h 46482"/>
                <a:gd name="connsiteX3" fmla="*/ 6748 w 21771"/>
                <a:gd name="connsiteY3" fmla="*/ 8509 h 46482"/>
                <a:gd name="connsiteX4" fmla="*/ 7384 w 21771"/>
                <a:gd name="connsiteY4" fmla="*/ 8509 h 46482"/>
                <a:gd name="connsiteX5" fmla="*/ 9294 w 21771"/>
                <a:gd name="connsiteY5" fmla="*/ 4445 h 46482"/>
                <a:gd name="connsiteX6" fmla="*/ 12604 w 21771"/>
                <a:gd name="connsiteY6" fmla="*/ 1270 h 46482"/>
                <a:gd name="connsiteX7" fmla="*/ 17697 w 21771"/>
                <a:gd name="connsiteY7" fmla="*/ 0 h 46482"/>
                <a:gd name="connsiteX8" fmla="*/ 20116 w 21771"/>
                <a:gd name="connsiteY8" fmla="*/ 254 h 46482"/>
                <a:gd name="connsiteX9" fmla="*/ 21771 w 21771"/>
                <a:gd name="connsiteY9" fmla="*/ 762 h 46482"/>
                <a:gd name="connsiteX10" fmla="*/ 21771 w 21771"/>
                <a:gd name="connsiteY10" fmla="*/ 7747 h 46482"/>
                <a:gd name="connsiteX11" fmla="*/ 18970 w 21771"/>
                <a:gd name="connsiteY11" fmla="*/ 7747 h 46482"/>
                <a:gd name="connsiteX12" fmla="*/ 13878 w 21771"/>
                <a:gd name="connsiteY12" fmla="*/ 8763 h 46482"/>
                <a:gd name="connsiteX13" fmla="*/ 10440 w 21771"/>
                <a:gd name="connsiteY13" fmla="*/ 11557 h 46482"/>
                <a:gd name="connsiteX14" fmla="*/ 8403 w 21771"/>
                <a:gd name="connsiteY14" fmla="*/ 15875 h 46482"/>
                <a:gd name="connsiteX15" fmla="*/ 7766 w 21771"/>
                <a:gd name="connsiteY15" fmla="*/ 21209 h 46482"/>
                <a:gd name="connsiteX16" fmla="*/ 7766 w 21771"/>
                <a:gd name="connsiteY16" fmla="*/ 46482 h 46482"/>
                <a:gd name="connsiteX17" fmla="*/ 127 w 21771"/>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1"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8"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410" name="Freeform 409">
              <a:extLst>
                <a:ext uri="{FF2B5EF4-FFF2-40B4-BE49-F238E27FC236}">
                  <a16:creationId xmlns:a16="http://schemas.microsoft.com/office/drawing/2014/main" id="{22D6E522-B52B-25BB-CBFC-AE9A870C2373}"/>
                </a:ext>
              </a:extLst>
            </p:cNvPr>
            <p:cNvSpPr/>
            <p:nvPr/>
          </p:nvSpPr>
          <p:spPr>
            <a:xfrm>
              <a:off x="3659919" y="1599691"/>
              <a:ext cx="38321" cy="47625"/>
            </a:xfrm>
            <a:custGeom>
              <a:avLst/>
              <a:gdLst>
                <a:gd name="connsiteX0" fmla="*/ 20116 w 38321"/>
                <a:gd name="connsiteY0" fmla="*/ 47498 h 47625"/>
                <a:gd name="connsiteX1" fmla="*/ 9040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6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7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40" y="44958"/>
                  </a:cubicBezTo>
                  <a:cubicBezTo>
                    <a:pt x="6111" y="43307"/>
                    <a:pt x="3820" y="40640"/>
                    <a:pt x="2292" y="37084"/>
                  </a:cubicBezTo>
                  <a:cubicBezTo>
                    <a:pt x="764" y="33528"/>
                    <a:pt x="0" y="29083"/>
                    <a:pt x="0" y="23749"/>
                  </a:cubicBezTo>
                  <a:cubicBezTo>
                    <a:pt x="0" y="18415"/>
                    <a:pt x="764" y="13970"/>
                    <a:pt x="2292" y="10414"/>
                  </a:cubicBezTo>
                  <a:cubicBezTo>
                    <a:pt x="3820" y="6858"/>
                    <a:pt x="6111" y="4318"/>
                    <a:pt x="9167" y="2540"/>
                  </a:cubicBezTo>
                  <a:cubicBezTo>
                    <a:pt x="12222" y="762"/>
                    <a:pt x="15914" y="0"/>
                    <a:pt x="20370" y="0"/>
                  </a:cubicBezTo>
                  <a:cubicBezTo>
                    <a:pt x="23426" y="0"/>
                    <a:pt x="26227" y="381"/>
                    <a:pt x="28391" y="1270"/>
                  </a:cubicBezTo>
                  <a:cubicBezTo>
                    <a:pt x="30683" y="2032"/>
                    <a:pt x="32593" y="3302"/>
                    <a:pt x="33993" y="4826"/>
                  </a:cubicBezTo>
                  <a:cubicBezTo>
                    <a:pt x="35521" y="6350"/>
                    <a:pt x="36540" y="8255"/>
                    <a:pt x="37303" y="10414"/>
                  </a:cubicBezTo>
                  <a:cubicBezTo>
                    <a:pt x="38067" y="12573"/>
                    <a:pt x="38322" y="15113"/>
                    <a:pt x="38322" y="17907"/>
                  </a:cubicBezTo>
                  <a:lnTo>
                    <a:pt x="30683" y="17907"/>
                  </a:lnTo>
                  <a:cubicBezTo>
                    <a:pt x="30683" y="15240"/>
                    <a:pt x="30301" y="13081"/>
                    <a:pt x="29664" y="11430"/>
                  </a:cubicBezTo>
                  <a:cubicBezTo>
                    <a:pt x="28901" y="9779"/>
                    <a:pt x="27755" y="8509"/>
                    <a:pt x="26227" y="7620"/>
                  </a:cubicBezTo>
                  <a:cubicBezTo>
                    <a:pt x="24699" y="6731"/>
                    <a:pt x="22662" y="6350"/>
                    <a:pt x="20116" y="6350"/>
                  </a:cubicBezTo>
                  <a:cubicBezTo>
                    <a:pt x="17569" y="6350"/>
                    <a:pt x="15405" y="6858"/>
                    <a:pt x="13496" y="8001"/>
                  </a:cubicBezTo>
                  <a:cubicBezTo>
                    <a:pt x="11713" y="9144"/>
                    <a:pt x="10185" y="10922"/>
                    <a:pt x="9294" y="13335"/>
                  </a:cubicBezTo>
                  <a:cubicBezTo>
                    <a:pt x="8276" y="15748"/>
                    <a:pt x="7766" y="18923"/>
                    <a:pt x="7766" y="22860"/>
                  </a:cubicBezTo>
                  <a:lnTo>
                    <a:pt x="7766" y="24638"/>
                  </a:lnTo>
                  <a:cubicBezTo>
                    <a:pt x="7766" y="28321"/>
                    <a:pt x="8276" y="31496"/>
                    <a:pt x="9167" y="33909"/>
                  </a:cubicBezTo>
                  <a:cubicBezTo>
                    <a:pt x="10058" y="36322"/>
                    <a:pt x="11459"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6" y="34036"/>
                    <a:pt x="30810" y="32004"/>
                    <a:pt x="30810" y="29591"/>
                  </a:cubicBezTo>
                  <a:lnTo>
                    <a:pt x="38194" y="29591"/>
                  </a:lnTo>
                  <a:cubicBezTo>
                    <a:pt x="38194" y="32131"/>
                    <a:pt x="37812" y="34417"/>
                    <a:pt x="37176" y="36703"/>
                  </a:cubicBezTo>
                  <a:cubicBezTo>
                    <a:pt x="36412" y="38862"/>
                    <a:pt x="35394" y="40767"/>
                    <a:pt x="33866" y="42418"/>
                  </a:cubicBezTo>
                  <a:cubicBezTo>
                    <a:pt x="32338" y="44069"/>
                    <a:pt x="30428" y="45339"/>
                    <a:pt x="28137"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411" name="Freeform 410">
              <a:extLst>
                <a:ext uri="{FF2B5EF4-FFF2-40B4-BE49-F238E27FC236}">
                  <a16:creationId xmlns:a16="http://schemas.microsoft.com/office/drawing/2014/main" id="{9975E054-643B-D59C-4A11-837E10829B7C}"/>
                </a:ext>
              </a:extLst>
            </p:cNvPr>
            <p:cNvSpPr/>
            <p:nvPr/>
          </p:nvSpPr>
          <p:spPr>
            <a:xfrm>
              <a:off x="3706771" y="1583816"/>
              <a:ext cx="37430" cy="62484"/>
            </a:xfrm>
            <a:custGeom>
              <a:avLst/>
              <a:gdLst>
                <a:gd name="connsiteX0" fmla="*/ 127 w 37430"/>
                <a:gd name="connsiteY0" fmla="*/ 62357 h 62484"/>
                <a:gd name="connsiteX1" fmla="*/ 127 w 37430"/>
                <a:gd name="connsiteY1" fmla="*/ 0 h 62484"/>
                <a:gd name="connsiteX2" fmla="*/ 7766 w 37430"/>
                <a:gd name="connsiteY2" fmla="*/ 0 h 62484"/>
                <a:gd name="connsiteX3" fmla="*/ 7766 w 37430"/>
                <a:gd name="connsiteY3" fmla="*/ 22733 h 62484"/>
                <a:gd name="connsiteX4" fmla="*/ 8403 w 37430"/>
                <a:gd name="connsiteY4" fmla="*/ 22733 h 62484"/>
                <a:gd name="connsiteX5" fmla="*/ 12350 w 37430"/>
                <a:gd name="connsiteY5" fmla="*/ 18923 h 62484"/>
                <a:gd name="connsiteX6" fmla="*/ 17188 w 37430"/>
                <a:gd name="connsiteY6" fmla="*/ 16764 h 62484"/>
                <a:gd name="connsiteX7" fmla="*/ 22916 w 37430"/>
                <a:gd name="connsiteY7" fmla="*/ 16002 h 62484"/>
                <a:gd name="connsiteX8" fmla="*/ 30428 w 37430"/>
                <a:gd name="connsiteY8" fmla="*/ 17526 h 62484"/>
                <a:gd name="connsiteX9" fmla="*/ 35520 w 37430"/>
                <a:gd name="connsiteY9" fmla="*/ 22225 h 62484"/>
                <a:gd name="connsiteX10" fmla="*/ 37430 w 37430"/>
                <a:gd name="connsiteY10" fmla="*/ 31115 h 62484"/>
                <a:gd name="connsiteX11" fmla="*/ 37430 w 37430"/>
                <a:gd name="connsiteY11" fmla="*/ 62357 h 62484"/>
                <a:gd name="connsiteX12" fmla="*/ 29792 w 37430"/>
                <a:gd name="connsiteY12" fmla="*/ 62357 h 62484"/>
                <a:gd name="connsiteX13" fmla="*/ 29792 w 37430"/>
                <a:gd name="connsiteY13" fmla="*/ 32131 h 62484"/>
                <a:gd name="connsiteX14" fmla="*/ 29028 w 37430"/>
                <a:gd name="connsiteY14" fmla="*/ 27432 h 62484"/>
                <a:gd name="connsiteX15" fmla="*/ 26991 w 37430"/>
                <a:gd name="connsiteY15" fmla="*/ 24638 h 62484"/>
                <a:gd name="connsiteX16" fmla="*/ 23935 w 37430"/>
                <a:gd name="connsiteY16" fmla="*/ 23114 h 62484"/>
                <a:gd name="connsiteX17" fmla="*/ 19988 w 37430"/>
                <a:gd name="connsiteY17" fmla="*/ 22733 h 62484"/>
                <a:gd name="connsiteX18" fmla="*/ 13877 w 37430"/>
                <a:gd name="connsiteY18" fmla="*/ 24257 h 62484"/>
                <a:gd name="connsiteX19" fmla="*/ 9294 w 37430"/>
                <a:gd name="connsiteY19" fmla="*/ 28702 h 62484"/>
                <a:gd name="connsiteX20" fmla="*/ 7639 w 37430"/>
                <a:gd name="connsiteY20" fmla="*/ 35814 h 62484"/>
                <a:gd name="connsiteX21" fmla="*/ 7639 w 37430"/>
                <a:gd name="connsiteY21" fmla="*/ 62484 h 62484"/>
                <a:gd name="connsiteX22" fmla="*/ 0 w 37430"/>
                <a:gd name="connsiteY22" fmla="*/ 62484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62484">
                  <a:moveTo>
                    <a:pt x="127" y="62357"/>
                  </a:moveTo>
                  <a:lnTo>
                    <a:pt x="127" y="0"/>
                  </a:lnTo>
                  <a:lnTo>
                    <a:pt x="7766" y="0"/>
                  </a:lnTo>
                  <a:lnTo>
                    <a:pt x="7766" y="22733"/>
                  </a:lnTo>
                  <a:lnTo>
                    <a:pt x="8403" y="22733"/>
                  </a:lnTo>
                  <a:cubicBezTo>
                    <a:pt x="9549" y="21209"/>
                    <a:pt x="10822" y="19939"/>
                    <a:pt x="12350" y="18923"/>
                  </a:cubicBezTo>
                  <a:cubicBezTo>
                    <a:pt x="13750" y="17907"/>
                    <a:pt x="15405" y="17272"/>
                    <a:pt x="17188" y="16764"/>
                  </a:cubicBezTo>
                  <a:cubicBezTo>
                    <a:pt x="18970" y="16256"/>
                    <a:pt x="20879" y="16002"/>
                    <a:pt x="22916" y="16002"/>
                  </a:cubicBezTo>
                  <a:cubicBezTo>
                    <a:pt x="25845" y="16002"/>
                    <a:pt x="28264" y="16510"/>
                    <a:pt x="30428" y="17526"/>
                  </a:cubicBezTo>
                  <a:cubicBezTo>
                    <a:pt x="32592" y="18542"/>
                    <a:pt x="34248" y="20066"/>
                    <a:pt x="35520" y="22225"/>
                  </a:cubicBezTo>
                  <a:cubicBezTo>
                    <a:pt x="36794" y="24384"/>
                    <a:pt x="37430" y="27305"/>
                    <a:pt x="37430" y="31115"/>
                  </a:cubicBezTo>
                  <a:lnTo>
                    <a:pt x="37430" y="62357"/>
                  </a:lnTo>
                  <a:lnTo>
                    <a:pt x="29792" y="62357"/>
                  </a:lnTo>
                  <a:lnTo>
                    <a:pt x="29792" y="32131"/>
                  </a:lnTo>
                  <a:cubicBezTo>
                    <a:pt x="29792" y="30226"/>
                    <a:pt x="29537" y="28702"/>
                    <a:pt x="29028" y="27432"/>
                  </a:cubicBezTo>
                  <a:cubicBezTo>
                    <a:pt x="28518" y="26162"/>
                    <a:pt x="27882" y="25273"/>
                    <a:pt x="26991" y="24638"/>
                  </a:cubicBezTo>
                  <a:cubicBezTo>
                    <a:pt x="26099" y="24003"/>
                    <a:pt x="25208" y="23495"/>
                    <a:pt x="23935" y="23114"/>
                  </a:cubicBezTo>
                  <a:cubicBezTo>
                    <a:pt x="22789" y="22860"/>
                    <a:pt x="21389" y="22733"/>
                    <a:pt x="19988" y="22733"/>
                  </a:cubicBezTo>
                  <a:cubicBezTo>
                    <a:pt x="17824" y="22733"/>
                    <a:pt x="15787" y="23241"/>
                    <a:pt x="13877" y="24257"/>
                  </a:cubicBezTo>
                  <a:cubicBezTo>
                    <a:pt x="11968" y="25273"/>
                    <a:pt x="10439" y="26670"/>
                    <a:pt x="9294" y="28702"/>
                  </a:cubicBezTo>
                  <a:cubicBezTo>
                    <a:pt x="8148" y="30607"/>
                    <a:pt x="7639" y="33020"/>
                    <a:pt x="7639" y="35814"/>
                  </a:cubicBezTo>
                  <a:lnTo>
                    <a:pt x="7639" y="62484"/>
                  </a:lnTo>
                  <a:lnTo>
                    <a:pt x="0" y="62484"/>
                  </a:lnTo>
                  <a:close/>
                </a:path>
              </a:pathLst>
            </a:custGeom>
            <a:solidFill>
              <a:srgbClr val="1D4966"/>
            </a:solidFill>
            <a:ln w="0" cap="flat">
              <a:noFill/>
              <a:prstDash val="solid"/>
              <a:miter/>
            </a:ln>
          </p:spPr>
          <p:txBody>
            <a:bodyPr rtlCol="0" anchor="ctr"/>
            <a:lstStyle/>
            <a:p>
              <a:endParaRPr lang="en-AD" sz="2400"/>
            </a:p>
          </p:txBody>
        </p:sp>
      </p:grpSp>
      <p:grpSp>
        <p:nvGrpSpPr>
          <p:cNvPr id="9" name="Group 8">
            <a:extLst>
              <a:ext uri="{FF2B5EF4-FFF2-40B4-BE49-F238E27FC236}">
                <a16:creationId xmlns:a16="http://schemas.microsoft.com/office/drawing/2014/main" id="{3A0E00A5-CEFD-62E9-F56A-A1A4491DCA4B}"/>
              </a:ext>
            </a:extLst>
          </p:cNvPr>
          <p:cNvGrpSpPr/>
          <p:nvPr userDrawn="1"/>
        </p:nvGrpSpPr>
        <p:grpSpPr>
          <a:xfrm>
            <a:off x="466159" y="6055089"/>
            <a:ext cx="7372805" cy="490488"/>
            <a:chOff x="349619" y="4541317"/>
            <a:chExt cx="5529604" cy="367866"/>
          </a:xfrm>
        </p:grpSpPr>
        <p:grpSp>
          <p:nvGrpSpPr>
            <p:cNvPr id="625" name="Group 624">
              <a:extLst>
                <a:ext uri="{FF2B5EF4-FFF2-40B4-BE49-F238E27FC236}">
                  <a16:creationId xmlns:a16="http://schemas.microsoft.com/office/drawing/2014/main" id="{29F6EE5A-7C58-1F3C-8A2D-E05FC86B86E7}"/>
                </a:ext>
              </a:extLst>
            </p:cNvPr>
            <p:cNvGrpSpPr/>
            <p:nvPr userDrawn="1"/>
          </p:nvGrpSpPr>
          <p:grpSpPr>
            <a:xfrm>
              <a:off x="4392525" y="4701540"/>
              <a:ext cx="569348" cy="164083"/>
              <a:chOff x="4623944" y="4701540"/>
              <a:chExt cx="569348" cy="164083"/>
            </a:xfrm>
          </p:grpSpPr>
          <p:sp>
            <p:nvSpPr>
              <p:cNvPr id="413" name="Freeform 412">
                <a:extLst>
                  <a:ext uri="{FF2B5EF4-FFF2-40B4-BE49-F238E27FC236}">
                    <a16:creationId xmlns:a16="http://schemas.microsoft.com/office/drawing/2014/main" id="{E16F5F9E-A0F9-98A2-DACB-C7F00224FACC}"/>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14" name="Freeform 413">
                <a:extLst>
                  <a:ext uri="{FF2B5EF4-FFF2-40B4-BE49-F238E27FC236}">
                    <a16:creationId xmlns:a16="http://schemas.microsoft.com/office/drawing/2014/main" id="{A1954F35-B273-668E-EB91-7173C2360627}"/>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5" name="Freeform 414">
                <a:extLst>
                  <a:ext uri="{FF2B5EF4-FFF2-40B4-BE49-F238E27FC236}">
                    <a16:creationId xmlns:a16="http://schemas.microsoft.com/office/drawing/2014/main" id="{36944E6A-EEFD-F1F0-0DEA-9812D32E5028}"/>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6" name="Freeform 415">
                <a:extLst>
                  <a:ext uri="{FF2B5EF4-FFF2-40B4-BE49-F238E27FC236}">
                    <a16:creationId xmlns:a16="http://schemas.microsoft.com/office/drawing/2014/main" id="{AF593AD7-3361-8C88-DA16-650F3537AA2F}"/>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17" name="Freeform 416">
                <a:extLst>
                  <a:ext uri="{FF2B5EF4-FFF2-40B4-BE49-F238E27FC236}">
                    <a16:creationId xmlns:a16="http://schemas.microsoft.com/office/drawing/2014/main" id="{97E65735-5296-94AF-F287-B7DEC36D781E}"/>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18" name="Freeform 417">
                <a:extLst>
                  <a:ext uri="{FF2B5EF4-FFF2-40B4-BE49-F238E27FC236}">
                    <a16:creationId xmlns:a16="http://schemas.microsoft.com/office/drawing/2014/main" id="{4F0FF7D1-6491-8DC9-0881-6040AFDF96AC}"/>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19" name="Freeform 418">
                <a:extLst>
                  <a:ext uri="{FF2B5EF4-FFF2-40B4-BE49-F238E27FC236}">
                    <a16:creationId xmlns:a16="http://schemas.microsoft.com/office/drawing/2014/main" id="{573BB900-2CD9-4839-F3C8-C6845576443E}"/>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0" name="Freeform 419">
                <a:extLst>
                  <a:ext uri="{FF2B5EF4-FFF2-40B4-BE49-F238E27FC236}">
                    <a16:creationId xmlns:a16="http://schemas.microsoft.com/office/drawing/2014/main" id="{923A3248-7500-8D47-B3FE-88AA5DD2492B}"/>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21" name="Freeform 420">
                <a:extLst>
                  <a:ext uri="{FF2B5EF4-FFF2-40B4-BE49-F238E27FC236}">
                    <a16:creationId xmlns:a16="http://schemas.microsoft.com/office/drawing/2014/main" id="{12055FF2-F92C-598E-8E0B-40C628908803}"/>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22" name="Freeform 421">
                <a:extLst>
                  <a:ext uri="{FF2B5EF4-FFF2-40B4-BE49-F238E27FC236}">
                    <a16:creationId xmlns:a16="http://schemas.microsoft.com/office/drawing/2014/main" id="{E8035470-ED5D-89E0-B787-3B11C6330D10}"/>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23" name="Freeform 422">
                <a:extLst>
                  <a:ext uri="{FF2B5EF4-FFF2-40B4-BE49-F238E27FC236}">
                    <a16:creationId xmlns:a16="http://schemas.microsoft.com/office/drawing/2014/main" id="{15DD76B3-0F68-C199-8226-7C7E7C40BC0E}"/>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4" name="Freeform 423">
                <a:extLst>
                  <a:ext uri="{FF2B5EF4-FFF2-40B4-BE49-F238E27FC236}">
                    <a16:creationId xmlns:a16="http://schemas.microsoft.com/office/drawing/2014/main" id="{F7D2CE72-09EC-64E9-F9B1-DEF31D34B82D}"/>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425" name="Freeform 424">
                <a:extLst>
                  <a:ext uri="{FF2B5EF4-FFF2-40B4-BE49-F238E27FC236}">
                    <a16:creationId xmlns:a16="http://schemas.microsoft.com/office/drawing/2014/main" id="{0B15DDFE-DA63-7C3D-E89A-6E80729BC113}"/>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26" name="Freeform 425">
                <a:extLst>
                  <a:ext uri="{FF2B5EF4-FFF2-40B4-BE49-F238E27FC236}">
                    <a16:creationId xmlns:a16="http://schemas.microsoft.com/office/drawing/2014/main" id="{25DECE4D-4D48-6BD1-B6D2-DE19948D8B51}"/>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427" name="Freeform 426">
                <a:extLst>
                  <a:ext uri="{FF2B5EF4-FFF2-40B4-BE49-F238E27FC236}">
                    <a16:creationId xmlns:a16="http://schemas.microsoft.com/office/drawing/2014/main" id="{BE831A77-53CE-A569-0082-104804760601}"/>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8" name="Freeform 427">
                <a:extLst>
                  <a:ext uri="{FF2B5EF4-FFF2-40B4-BE49-F238E27FC236}">
                    <a16:creationId xmlns:a16="http://schemas.microsoft.com/office/drawing/2014/main" id="{485C12D5-0260-1008-A6B2-4A3773ED2C13}"/>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9" name="Freeform 428">
                <a:extLst>
                  <a:ext uri="{FF2B5EF4-FFF2-40B4-BE49-F238E27FC236}">
                    <a16:creationId xmlns:a16="http://schemas.microsoft.com/office/drawing/2014/main" id="{8535D962-4007-E1EC-4822-751B2A11EEFD}"/>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0" name="Freeform 429">
                <a:extLst>
                  <a:ext uri="{FF2B5EF4-FFF2-40B4-BE49-F238E27FC236}">
                    <a16:creationId xmlns:a16="http://schemas.microsoft.com/office/drawing/2014/main" id="{EB6B4938-7131-FEA9-F139-5044CE0F1897}"/>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31" name="Freeform 430">
                <a:extLst>
                  <a:ext uri="{FF2B5EF4-FFF2-40B4-BE49-F238E27FC236}">
                    <a16:creationId xmlns:a16="http://schemas.microsoft.com/office/drawing/2014/main" id="{3A03482E-CE97-4DC3-4DB3-01117528FD2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32" name="Freeform 431">
                <a:extLst>
                  <a:ext uri="{FF2B5EF4-FFF2-40B4-BE49-F238E27FC236}">
                    <a16:creationId xmlns:a16="http://schemas.microsoft.com/office/drawing/2014/main" id="{88133DFB-CE3D-E7BE-2CC4-F532A28152B2}"/>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3" name="Freeform 432">
                <a:extLst>
                  <a:ext uri="{FF2B5EF4-FFF2-40B4-BE49-F238E27FC236}">
                    <a16:creationId xmlns:a16="http://schemas.microsoft.com/office/drawing/2014/main" id="{6BA3B91F-A81B-AC01-EA04-0D49E8A4DE1A}"/>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434" name="Freeform 433">
                <a:extLst>
                  <a:ext uri="{FF2B5EF4-FFF2-40B4-BE49-F238E27FC236}">
                    <a16:creationId xmlns:a16="http://schemas.microsoft.com/office/drawing/2014/main" id="{C118CA84-C02E-1300-35D7-BAC6655ACFCA}"/>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35" name="Freeform 434">
                <a:extLst>
                  <a:ext uri="{FF2B5EF4-FFF2-40B4-BE49-F238E27FC236}">
                    <a16:creationId xmlns:a16="http://schemas.microsoft.com/office/drawing/2014/main" id="{B95DADA4-4101-66E6-8B53-5AC2FFC50F0E}"/>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6" name="Freeform 435">
                <a:extLst>
                  <a:ext uri="{FF2B5EF4-FFF2-40B4-BE49-F238E27FC236}">
                    <a16:creationId xmlns:a16="http://schemas.microsoft.com/office/drawing/2014/main" id="{629A3B55-8B1A-ED5C-6608-ECDE33CEBB76}"/>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7" name="Freeform 436">
                <a:extLst>
                  <a:ext uri="{FF2B5EF4-FFF2-40B4-BE49-F238E27FC236}">
                    <a16:creationId xmlns:a16="http://schemas.microsoft.com/office/drawing/2014/main" id="{48507C3F-53CD-FBEA-FBF6-BAEE5720DC27}"/>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38" name="Freeform 437">
                <a:extLst>
                  <a:ext uri="{FF2B5EF4-FFF2-40B4-BE49-F238E27FC236}">
                    <a16:creationId xmlns:a16="http://schemas.microsoft.com/office/drawing/2014/main" id="{8101FFF9-0E7E-89F5-2394-491E2AABAEA9}"/>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39" name="Freeform 438">
                <a:extLst>
                  <a:ext uri="{FF2B5EF4-FFF2-40B4-BE49-F238E27FC236}">
                    <a16:creationId xmlns:a16="http://schemas.microsoft.com/office/drawing/2014/main" id="{2FD743FE-A8E3-163A-51D6-51A145436606}"/>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0" name="Freeform 439">
                <a:extLst>
                  <a:ext uri="{FF2B5EF4-FFF2-40B4-BE49-F238E27FC236}">
                    <a16:creationId xmlns:a16="http://schemas.microsoft.com/office/drawing/2014/main" id="{5E32916C-5418-7EE9-AC93-32F0A6FA300B}"/>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1" name="Freeform 440">
                <a:extLst>
                  <a:ext uri="{FF2B5EF4-FFF2-40B4-BE49-F238E27FC236}">
                    <a16:creationId xmlns:a16="http://schemas.microsoft.com/office/drawing/2014/main" id="{B1AD730B-F9DC-87BE-63A4-AACF91B65786}"/>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2" name="Freeform 441">
                <a:extLst>
                  <a:ext uri="{FF2B5EF4-FFF2-40B4-BE49-F238E27FC236}">
                    <a16:creationId xmlns:a16="http://schemas.microsoft.com/office/drawing/2014/main" id="{790FAE98-21B8-AD1F-52AF-37D5ACC94DED}"/>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624" name="Group 623">
              <a:extLst>
                <a:ext uri="{FF2B5EF4-FFF2-40B4-BE49-F238E27FC236}">
                  <a16:creationId xmlns:a16="http://schemas.microsoft.com/office/drawing/2014/main" id="{C0BB6A84-0DDE-D684-6E18-9512D5D1541A}"/>
                </a:ext>
              </a:extLst>
            </p:cNvPr>
            <p:cNvGrpSpPr/>
            <p:nvPr userDrawn="1"/>
          </p:nvGrpSpPr>
          <p:grpSpPr>
            <a:xfrm>
              <a:off x="5091148" y="4708016"/>
              <a:ext cx="788075" cy="159258"/>
              <a:chOff x="5361094" y="4708016"/>
              <a:chExt cx="788075" cy="159258"/>
            </a:xfrm>
          </p:grpSpPr>
          <p:sp>
            <p:nvSpPr>
              <p:cNvPr id="443" name="Freeform 442">
                <a:extLst>
                  <a:ext uri="{FF2B5EF4-FFF2-40B4-BE49-F238E27FC236}">
                    <a16:creationId xmlns:a16="http://schemas.microsoft.com/office/drawing/2014/main" id="{B07F029A-5550-5C0D-C862-5B721997EB31}"/>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444" name="Freeform 443">
                <a:extLst>
                  <a:ext uri="{FF2B5EF4-FFF2-40B4-BE49-F238E27FC236}">
                    <a16:creationId xmlns:a16="http://schemas.microsoft.com/office/drawing/2014/main" id="{2D79B81E-CA2C-809F-B77D-7A767FDC5CF1}"/>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445" name="Freeform 444">
                <a:extLst>
                  <a:ext uri="{FF2B5EF4-FFF2-40B4-BE49-F238E27FC236}">
                    <a16:creationId xmlns:a16="http://schemas.microsoft.com/office/drawing/2014/main" id="{C7655916-C458-44E9-8A12-FE8C4BECCBFD}"/>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446" name="Freeform 445">
                <a:extLst>
                  <a:ext uri="{FF2B5EF4-FFF2-40B4-BE49-F238E27FC236}">
                    <a16:creationId xmlns:a16="http://schemas.microsoft.com/office/drawing/2014/main" id="{F8966498-DE67-31BF-1923-33F01698BB01}"/>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447" name="Freeform 446">
                <a:extLst>
                  <a:ext uri="{FF2B5EF4-FFF2-40B4-BE49-F238E27FC236}">
                    <a16:creationId xmlns:a16="http://schemas.microsoft.com/office/drawing/2014/main" id="{0AE0D475-EB9B-F2E9-4D0E-007EE8E3D961}"/>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448" name="Freeform 447">
                <a:extLst>
                  <a:ext uri="{FF2B5EF4-FFF2-40B4-BE49-F238E27FC236}">
                    <a16:creationId xmlns:a16="http://schemas.microsoft.com/office/drawing/2014/main" id="{CB3DD1B6-18A2-67F5-F58F-5B45A460BD1E}"/>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49" name="Freeform 448">
                <a:extLst>
                  <a:ext uri="{FF2B5EF4-FFF2-40B4-BE49-F238E27FC236}">
                    <a16:creationId xmlns:a16="http://schemas.microsoft.com/office/drawing/2014/main" id="{FF227921-CF5A-F19C-2BEA-4C8FEEB98805}"/>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50" name="Freeform 449">
                <a:extLst>
                  <a:ext uri="{FF2B5EF4-FFF2-40B4-BE49-F238E27FC236}">
                    <a16:creationId xmlns:a16="http://schemas.microsoft.com/office/drawing/2014/main" id="{FB89C69C-EDE2-82F3-80BC-D9C4A0071DB6}"/>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1" name="Freeform 450">
                <a:extLst>
                  <a:ext uri="{FF2B5EF4-FFF2-40B4-BE49-F238E27FC236}">
                    <a16:creationId xmlns:a16="http://schemas.microsoft.com/office/drawing/2014/main" id="{39A81081-C564-7D27-B25C-7DDC81F0FF13}"/>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52" name="Freeform 451">
                <a:extLst>
                  <a:ext uri="{FF2B5EF4-FFF2-40B4-BE49-F238E27FC236}">
                    <a16:creationId xmlns:a16="http://schemas.microsoft.com/office/drawing/2014/main" id="{CB89EE33-5156-333F-202B-7ED0693CC9D4}"/>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3" name="Freeform 452">
                <a:extLst>
                  <a:ext uri="{FF2B5EF4-FFF2-40B4-BE49-F238E27FC236}">
                    <a16:creationId xmlns:a16="http://schemas.microsoft.com/office/drawing/2014/main" id="{832C1C3A-AF9D-17E6-0662-FE99C3EEB74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454" name="Freeform 453">
                <a:extLst>
                  <a:ext uri="{FF2B5EF4-FFF2-40B4-BE49-F238E27FC236}">
                    <a16:creationId xmlns:a16="http://schemas.microsoft.com/office/drawing/2014/main" id="{6C01D79A-0614-D463-1FA8-829E4DF4DA78}"/>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455" name="Freeform 454">
                <a:extLst>
                  <a:ext uri="{FF2B5EF4-FFF2-40B4-BE49-F238E27FC236}">
                    <a16:creationId xmlns:a16="http://schemas.microsoft.com/office/drawing/2014/main" id="{ED2446D8-5F73-2CF9-9620-82B4C278DD7B}"/>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456" name="Freeform 455">
                <a:extLst>
                  <a:ext uri="{FF2B5EF4-FFF2-40B4-BE49-F238E27FC236}">
                    <a16:creationId xmlns:a16="http://schemas.microsoft.com/office/drawing/2014/main" id="{36C01497-9250-0C58-4209-F9BD1F5C3A17}"/>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457" name="Freeform 456">
                <a:extLst>
                  <a:ext uri="{FF2B5EF4-FFF2-40B4-BE49-F238E27FC236}">
                    <a16:creationId xmlns:a16="http://schemas.microsoft.com/office/drawing/2014/main" id="{25534696-368D-BC03-65C9-C788B2F88261}"/>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458" name="Freeform 457">
                <a:extLst>
                  <a:ext uri="{FF2B5EF4-FFF2-40B4-BE49-F238E27FC236}">
                    <a16:creationId xmlns:a16="http://schemas.microsoft.com/office/drawing/2014/main" id="{B2B73DE0-3336-8746-7096-D3C04C1E7C1D}"/>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59" name="Freeform 458">
                <a:extLst>
                  <a:ext uri="{FF2B5EF4-FFF2-40B4-BE49-F238E27FC236}">
                    <a16:creationId xmlns:a16="http://schemas.microsoft.com/office/drawing/2014/main" id="{C7A0C585-E987-A934-6C6C-3A5BC48A0A71}"/>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60" name="Freeform 459">
                <a:extLst>
                  <a:ext uri="{FF2B5EF4-FFF2-40B4-BE49-F238E27FC236}">
                    <a16:creationId xmlns:a16="http://schemas.microsoft.com/office/drawing/2014/main" id="{B5DA167F-44DE-9170-DEFD-27E1A59D97FC}"/>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461" name="Freeform 460">
                <a:extLst>
                  <a:ext uri="{FF2B5EF4-FFF2-40B4-BE49-F238E27FC236}">
                    <a16:creationId xmlns:a16="http://schemas.microsoft.com/office/drawing/2014/main" id="{1008D934-8613-23E4-0F85-C70378856712}"/>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462" name="Freeform 461">
                <a:extLst>
                  <a:ext uri="{FF2B5EF4-FFF2-40B4-BE49-F238E27FC236}">
                    <a16:creationId xmlns:a16="http://schemas.microsoft.com/office/drawing/2014/main" id="{65F23AF9-A870-D57A-48DE-D6400298F0D5}"/>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463" name="Freeform 462">
                <a:extLst>
                  <a:ext uri="{FF2B5EF4-FFF2-40B4-BE49-F238E27FC236}">
                    <a16:creationId xmlns:a16="http://schemas.microsoft.com/office/drawing/2014/main" id="{964ECD65-89F4-1C10-73D2-3877B3BACD9D}"/>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64" name="Freeform 463">
                <a:extLst>
                  <a:ext uri="{FF2B5EF4-FFF2-40B4-BE49-F238E27FC236}">
                    <a16:creationId xmlns:a16="http://schemas.microsoft.com/office/drawing/2014/main" id="{6C98E4EC-643B-30AC-5769-9C9340182FCD}"/>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465" name="Freeform 464">
                <a:extLst>
                  <a:ext uri="{FF2B5EF4-FFF2-40B4-BE49-F238E27FC236}">
                    <a16:creationId xmlns:a16="http://schemas.microsoft.com/office/drawing/2014/main" id="{91C0DEEB-0E1B-1950-8B21-D880500E36FD}"/>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66" name="Freeform 465">
                <a:extLst>
                  <a:ext uri="{FF2B5EF4-FFF2-40B4-BE49-F238E27FC236}">
                    <a16:creationId xmlns:a16="http://schemas.microsoft.com/office/drawing/2014/main" id="{7248E95F-9748-73CF-DAA9-C7BC53404DE4}"/>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467" name="Freeform 466">
                <a:extLst>
                  <a:ext uri="{FF2B5EF4-FFF2-40B4-BE49-F238E27FC236}">
                    <a16:creationId xmlns:a16="http://schemas.microsoft.com/office/drawing/2014/main" id="{74E8B14D-A84D-EFAD-4990-725E5D233076}"/>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468" name="Freeform 467">
                <a:extLst>
                  <a:ext uri="{FF2B5EF4-FFF2-40B4-BE49-F238E27FC236}">
                    <a16:creationId xmlns:a16="http://schemas.microsoft.com/office/drawing/2014/main" id="{0202ADAA-019C-34FC-D095-F46007E6747F}"/>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69" name="Freeform 468">
                <a:extLst>
                  <a:ext uri="{FF2B5EF4-FFF2-40B4-BE49-F238E27FC236}">
                    <a16:creationId xmlns:a16="http://schemas.microsoft.com/office/drawing/2014/main" id="{E53E220D-D5A3-74EC-DC1E-247C73273962}"/>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70" name="Freeform 469">
                <a:extLst>
                  <a:ext uri="{FF2B5EF4-FFF2-40B4-BE49-F238E27FC236}">
                    <a16:creationId xmlns:a16="http://schemas.microsoft.com/office/drawing/2014/main" id="{54FA3844-4FCA-9952-5C46-9A6792A86C10}"/>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grpSp>
          <p:nvGrpSpPr>
            <p:cNvPr id="629" name="Group 628">
              <a:extLst>
                <a:ext uri="{FF2B5EF4-FFF2-40B4-BE49-F238E27FC236}">
                  <a16:creationId xmlns:a16="http://schemas.microsoft.com/office/drawing/2014/main" id="{58902F13-676F-238B-A570-BFE6D7FDF736}"/>
                </a:ext>
              </a:extLst>
            </p:cNvPr>
            <p:cNvGrpSpPr/>
            <p:nvPr userDrawn="1"/>
          </p:nvGrpSpPr>
          <p:grpSpPr>
            <a:xfrm>
              <a:off x="923603" y="4702047"/>
              <a:ext cx="260485" cy="153670"/>
              <a:chOff x="962128" y="4702047"/>
              <a:chExt cx="260485" cy="153670"/>
            </a:xfrm>
          </p:grpSpPr>
          <p:sp>
            <p:nvSpPr>
              <p:cNvPr id="471" name="Freeform 470">
                <a:extLst>
                  <a:ext uri="{FF2B5EF4-FFF2-40B4-BE49-F238E27FC236}">
                    <a16:creationId xmlns:a16="http://schemas.microsoft.com/office/drawing/2014/main" id="{12CC7D25-8E40-24C8-12CE-8E4C08BF83CA}"/>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472" name="Freeform 471">
                <a:extLst>
                  <a:ext uri="{FF2B5EF4-FFF2-40B4-BE49-F238E27FC236}">
                    <a16:creationId xmlns:a16="http://schemas.microsoft.com/office/drawing/2014/main" id="{9ACE214B-21B4-3414-695A-14BD621A3B22}"/>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473" name="Freeform 472">
                <a:extLst>
                  <a:ext uri="{FF2B5EF4-FFF2-40B4-BE49-F238E27FC236}">
                    <a16:creationId xmlns:a16="http://schemas.microsoft.com/office/drawing/2014/main" id="{89784879-95F1-B410-E1A6-C19442B3DE95}"/>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474" name="Freeform 473">
                <a:extLst>
                  <a:ext uri="{FF2B5EF4-FFF2-40B4-BE49-F238E27FC236}">
                    <a16:creationId xmlns:a16="http://schemas.microsoft.com/office/drawing/2014/main" id="{E75AE40D-9DDC-D1CC-4D92-8DFEC9647FCB}"/>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475" name="Freeform 474">
                <a:extLst>
                  <a:ext uri="{FF2B5EF4-FFF2-40B4-BE49-F238E27FC236}">
                    <a16:creationId xmlns:a16="http://schemas.microsoft.com/office/drawing/2014/main" id="{CF94F612-D205-938D-1CB3-474148FA09DB}"/>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476" name="Freeform 475">
                <a:extLst>
                  <a:ext uri="{FF2B5EF4-FFF2-40B4-BE49-F238E27FC236}">
                    <a16:creationId xmlns:a16="http://schemas.microsoft.com/office/drawing/2014/main" id="{D17B1BF5-9232-C0CA-0AC8-4C65E899B3BE}"/>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477" name="Graphic 3">
              <a:extLst>
                <a:ext uri="{FF2B5EF4-FFF2-40B4-BE49-F238E27FC236}">
                  <a16:creationId xmlns:a16="http://schemas.microsoft.com/office/drawing/2014/main" id="{A3267C26-BBCE-ACF9-6C5B-D96D33D4FA6C}"/>
                </a:ext>
              </a:extLst>
            </p:cNvPr>
            <p:cNvGrpSpPr/>
            <p:nvPr/>
          </p:nvGrpSpPr>
          <p:grpSpPr>
            <a:xfrm>
              <a:off x="2814872" y="4720136"/>
              <a:ext cx="783492" cy="125040"/>
              <a:chOff x="2968984" y="4720136"/>
              <a:chExt cx="783492" cy="125040"/>
            </a:xfrm>
            <a:solidFill>
              <a:srgbClr val="FFFFFF"/>
            </a:solidFill>
          </p:grpSpPr>
          <p:sp>
            <p:nvSpPr>
              <p:cNvPr id="609" name="Freeform 608">
                <a:extLst>
                  <a:ext uri="{FF2B5EF4-FFF2-40B4-BE49-F238E27FC236}">
                    <a16:creationId xmlns:a16="http://schemas.microsoft.com/office/drawing/2014/main" id="{2C687A86-D39B-B99E-F2DB-842E51928DEB}"/>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610" name="Freeform 609">
                <a:extLst>
                  <a:ext uri="{FF2B5EF4-FFF2-40B4-BE49-F238E27FC236}">
                    <a16:creationId xmlns:a16="http://schemas.microsoft.com/office/drawing/2014/main" id="{C69C66ED-E7C7-83F2-7278-014FA7FDB626}"/>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611" name="Freeform 610">
                <a:extLst>
                  <a:ext uri="{FF2B5EF4-FFF2-40B4-BE49-F238E27FC236}">
                    <a16:creationId xmlns:a16="http://schemas.microsoft.com/office/drawing/2014/main" id="{81B53600-3264-B579-29FB-64A0EF6DA3C5}"/>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612" name="Freeform 611">
                <a:extLst>
                  <a:ext uri="{FF2B5EF4-FFF2-40B4-BE49-F238E27FC236}">
                    <a16:creationId xmlns:a16="http://schemas.microsoft.com/office/drawing/2014/main" id="{ACF50FC2-B6B4-FB0A-D544-455242F0A940}"/>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613" name="Freeform 612">
                <a:extLst>
                  <a:ext uri="{FF2B5EF4-FFF2-40B4-BE49-F238E27FC236}">
                    <a16:creationId xmlns:a16="http://schemas.microsoft.com/office/drawing/2014/main" id="{ED282BDB-D850-F411-712D-0A3B32E62558}"/>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614" name="Freeform 613">
                <a:extLst>
                  <a:ext uri="{FF2B5EF4-FFF2-40B4-BE49-F238E27FC236}">
                    <a16:creationId xmlns:a16="http://schemas.microsoft.com/office/drawing/2014/main" id="{3BB95852-B710-CE5D-8BD5-2D23E4F7195E}"/>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615" name="Freeform 614">
                <a:extLst>
                  <a:ext uri="{FF2B5EF4-FFF2-40B4-BE49-F238E27FC236}">
                    <a16:creationId xmlns:a16="http://schemas.microsoft.com/office/drawing/2014/main" id="{305A8DB1-4966-D310-9FD7-6C5FF44E0678}"/>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16" name="Freeform 615">
                <a:extLst>
                  <a:ext uri="{FF2B5EF4-FFF2-40B4-BE49-F238E27FC236}">
                    <a16:creationId xmlns:a16="http://schemas.microsoft.com/office/drawing/2014/main" id="{D1AD0E3D-3B4F-A5C8-2DFE-3F286651BBF3}"/>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617" name="Freeform 616">
                <a:extLst>
                  <a:ext uri="{FF2B5EF4-FFF2-40B4-BE49-F238E27FC236}">
                    <a16:creationId xmlns:a16="http://schemas.microsoft.com/office/drawing/2014/main" id="{C2788B1D-0524-4008-64B3-B2B0A16ECCDF}"/>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618" name="Freeform 617">
                <a:extLst>
                  <a:ext uri="{FF2B5EF4-FFF2-40B4-BE49-F238E27FC236}">
                    <a16:creationId xmlns:a16="http://schemas.microsoft.com/office/drawing/2014/main" id="{FE4647AA-3F11-9233-10A8-5F3886B9741C}"/>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619" name="Freeform 618">
                <a:extLst>
                  <a:ext uri="{FF2B5EF4-FFF2-40B4-BE49-F238E27FC236}">
                    <a16:creationId xmlns:a16="http://schemas.microsoft.com/office/drawing/2014/main" id="{AAB78524-68C2-E661-5E6E-A221ADCA897C}"/>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620" name="Freeform 619">
                <a:extLst>
                  <a:ext uri="{FF2B5EF4-FFF2-40B4-BE49-F238E27FC236}">
                    <a16:creationId xmlns:a16="http://schemas.microsoft.com/office/drawing/2014/main" id="{43B8F210-E052-0C18-0E4E-022FDC41F2BB}"/>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621" name="Freeform 620">
                <a:extLst>
                  <a:ext uri="{FF2B5EF4-FFF2-40B4-BE49-F238E27FC236}">
                    <a16:creationId xmlns:a16="http://schemas.microsoft.com/office/drawing/2014/main" id="{8FE6DCC9-4F76-1EB2-4603-46D6CFFA6194}"/>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622" name="Freeform 621">
                <a:extLst>
                  <a:ext uri="{FF2B5EF4-FFF2-40B4-BE49-F238E27FC236}">
                    <a16:creationId xmlns:a16="http://schemas.microsoft.com/office/drawing/2014/main" id="{FB5E1567-EAFE-D477-B385-4D6ABDCB2695}"/>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23" name="Freeform 622">
                <a:extLst>
                  <a:ext uri="{FF2B5EF4-FFF2-40B4-BE49-F238E27FC236}">
                    <a16:creationId xmlns:a16="http://schemas.microsoft.com/office/drawing/2014/main" id="{C9CF46BD-A81F-49A4-F153-3EE907DA809C}"/>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478" name="Freeform 477">
              <a:extLst>
                <a:ext uri="{FF2B5EF4-FFF2-40B4-BE49-F238E27FC236}">
                  <a16:creationId xmlns:a16="http://schemas.microsoft.com/office/drawing/2014/main" id="{41EA3FB8-D01F-252A-5C57-2011F1C6AE22}"/>
                </a:ext>
              </a:extLst>
            </p:cNvPr>
            <p:cNvSpPr/>
            <p:nvPr/>
          </p:nvSpPr>
          <p:spPr>
            <a:xfrm>
              <a:off x="349619" y="4649723"/>
              <a:ext cx="444709" cy="259460"/>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628" name="Group 627">
              <a:extLst>
                <a:ext uri="{FF2B5EF4-FFF2-40B4-BE49-F238E27FC236}">
                  <a16:creationId xmlns:a16="http://schemas.microsoft.com/office/drawing/2014/main" id="{63DF3AB0-3F7E-95A9-D894-98F4AE5E9C46}"/>
                </a:ext>
              </a:extLst>
            </p:cNvPr>
            <p:cNvGrpSpPr/>
            <p:nvPr userDrawn="1"/>
          </p:nvGrpSpPr>
          <p:grpSpPr>
            <a:xfrm>
              <a:off x="1313363" y="4541317"/>
              <a:ext cx="497543" cy="342213"/>
              <a:chOff x="1390414" y="4541317"/>
              <a:chExt cx="497543" cy="342213"/>
            </a:xfrm>
          </p:grpSpPr>
          <p:sp>
            <p:nvSpPr>
              <p:cNvPr id="479" name="Freeform 478">
                <a:extLst>
                  <a:ext uri="{FF2B5EF4-FFF2-40B4-BE49-F238E27FC236}">
                    <a16:creationId xmlns:a16="http://schemas.microsoft.com/office/drawing/2014/main" id="{5062EA06-BD23-84A2-EB71-B13CCB1447C5}"/>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480" name="Freeform 479">
                <a:extLst>
                  <a:ext uri="{FF2B5EF4-FFF2-40B4-BE49-F238E27FC236}">
                    <a16:creationId xmlns:a16="http://schemas.microsoft.com/office/drawing/2014/main" id="{2EC695BC-BD4D-BED1-7B41-BBEA9CB023C6}"/>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481" name="Freeform 480">
                <a:extLst>
                  <a:ext uri="{FF2B5EF4-FFF2-40B4-BE49-F238E27FC236}">
                    <a16:creationId xmlns:a16="http://schemas.microsoft.com/office/drawing/2014/main" id="{50730181-121A-270F-EC7F-2991B0DE903E}"/>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482" name="Freeform 481">
                <a:extLst>
                  <a:ext uri="{FF2B5EF4-FFF2-40B4-BE49-F238E27FC236}">
                    <a16:creationId xmlns:a16="http://schemas.microsoft.com/office/drawing/2014/main" id="{6D856C60-E752-BBD1-0EE1-BCD0984A0D65}"/>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3" name="Freeform 482">
                <a:extLst>
                  <a:ext uri="{FF2B5EF4-FFF2-40B4-BE49-F238E27FC236}">
                    <a16:creationId xmlns:a16="http://schemas.microsoft.com/office/drawing/2014/main" id="{A1E0C006-59EA-D159-E8B7-DB0457287181}"/>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484" name="Freeform 483">
                <a:extLst>
                  <a:ext uri="{FF2B5EF4-FFF2-40B4-BE49-F238E27FC236}">
                    <a16:creationId xmlns:a16="http://schemas.microsoft.com/office/drawing/2014/main" id="{A4FA3260-AC9D-603E-082A-9B76504DAB68}"/>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485" name="Freeform 484">
                <a:extLst>
                  <a:ext uri="{FF2B5EF4-FFF2-40B4-BE49-F238E27FC236}">
                    <a16:creationId xmlns:a16="http://schemas.microsoft.com/office/drawing/2014/main" id="{05BCE170-604D-D89D-8192-C1FEF15C338B}"/>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486" name="Freeform 485">
                <a:extLst>
                  <a:ext uri="{FF2B5EF4-FFF2-40B4-BE49-F238E27FC236}">
                    <a16:creationId xmlns:a16="http://schemas.microsoft.com/office/drawing/2014/main" id="{2804C466-AE6E-073A-C3CD-C7BCD516AE2E}"/>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487" name="Freeform 486">
                <a:extLst>
                  <a:ext uri="{FF2B5EF4-FFF2-40B4-BE49-F238E27FC236}">
                    <a16:creationId xmlns:a16="http://schemas.microsoft.com/office/drawing/2014/main" id="{279348FA-3F90-7F53-EB9B-DDC9CC327F39}"/>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8" name="Freeform 487">
                <a:extLst>
                  <a:ext uri="{FF2B5EF4-FFF2-40B4-BE49-F238E27FC236}">
                    <a16:creationId xmlns:a16="http://schemas.microsoft.com/office/drawing/2014/main" id="{364BAC43-3F10-372B-FA56-84692DAA7356}"/>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489" name="Freeform 488">
                <a:extLst>
                  <a:ext uri="{FF2B5EF4-FFF2-40B4-BE49-F238E27FC236}">
                    <a16:creationId xmlns:a16="http://schemas.microsoft.com/office/drawing/2014/main" id="{71F800D1-B7FD-67CE-1152-2F668168BF50}"/>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490" name="Freeform 489">
                <a:extLst>
                  <a:ext uri="{FF2B5EF4-FFF2-40B4-BE49-F238E27FC236}">
                    <a16:creationId xmlns:a16="http://schemas.microsoft.com/office/drawing/2014/main" id="{1DBB0884-4DA0-3E68-9415-E19B55CAD163}"/>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491" name="Freeform 490">
                <a:extLst>
                  <a:ext uri="{FF2B5EF4-FFF2-40B4-BE49-F238E27FC236}">
                    <a16:creationId xmlns:a16="http://schemas.microsoft.com/office/drawing/2014/main" id="{53634D76-B92D-30DF-ED6A-32F1F3E07571}"/>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492" name="Freeform 491">
                <a:extLst>
                  <a:ext uri="{FF2B5EF4-FFF2-40B4-BE49-F238E27FC236}">
                    <a16:creationId xmlns:a16="http://schemas.microsoft.com/office/drawing/2014/main" id="{90C72508-2EBA-6838-3FE1-1B159B11C257}"/>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493" name="Freeform 492">
                <a:extLst>
                  <a:ext uri="{FF2B5EF4-FFF2-40B4-BE49-F238E27FC236}">
                    <a16:creationId xmlns:a16="http://schemas.microsoft.com/office/drawing/2014/main" id="{472E483B-7AFD-DF4E-9E7F-28F69DBB653C}"/>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494" name="Freeform 493">
                <a:extLst>
                  <a:ext uri="{FF2B5EF4-FFF2-40B4-BE49-F238E27FC236}">
                    <a16:creationId xmlns:a16="http://schemas.microsoft.com/office/drawing/2014/main" id="{478AE392-A090-7AF4-EC02-4A13E9D7DD5B}"/>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495" name="Freeform 494">
                <a:extLst>
                  <a:ext uri="{FF2B5EF4-FFF2-40B4-BE49-F238E27FC236}">
                    <a16:creationId xmlns:a16="http://schemas.microsoft.com/office/drawing/2014/main" id="{5EC83068-628C-C4F5-59EE-A8C1BA313E38}"/>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496" name="Freeform 495">
                <a:extLst>
                  <a:ext uri="{FF2B5EF4-FFF2-40B4-BE49-F238E27FC236}">
                    <a16:creationId xmlns:a16="http://schemas.microsoft.com/office/drawing/2014/main" id="{76D8003D-5375-1095-4C3A-5099F276DDF9}"/>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497" name="Freeform 496">
                <a:extLst>
                  <a:ext uri="{FF2B5EF4-FFF2-40B4-BE49-F238E27FC236}">
                    <a16:creationId xmlns:a16="http://schemas.microsoft.com/office/drawing/2014/main" id="{6C187A52-33B2-F646-698D-31AE6F1E565A}"/>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498" name="Freeform 497">
                <a:extLst>
                  <a:ext uri="{FF2B5EF4-FFF2-40B4-BE49-F238E27FC236}">
                    <a16:creationId xmlns:a16="http://schemas.microsoft.com/office/drawing/2014/main" id="{55FF38D3-09F2-4FBC-DD35-6615B8E1BA61}"/>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499" name="Freeform 498">
                <a:extLst>
                  <a:ext uri="{FF2B5EF4-FFF2-40B4-BE49-F238E27FC236}">
                    <a16:creationId xmlns:a16="http://schemas.microsoft.com/office/drawing/2014/main" id="{C8E2C623-7030-9E21-10CA-C5D85778DB9D}"/>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00" name="Freeform 499">
                <a:extLst>
                  <a:ext uri="{FF2B5EF4-FFF2-40B4-BE49-F238E27FC236}">
                    <a16:creationId xmlns:a16="http://schemas.microsoft.com/office/drawing/2014/main" id="{ADAD61F8-C769-3AB0-3B40-82C17B869A3B}"/>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501" name="Freeform 500">
                <a:extLst>
                  <a:ext uri="{FF2B5EF4-FFF2-40B4-BE49-F238E27FC236}">
                    <a16:creationId xmlns:a16="http://schemas.microsoft.com/office/drawing/2014/main" id="{F6E1F12A-F778-3DD3-4042-AF59F46B8D3E}"/>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502" name="Freeform 501">
                <a:extLst>
                  <a:ext uri="{FF2B5EF4-FFF2-40B4-BE49-F238E27FC236}">
                    <a16:creationId xmlns:a16="http://schemas.microsoft.com/office/drawing/2014/main" id="{A336E092-6C95-D770-26DF-05191AF89328}"/>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03" name="Freeform 502">
                <a:extLst>
                  <a:ext uri="{FF2B5EF4-FFF2-40B4-BE49-F238E27FC236}">
                    <a16:creationId xmlns:a16="http://schemas.microsoft.com/office/drawing/2014/main" id="{CE3D43D7-AA81-5DF5-0544-63CC8434F415}"/>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04" name="Freeform 503">
                <a:extLst>
                  <a:ext uri="{FF2B5EF4-FFF2-40B4-BE49-F238E27FC236}">
                    <a16:creationId xmlns:a16="http://schemas.microsoft.com/office/drawing/2014/main" id="{602948C4-ED2C-6EF6-EF51-0E468E043B93}"/>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505" name="Freeform 504">
                <a:extLst>
                  <a:ext uri="{FF2B5EF4-FFF2-40B4-BE49-F238E27FC236}">
                    <a16:creationId xmlns:a16="http://schemas.microsoft.com/office/drawing/2014/main" id="{F3D9CB05-1D36-A11E-51F3-DD4E6B063A5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506" name="Freeform 505">
                <a:extLst>
                  <a:ext uri="{FF2B5EF4-FFF2-40B4-BE49-F238E27FC236}">
                    <a16:creationId xmlns:a16="http://schemas.microsoft.com/office/drawing/2014/main" id="{D62914F2-61BA-F33A-C999-786E7BD4986C}"/>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507" name="Freeform 506">
                <a:extLst>
                  <a:ext uri="{FF2B5EF4-FFF2-40B4-BE49-F238E27FC236}">
                    <a16:creationId xmlns:a16="http://schemas.microsoft.com/office/drawing/2014/main" id="{54E1C5C6-CD20-92ED-D96D-16A25FF7E3E2}"/>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08" name="Freeform 507">
                <a:extLst>
                  <a:ext uri="{FF2B5EF4-FFF2-40B4-BE49-F238E27FC236}">
                    <a16:creationId xmlns:a16="http://schemas.microsoft.com/office/drawing/2014/main" id="{7FB78DCB-81E9-8C19-0EFF-9011CF0A0E3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09" name="Freeform 508">
                <a:extLst>
                  <a:ext uri="{FF2B5EF4-FFF2-40B4-BE49-F238E27FC236}">
                    <a16:creationId xmlns:a16="http://schemas.microsoft.com/office/drawing/2014/main" id="{3DF53267-9908-B29D-B6CB-483B54DDFE5D}"/>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0" name="Freeform 509">
                <a:extLst>
                  <a:ext uri="{FF2B5EF4-FFF2-40B4-BE49-F238E27FC236}">
                    <a16:creationId xmlns:a16="http://schemas.microsoft.com/office/drawing/2014/main" id="{6AEAD5AB-34B0-C53D-870D-70C5E97D8265}"/>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1" name="Freeform 510">
                <a:extLst>
                  <a:ext uri="{FF2B5EF4-FFF2-40B4-BE49-F238E27FC236}">
                    <a16:creationId xmlns:a16="http://schemas.microsoft.com/office/drawing/2014/main" id="{CA02E411-9597-2E34-9B18-CA82A891B7C7}"/>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512" name="Freeform 511">
                <a:extLst>
                  <a:ext uri="{FF2B5EF4-FFF2-40B4-BE49-F238E27FC236}">
                    <a16:creationId xmlns:a16="http://schemas.microsoft.com/office/drawing/2014/main" id="{EF201612-C3B0-78CE-BD54-10E92F3C68F4}"/>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3" name="Freeform 512">
                <a:extLst>
                  <a:ext uri="{FF2B5EF4-FFF2-40B4-BE49-F238E27FC236}">
                    <a16:creationId xmlns:a16="http://schemas.microsoft.com/office/drawing/2014/main" id="{D8EA0B4B-9B0C-4811-611E-7CC2B9F62A8D}"/>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4" name="Freeform 513">
                <a:extLst>
                  <a:ext uri="{FF2B5EF4-FFF2-40B4-BE49-F238E27FC236}">
                    <a16:creationId xmlns:a16="http://schemas.microsoft.com/office/drawing/2014/main" id="{175D98E4-363F-7A1E-6E46-A236F5883853}"/>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515" name="Freeform 514">
                <a:extLst>
                  <a:ext uri="{FF2B5EF4-FFF2-40B4-BE49-F238E27FC236}">
                    <a16:creationId xmlns:a16="http://schemas.microsoft.com/office/drawing/2014/main" id="{A1B7CA03-D62A-7684-D87B-FE6C3F766ECE}"/>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6" name="Freeform 515">
                <a:extLst>
                  <a:ext uri="{FF2B5EF4-FFF2-40B4-BE49-F238E27FC236}">
                    <a16:creationId xmlns:a16="http://schemas.microsoft.com/office/drawing/2014/main" id="{0530B3E2-A8BE-CA71-15ED-EFDD457A748B}"/>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7" name="Freeform 516">
                <a:extLst>
                  <a:ext uri="{FF2B5EF4-FFF2-40B4-BE49-F238E27FC236}">
                    <a16:creationId xmlns:a16="http://schemas.microsoft.com/office/drawing/2014/main" id="{0373BA15-7671-1DEF-AB95-5E0A4277915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8" name="Freeform 517">
                <a:extLst>
                  <a:ext uri="{FF2B5EF4-FFF2-40B4-BE49-F238E27FC236}">
                    <a16:creationId xmlns:a16="http://schemas.microsoft.com/office/drawing/2014/main" id="{D2F75F76-4F36-CFBE-FBBA-082DFD709EF7}"/>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9" name="Freeform 518">
                <a:extLst>
                  <a:ext uri="{FF2B5EF4-FFF2-40B4-BE49-F238E27FC236}">
                    <a16:creationId xmlns:a16="http://schemas.microsoft.com/office/drawing/2014/main" id="{880E691D-B2ED-B389-ED38-351C8FB83069}"/>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520" name="Freeform 519">
                <a:extLst>
                  <a:ext uri="{FF2B5EF4-FFF2-40B4-BE49-F238E27FC236}">
                    <a16:creationId xmlns:a16="http://schemas.microsoft.com/office/drawing/2014/main" id="{D70AD7D9-DC33-BB7B-862E-53BDFD614BE9}"/>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521" name="Freeform 520">
                <a:extLst>
                  <a:ext uri="{FF2B5EF4-FFF2-40B4-BE49-F238E27FC236}">
                    <a16:creationId xmlns:a16="http://schemas.microsoft.com/office/drawing/2014/main" id="{37357289-1A58-8BCD-B806-74670C2316F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2" name="Freeform 521">
                <a:extLst>
                  <a:ext uri="{FF2B5EF4-FFF2-40B4-BE49-F238E27FC236}">
                    <a16:creationId xmlns:a16="http://schemas.microsoft.com/office/drawing/2014/main" id="{64A9098D-D3CE-5737-1620-C981D76A48E7}"/>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23" name="Freeform 522">
                <a:extLst>
                  <a:ext uri="{FF2B5EF4-FFF2-40B4-BE49-F238E27FC236}">
                    <a16:creationId xmlns:a16="http://schemas.microsoft.com/office/drawing/2014/main" id="{8979ADC0-2299-544F-4D42-A585AAA1D773}"/>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24" name="Freeform 523">
                <a:extLst>
                  <a:ext uri="{FF2B5EF4-FFF2-40B4-BE49-F238E27FC236}">
                    <a16:creationId xmlns:a16="http://schemas.microsoft.com/office/drawing/2014/main" id="{0AA72C6A-2C48-CAE4-F08D-E098BB19C7BC}"/>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25" name="Freeform 524">
                <a:extLst>
                  <a:ext uri="{FF2B5EF4-FFF2-40B4-BE49-F238E27FC236}">
                    <a16:creationId xmlns:a16="http://schemas.microsoft.com/office/drawing/2014/main" id="{EC6E8422-DF16-A98C-503F-1A2825EAA967}"/>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526" name="Freeform 525">
                <a:extLst>
                  <a:ext uri="{FF2B5EF4-FFF2-40B4-BE49-F238E27FC236}">
                    <a16:creationId xmlns:a16="http://schemas.microsoft.com/office/drawing/2014/main" id="{E451219E-5413-FA39-7F84-C227AB2A8A86}"/>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7" name="Freeform 526">
                <a:extLst>
                  <a:ext uri="{FF2B5EF4-FFF2-40B4-BE49-F238E27FC236}">
                    <a16:creationId xmlns:a16="http://schemas.microsoft.com/office/drawing/2014/main" id="{C029EBCF-550F-3A00-72C8-54E1FA8B3DA9}"/>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627" name="Group 626">
              <a:extLst>
                <a:ext uri="{FF2B5EF4-FFF2-40B4-BE49-F238E27FC236}">
                  <a16:creationId xmlns:a16="http://schemas.microsoft.com/office/drawing/2014/main" id="{FBC5FCDF-B436-F6A3-3FB6-5605940F668E}"/>
                </a:ext>
              </a:extLst>
            </p:cNvPr>
            <p:cNvGrpSpPr/>
            <p:nvPr userDrawn="1"/>
          </p:nvGrpSpPr>
          <p:grpSpPr>
            <a:xfrm>
              <a:off x="1940181" y="4723384"/>
              <a:ext cx="745416" cy="122935"/>
              <a:chOff x="2055895" y="4723384"/>
              <a:chExt cx="745416" cy="122935"/>
            </a:xfrm>
          </p:grpSpPr>
          <p:sp>
            <p:nvSpPr>
              <p:cNvPr id="528" name="Freeform 527">
                <a:extLst>
                  <a:ext uri="{FF2B5EF4-FFF2-40B4-BE49-F238E27FC236}">
                    <a16:creationId xmlns:a16="http://schemas.microsoft.com/office/drawing/2014/main" id="{D15DE007-062F-C91E-013E-968B84C7D0A2}"/>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529" name="Freeform 528">
                <a:extLst>
                  <a:ext uri="{FF2B5EF4-FFF2-40B4-BE49-F238E27FC236}">
                    <a16:creationId xmlns:a16="http://schemas.microsoft.com/office/drawing/2014/main" id="{B320DC48-2E2B-4E61-AAA5-0EA471042BF4}"/>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530" name="Freeform 529">
                <a:extLst>
                  <a:ext uri="{FF2B5EF4-FFF2-40B4-BE49-F238E27FC236}">
                    <a16:creationId xmlns:a16="http://schemas.microsoft.com/office/drawing/2014/main" id="{EE918484-8FCD-D84B-40A0-D07546E74217}"/>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531" name="Freeform 530">
                <a:extLst>
                  <a:ext uri="{FF2B5EF4-FFF2-40B4-BE49-F238E27FC236}">
                    <a16:creationId xmlns:a16="http://schemas.microsoft.com/office/drawing/2014/main" id="{129F9C20-A4A6-4FC1-3EA4-67DD069F0E2F}"/>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532" name="Freeform 531">
                <a:extLst>
                  <a:ext uri="{FF2B5EF4-FFF2-40B4-BE49-F238E27FC236}">
                    <a16:creationId xmlns:a16="http://schemas.microsoft.com/office/drawing/2014/main" id="{39CA71EA-7181-84DD-D1B5-D715FDF77598}"/>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33" name="Freeform 532">
                <a:extLst>
                  <a:ext uri="{FF2B5EF4-FFF2-40B4-BE49-F238E27FC236}">
                    <a16:creationId xmlns:a16="http://schemas.microsoft.com/office/drawing/2014/main" id="{E4345EA9-15E0-3885-1C92-91F83C1BB8F0}"/>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534" name="Freeform 533">
                <a:extLst>
                  <a:ext uri="{FF2B5EF4-FFF2-40B4-BE49-F238E27FC236}">
                    <a16:creationId xmlns:a16="http://schemas.microsoft.com/office/drawing/2014/main" id="{123B3629-3545-2316-82D1-F0D21BCBBBC0}"/>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535" name="Freeform 534">
                <a:extLst>
                  <a:ext uri="{FF2B5EF4-FFF2-40B4-BE49-F238E27FC236}">
                    <a16:creationId xmlns:a16="http://schemas.microsoft.com/office/drawing/2014/main" id="{1D06A95F-0128-9779-C1F0-AF6780447631}"/>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536" name="Freeform 535">
                <a:extLst>
                  <a:ext uri="{FF2B5EF4-FFF2-40B4-BE49-F238E27FC236}">
                    <a16:creationId xmlns:a16="http://schemas.microsoft.com/office/drawing/2014/main" id="{0B5AD91F-B29C-1992-22AA-7CCD50EB1405}"/>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537" name="Freeform 536">
                <a:extLst>
                  <a:ext uri="{FF2B5EF4-FFF2-40B4-BE49-F238E27FC236}">
                    <a16:creationId xmlns:a16="http://schemas.microsoft.com/office/drawing/2014/main" id="{61CA5669-A5AB-B839-F2B4-76B216071C80}"/>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538" name="Freeform 537">
                <a:extLst>
                  <a:ext uri="{FF2B5EF4-FFF2-40B4-BE49-F238E27FC236}">
                    <a16:creationId xmlns:a16="http://schemas.microsoft.com/office/drawing/2014/main" id="{00A349EE-5D63-3DFA-F131-9811801A1902}"/>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539" name="Freeform 538">
                <a:extLst>
                  <a:ext uri="{FF2B5EF4-FFF2-40B4-BE49-F238E27FC236}">
                    <a16:creationId xmlns:a16="http://schemas.microsoft.com/office/drawing/2014/main" id="{B9A7120A-317F-B576-CB73-EE7EE7B6C159}"/>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540" name="Freeform 539">
                <a:extLst>
                  <a:ext uri="{FF2B5EF4-FFF2-40B4-BE49-F238E27FC236}">
                    <a16:creationId xmlns:a16="http://schemas.microsoft.com/office/drawing/2014/main" id="{9F65FAF8-A221-B9AD-73CF-4EEC596EBCEF}"/>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41" name="Freeform 540">
                <a:extLst>
                  <a:ext uri="{FF2B5EF4-FFF2-40B4-BE49-F238E27FC236}">
                    <a16:creationId xmlns:a16="http://schemas.microsoft.com/office/drawing/2014/main" id="{D5A5B3D1-CABC-98A4-16EB-7D9B988BBE4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542" name="Freeform 541">
                <a:extLst>
                  <a:ext uri="{FF2B5EF4-FFF2-40B4-BE49-F238E27FC236}">
                    <a16:creationId xmlns:a16="http://schemas.microsoft.com/office/drawing/2014/main" id="{7CC49013-657F-E088-3700-02FC497B1C5F}"/>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43" name="Freeform 542">
                <a:extLst>
                  <a:ext uri="{FF2B5EF4-FFF2-40B4-BE49-F238E27FC236}">
                    <a16:creationId xmlns:a16="http://schemas.microsoft.com/office/drawing/2014/main" id="{6FB21EB5-0B2D-DEA3-350E-8778B4590FF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44" name="Freeform 543">
                <a:extLst>
                  <a:ext uri="{FF2B5EF4-FFF2-40B4-BE49-F238E27FC236}">
                    <a16:creationId xmlns:a16="http://schemas.microsoft.com/office/drawing/2014/main" id="{FB45B426-5912-C719-FB37-5712980F655A}"/>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545" name="Freeform 544">
                <a:extLst>
                  <a:ext uri="{FF2B5EF4-FFF2-40B4-BE49-F238E27FC236}">
                    <a16:creationId xmlns:a16="http://schemas.microsoft.com/office/drawing/2014/main" id="{1868A739-1C15-A8E1-ED1B-83E242B00A42}"/>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546" name="Freeform 545">
                <a:extLst>
                  <a:ext uri="{FF2B5EF4-FFF2-40B4-BE49-F238E27FC236}">
                    <a16:creationId xmlns:a16="http://schemas.microsoft.com/office/drawing/2014/main" id="{703CCB98-414F-9802-5279-64AB999A8029}"/>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47" name="Freeform 546">
                <a:extLst>
                  <a:ext uri="{FF2B5EF4-FFF2-40B4-BE49-F238E27FC236}">
                    <a16:creationId xmlns:a16="http://schemas.microsoft.com/office/drawing/2014/main" id="{97957FB6-3E5A-C8F0-34D1-3EAACB93467C}"/>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548" name="Freeform 547">
                <a:extLst>
                  <a:ext uri="{FF2B5EF4-FFF2-40B4-BE49-F238E27FC236}">
                    <a16:creationId xmlns:a16="http://schemas.microsoft.com/office/drawing/2014/main" id="{47EC6305-97BF-F7A4-51E8-4B7A7E2742AB}"/>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549" name="Freeform 548">
                <a:extLst>
                  <a:ext uri="{FF2B5EF4-FFF2-40B4-BE49-F238E27FC236}">
                    <a16:creationId xmlns:a16="http://schemas.microsoft.com/office/drawing/2014/main" id="{E72E2E5D-6D5B-E49A-1FB4-6AF63FC7DE00}"/>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550" name="Freeform 549">
                <a:extLst>
                  <a:ext uri="{FF2B5EF4-FFF2-40B4-BE49-F238E27FC236}">
                    <a16:creationId xmlns:a16="http://schemas.microsoft.com/office/drawing/2014/main" id="{6B57B4C8-C3DA-9854-21F2-263501CC57B7}"/>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51" name="Freeform 550">
                <a:extLst>
                  <a:ext uri="{FF2B5EF4-FFF2-40B4-BE49-F238E27FC236}">
                    <a16:creationId xmlns:a16="http://schemas.microsoft.com/office/drawing/2014/main" id="{F699712E-C261-2BBB-0F26-F61E3CFBE24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552" name="Freeform 551">
                <a:extLst>
                  <a:ext uri="{FF2B5EF4-FFF2-40B4-BE49-F238E27FC236}">
                    <a16:creationId xmlns:a16="http://schemas.microsoft.com/office/drawing/2014/main" id="{94ECD873-7D9F-BB88-8F81-752C8B12D157}"/>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53" name="Freeform 552">
                <a:extLst>
                  <a:ext uri="{FF2B5EF4-FFF2-40B4-BE49-F238E27FC236}">
                    <a16:creationId xmlns:a16="http://schemas.microsoft.com/office/drawing/2014/main" id="{0F43B476-0AFB-FBEB-98E9-E86AEF3F9071}"/>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554" name="Freeform 553">
                <a:extLst>
                  <a:ext uri="{FF2B5EF4-FFF2-40B4-BE49-F238E27FC236}">
                    <a16:creationId xmlns:a16="http://schemas.microsoft.com/office/drawing/2014/main" id="{F8DD87B9-4585-6DB7-E349-414BB2415EB7}"/>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555" name="Freeform 554">
                <a:extLst>
                  <a:ext uri="{FF2B5EF4-FFF2-40B4-BE49-F238E27FC236}">
                    <a16:creationId xmlns:a16="http://schemas.microsoft.com/office/drawing/2014/main" id="{22B5F3BD-8679-C9F9-2735-E52A952CB378}"/>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556" name="Freeform 555">
                <a:extLst>
                  <a:ext uri="{FF2B5EF4-FFF2-40B4-BE49-F238E27FC236}">
                    <a16:creationId xmlns:a16="http://schemas.microsoft.com/office/drawing/2014/main" id="{5696D43C-35B5-20AE-E8AD-27D577C1FFE6}"/>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557" name="Freeform 556">
                <a:extLst>
                  <a:ext uri="{FF2B5EF4-FFF2-40B4-BE49-F238E27FC236}">
                    <a16:creationId xmlns:a16="http://schemas.microsoft.com/office/drawing/2014/main" id="{BAFC77DD-01C0-53E0-FC02-A3121AEC1AFE}"/>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558" name="Freeform 557">
                <a:extLst>
                  <a:ext uri="{FF2B5EF4-FFF2-40B4-BE49-F238E27FC236}">
                    <a16:creationId xmlns:a16="http://schemas.microsoft.com/office/drawing/2014/main" id="{5D031443-B2BF-68C4-5A48-6BA9C89644A1}"/>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59" name="Freeform 558">
                <a:extLst>
                  <a:ext uri="{FF2B5EF4-FFF2-40B4-BE49-F238E27FC236}">
                    <a16:creationId xmlns:a16="http://schemas.microsoft.com/office/drawing/2014/main" id="{B972D882-8746-5962-81F0-3D1361D13C23}"/>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560" name="Freeform 559">
                <a:extLst>
                  <a:ext uri="{FF2B5EF4-FFF2-40B4-BE49-F238E27FC236}">
                    <a16:creationId xmlns:a16="http://schemas.microsoft.com/office/drawing/2014/main" id="{87CB8ACA-DF79-997F-735B-11CD2205E469}"/>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pic>
          <p:nvPicPr>
            <p:cNvPr id="8" name="Graphic 7">
              <a:extLst>
                <a:ext uri="{FF2B5EF4-FFF2-40B4-BE49-F238E27FC236}">
                  <a16:creationId xmlns:a16="http://schemas.microsoft.com/office/drawing/2014/main" id="{FA984459-DE02-D722-4C29-DE6203B544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722802" y="4695365"/>
              <a:ext cx="563228" cy="163518"/>
            </a:xfrm>
            <a:prstGeom prst="rect">
              <a:avLst/>
            </a:prstGeom>
          </p:spPr>
        </p:pic>
      </p:grpSp>
    </p:spTree>
    <p:extLst>
      <p:ext uri="{BB962C8B-B14F-4D97-AF65-F5344CB8AC3E}">
        <p14:creationId xmlns:p14="http://schemas.microsoft.com/office/powerpoint/2010/main" val="113495573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left">
    <p:bg>
      <p:bgPr>
        <a:solidFill>
          <a:schemeClr val="bg1"/>
        </a:solidFill>
        <a:effectLst/>
      </p:bgPr>
    </p:bg>
    <p:spTree>
      <p:nvGrpSpPr>
        <p:cNvPr id="1" name=""/>
        <p:cNvGrpSpPr/>
        <p:nvPr/>
      </p:nvGrpSpPr>
      <p:grpSpPr>
        <a:xfrm>
          <a:off x="0" y="0"/>
          <a:ext cx="0" cy="0"/>
          <a:chOff x="0" y="0"/>
          <a:chExt cx="0" cy="0"/>
        </a:xfrm>
      </p:grpSpPr>
      <p:sp>
        <p:nvSpPr>
          <p:cNvPr id="3" name="Picture Placeholder 13">
            <a:extLst>
              <a:ext uri="{FF2B5EF4-FFF2-40B4-BE49-F238E27FC236}">
                <a16:creationId xmlns:a16="http://schemas.microsoft.com/office/drawing/2014/main" id="{54539A10-8185-B943-C73A-D2F53BA2573A}"/>
              </a:ext>
            </a:extLst>
          </p:cNvPr>
          <p:cNvSpPr>
            <a:spLocks noGrp="1"/>
          </p:cNvSpPr>
          <p:nvPr>
            <p:ph type="pic" sz="quarter" idx="13" hasCustomPrompt="1"/>
          </p:nvPr>
        </p:nvSpPr>
        <p:spPr>
          <a:xfrm>
            <a:off x="-1" y="-1"/>
            <a:ext cx="4952999" cy="6854399"/>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dirty="0"/>
              <a:t>Click to insert picture</a:t>
            </a:r>
          </a:p>
        </p:txBody>
      </p:sp>
      <p:sp>
        <p:nvSpPr>
          <p:cNvPr id="2" name="Title 1"/>
          <p:cNvSpPr>
            <a:spLocks noGrp="1"/>
          </p:cNvSpPr>
          <p:nvPr>
            <p:ph type="title" hasCustomPrompt="1"/>
          </p:nvPr>
        </p:nvSpPr>
        <p:spPr>
          <a:xfrm>
            <a:off x="5486400" y="1454604"/>
            <a:ext cx="6220797" cy="1521816"/>
          </a:xfrm>
        </p:spPr>
        <p:txBody>
          <a:bodyPr anchor="b" anchorCtr="0">
            <a:normAutofit/>
          </a:bodyPr>
          <a:lstStyle>
            <a:lvl1pPr>
              <a:defRPr sz="3200"/>
            </a:lvl1pPr>
          </a:lstStyle>
          <a:p>
            <a:r>
              <a:rPr lang="en-GB"/>
              <a:t>Click to edit title</a:t>
            </a:r>
            <a:endParaRPr lang="en-US" dirty="0"/>
          </a:p>
        </p:txBody>
      </p:sp>
      <p:sp>
        <p:nvSpPr>
          <p:cNvPr id="7" name="Slide Number Placeholder 6">
            <a:extLst>
              <a:ext uri="{FF2B5EF4-FFF2-40B4-BE49-F238E27FC236}">
                <a16:creationId xmlns:a16="http://schemas.microsoft.com/office/drawing/2014/main" id="{96290682-9E77-E549-9559-0CA4A34AD1E0}"/>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dirty="0"/>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5486399" y="3019863"/>
            <a:ext cx="622079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sp>
        <p:nvSpPr>
          <p:cNvPr id="5" name="Text Placeholder 4">
            <a:extLst>
              <a:ext uri="{FF2B5EF4-FFF2-40B4-BE49-F238E27FC236}">
                <a16:creationId xmlns:a16="http://schemas.microsoft.com/office/drawing/2014/main" id="{D36350C5-566C-7FB1-6655-42DCFD6FA2F0}"/>
              </a:ext>
            </a:extLst>
          </p:cNvPr>
          <p:cNvSpPr>
            <a:spLocks noGrp="1"/>
          </p:cNvSpPr>
          <p:nvPr>
            <p:ph type="body" sz="quarter" idx="14"/>
          </p:nvPr>
        </p:nvSpPr>
        <p:spPr>
          <a:xfrm>
            <a:off x="5486400" y="3668185"/>
            <a:ext cx="6220797" cy="2552700"/>
          </a:xfrm>
          <a:prstGeom prst="rect">
            <a:avLst/>
          </a:prstGeom>
        </p:spPr>
        <p:txBody>
          <a:bodyPr/>
          <a:lstStyle>
            <a:lvl1pPr marL="304792" indent="-304792">
              <a:buClr>
                <a:schemeClr val="tx2"/>
              </a:buClr>
              <a:buFont typeface="+mj-lt"/>
              <a:buAutoNum type="arabicPeriod"/>
              <a:defRPr/>
            </a:lvl1pPr>
            <a:lvl2pPr marL="544786" indent="-304792">
              <a:buClr>
                <a:schemeClr val="tx2"/>
              </a:buClr>
              <a:buFont typeface="+mj-lt"/>
              <a:buAutoNum type="arabicPeriod"/>
              <a:defRPr/>
            </a:lvl2pPr>
            <a:lvl3pPr marL="784780" indent="-304792">
              <a:buClr>
                <a:schemeClr val="tx2"/>
              </a:buClr>
              <a:buFont typeface="+mj-lt"/>
              <a:buAutoNum type="arabicPeriod"/>
              <a:defRPr/>
            </a:lvl3pPr>
            <a:lvl4pPr marL="1024774" indent="-304792">
              <a:buClr>
                <a:schemeClr val="tx2"/>
              </a:buClr>
              <a:buFont typeface="+mj-lt"/>
              <a:buAutoNum type="arabicPeriod"/>
              <a:defRPr/>
            </a:lvl4pPr>
            <a:lvl5pPr marL="1264768" indent="-304792">
              <a:buClr>
                <a:schemeClr val="tx2"/>
              </a:buClr>
              <a:buFont typeface="+mj-lt"/>
              <a:buAutoNum type="arabicPeriod"/>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D"/>
          </a:p>
        </p:txBody>
      </p:sp>
    </p:spTree>
    <p:extLst>
      <p:ext uri="{BB962C8B-B14F-4D97-AF65-F5344CB8AC3E}">
        <p14:creationId xmlns:p14="http://schemas.microsoft.com/office/powerpoint/2010/main" val="3205169957"/>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173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right">
    <p:bg>
      <p:bgPr>
        <a:solidFill>
          <a:schemeClr val="bg1"/>
        </a:solidFill>
        <a:effectLst/>
      </p:bgPr>
    </p:b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0E685C61-33B4-7DE5-2D4E-EF4E162DFD06}"/>
              </a:ext>
            </a:extLst>
          </p:cNvPr>
          <p:cNvSpPr>
            <a:spLocks noGrp="1"/>
          </p:cNvSpPr>
          <p:nvPr>
            <p:ph type="body" sz="quarter" idx="14" hasCustomPrompt="1"/>
          </p:nvPr>
        </p:nvSpPr>
        <p:spPr>
          <a:xfrm>
            <a:off x="480001" y="3032349"/>
            <a:ext cx="5904001"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7" name="Group 6">
            <a:extLst>
              <a:ext uri="{FF2B5EF4-FFF2-40B4-BE49-F238E27FC236}">
                <a16:creationId xmlns:a16="http://schemas.microsoft.com/office/drawing/2014/main" id="{6AB50CF0-EA52-FCC8-BF29-3A767A429DD2}"/>
              </a:ext>
            </a:extLst>
          </p:cNvPr>
          <p:cNvGrpSpPr/>
          <p:nvPr userDrawn="1"/>
        </p:nvGrpSpPr>
        <p:grpSpPr>
          <a:xfrm>
            <a:off x="480001" y="465348"/>
            <a:ext cx="1085908" cy="821904"/>
            <a:chOff x="1001339" y="887094"/>
            <a:chExt cx="814431" cy="616428"/>
          </a:xfrm>
        </p:grpSpPr>
        <p:sp>
          <p:nvSpPr>
            <p:cNvPr id="8" name="Freeform 7">
              <a:extLst>
                <a:ext uri="{FF2B5EF4-FFF2-40B4-BE49-F238E27FC236}">
                  <a16:creationId xmlns:a16="http://schemas.microsoft.com/office/drawing/2014/main" id="{2FFD8C9E-832E-0D4E-0DB2-387C60E34B58}"/>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E0C5FFEA-587C-D5A5-76CE-3E4A9EC84323}"/>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B230242B-55EC-40C5-43DE-5EF89434EE14}"/>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3" name="Title 12">
            <a:extLst>
              <a:ext uri="{FF2B5EF4-FFF2-40B4-BE49-F238E27FC236}">
                <a16:creationId xmlns:a16="http://schemas.microsoft.com/office/drawing/2014/main" id="{33E193A8-03C3-06A7-C306-44D921512444}"/>
              </a:ext>
            </a:extLst>
          </p:cNvPr>
          <p:cNvSpPr>
            <a:spLocks noGrp="1"/>
          </p:cNvSpPr>
          <p:nvPr>
            <p:ph type="title" hasCustomPrompt="1"/>
          </p:nvPr>
        </p:nvSpPr>
        <p:spPr>
          <a:xfrm>
            <a:off x="480001" y="2168956"/>
            <a:ext cx="5904001" cy="806400"/>
          </a:xfrm>
        </p:spPr>
        <p:txBody>
          <a:bodyPr anchor="b" anchorCtr="0"/>
          <a:lstStyle/>
          <a:p>
            <a:r>
              <a:rPr lang="en-GB"/>
              <a:t>Click to edit Title</a:t>
            </a:r>
            <a:endParaRPr lang="en-AD"/>
          </a:p>
        </p:txBody>
      </p:sp>
      <p:sp>
        <p:nvSpPr>
          <p:cNvPr id="17" name="Rectangle 16">
            <a:extLst>
              <a:ext uri="{FF2B5EF4-FFF2-40B4-BE49-F238E27FC236}">
                <a16:creationId xmlns:a16="http://schemas.microsoft.com/office/drawing/2014/main" id="{7F7ACFDB-926D-861C-E807-86D09F3BFEAE}"/>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3" name="Slide Number Placeholder 6">
            <a:extLst>
              <a:ext uri="{FF2B5EF4-FFF2-40B4-BE49-F238E27FC236}">
                <a16:creationId xmlns:a16="http://schemas.microsoft.com/office/drawing/2014/main" id="{4F13B68D-052A-86E9-1342-CECA7E7C0C8F}"/>
              </a:ext>
            </a:extLst>
          </p:cNvPr>
          <p:cNvSpPr>
            <a:spLocks noGrp="1"/>
          </p:cNvSpPr>
          <p:nvPr>
            <p:ph type="sldNum" sz="quarter" idx="15"/>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1A1ED84F-8DAA-0BD9-E502-0E7D14540960}"/>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 name="Picture Placeholder 13">
            <a:extLst>
              <a:ext uri="{FF2B5EF4-FFF2-40B4-BE49-F238E27FC236}">
                <a16:creationId xmlns:a16="http://schemas.microsoft.com/office/drawing/2014/main" id="{781AE3B5-B9EA-9536-61BE-CD866730579C}"/>
              </a:ext>
            </a:extLst>
          </p:cNvPr>
          <p:cNvSpPr>
            <a:spLocks noGrp="1"/>
          </p:cNvSpPr>
          <p:nvPr>
            <p:ph type="pic" sz="quarter" idx="13" hasCustomPrompt="1"/>
          </p:nvPr>
        </p:nvSpPr>
        <p:spPr>
          <a:xfrm>
            <a:off x="7849406" y="846534"/>
            <a:ext cx="3732189" cy="5164935"/>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dirty="0"/>
              <a:t>Click to insert picture</a:t>
            </a:r>
          </a:p>
        </p:txBody>
      </p:sp>
      <p:sp>
        <p:nvSpPr>
          <p:cNvPr id="12" name="Text Placeholder 11">
            <a:extLst>
              <a:ext uri="{FF2B5EF4-FFF2-40B4-BE49-F238E27FC236}">
                <a16:creationId xmlns:a16="http://schemas.microsoft.com/office/drawing/2014/main" id="{E74519A0-94D6-E602-EC9C-CD556D3E041E}"/>
              </a:ext>
            </a:extLst>
          </p:cNvPr>
          <p:cNvSpPr>
            <a:spLocks noGrp="1"/>
          </p:cNvSpPr>
          <p:nvPr>
            <p:ph type="body" sz="quarter" idx="16"/>
          </p:nvPr>
        </p:nvSpPr>
        <p:spPr>
          <a:xfrm>
            <a:off x="480485" y="3694177"/>
            <a:ext cx="5903383" cy="229550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D"/>
          </a:p>
        </p:txBody>
      </p:sp>
    </p:spTree>
    <p:extLst>
      <p:ext uri="{BB962C8B-B14F-4D97-AF65-F5344CB8AC3E}">
        <p14:creationId xmlns:p14="http://schemas.microsoft.com/office/powerpoint/2010/main" val="407664455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l&amp; picture righ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DE52B53-2E2A-DDD2-16B7-B1472446E7F9}"/>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 name="Title 1"/>
          <p:cNvSpPr>
            <a:spLocks noGrp="1"/>
          </p:cNvSpPr>
          <p:nvPr>
            <p:ph type="title" hasCustomPrompt="1"/>
          </p:nvPr>
        </p:nvSpPr>
        <p:spPr>
          <a:xfrm>
            <a:off x="480002" y="307201"/>
            <a:ext cx="6090940" cy="782924"/>
          </a:xfrm>
        </p:spPr>
        <p:txBody>
          <a:bodyPr>
            <a:normAutofit/>
          </a:bodyPr>
          <a:lstStyle>
            <a:lvl1pPr>
              <a:defRPr sz="3200"/>
            </a:lvl1pPr>
          </a:lstStyle>
          <a:p>
            <a:r>
              <a:rPr lang="en-GB"/>
              <a:t>Click to edit title</a:t>
            </a:r>
            <a:endParaRPr lang="en-US" dirty="0"/>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480002" y="1090124"/>
            <a:ext cx="6090940"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sp>
        <p:nvSpPr>
          <p:cNvPr id="15" name="Picture Placeholder 13">
            <a:extLst>
              <a:ext uri="{FF2B5EF4-FFF2-40B4-BE49-F238E27FC236}">
                <a16:creationId xmlns:a16="http://schemas.microsoft.com/office/drawing/2014/main" id="{1F2A000D-622C-AA0F-68A6-969FC0591912}"/>
              </a:ext>
            </a:extLst>
          </p:cNvPr>
          <p:cNvSpPr>
            <a:spLocks noGrp="1"/>
          </p:cNvSpPr>
          <p:nvPr>
            <p:ph type="pic" sz="quarter" idx="13" hasCustomPrompt="1"/>
          </p:nvPr>
        </p:nvSpPr>
        <p:spPr>
          <a:xfrm>
            <a:off x="7705725" y="2111134"/>
            <a:ext cx="4001476" cy="3775317"/>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dirty="0"/>
              <a:t>Click to insert picture</a:t>
            </a:r>
          </a:p>
        </p:txBody>
      </p:sp>
      <p:sp>
        <p:nvSpPr>
          <p:cNvPr id="16" name="TextBox 15">
            <a:extLst>
              <a:ext uri="{FF2B5EF4-FFF2-40B4-BE49-F238E27FC236}">
                <a16:creationId xmlns:a16="http://schemas.microsoft.com/office/drawing/2014/main" id="{EAFD0985-BB40-8566-3F99-5B9D0BD3716B}"/>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3" name="Slide Number Placeholder 6">
            <a:extLst>
              <a:ext uri="{FF2B5EF4-FFF2-40B4-BE49-F238E27FC236}">
                <a16:creationId xmlns:a16="http://schemas.microsoft.com/office/drawing/2014/main" id="{1B0B5123-2789-2FD5-EE59-CB47BE10AED5}"/>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dirty="0"/>
          </a:p>
        </p:txBody>
      </p:sp>
      <p:sp>
        <p:nvSpPr>
          <p:cNvPr id="14" name="Text Placeholder 13">
            <a:extLst>
              <a:ext uri="{FF2B5EF4-FFF2-40B4-BE49-F238E27FC236}">
                <a16:creationId xmlns:a16="http://schemas.microsoft.com/office/drawing/2014/main" id="{2A0300F7-4148-73C3-0475-866B99D76BE8}"/>
              </a:ext>
            </a:extLst>
          </p:cNvPr>
          <p:cNvSpPr>
            <a:spLocks noGrp="1"/>
          </p:cNvSpPr>
          <p:nvPr>
            <p:ph type="body" sz="quarter" idx="14"/>
          </p:nvPr>
        </p:nvSpPr>
        <p:spPr>
          <a:xfrm>
            <a:off x="479194" y="2029884"/>
            <a:ext cx="6090940" cy="3856567"/>
          </a:xfrm>
          <a:prstGeom prst="rect">
            <a:avLst/>
          </a:prstGeo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D"/>
          </a:p>
        </p:txBody>
      </p:sp>
    </p:spTree>
    <p:extLst>
      <p:ext uri="{BB962C8B-B14F-4D97-AF65-F5344CB8AC3E}">
        <p14:creationId xmlns:p14="http://schemas.microsoft.com/office/powerpoint/2010/main" val="3349326450"/>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2684747" cy="3985195"/>
          </a:xfrm>
          <a:prstGeom prst="rect">
            <a:avLst/>
          </a:prstGeom>
        </p:spPr>
        <p:txBody>
          <a:bodyPr>
            <a:normAutofit/>
          </a:bodyPr>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29477956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A923A-4155-777F-8BF6-2A8EE5B1C9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9A24BF-4E57-C067-95FE-D21F635391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9E4017-0EA7-0D4A-72C5-30FF867ECD0A}"/>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F2D11EE8-2157-1C84-8F05-BF182429A5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ABDA24-3CF6-0821-03FF-25DF420A473C}"/>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3919453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9749365" cy="3985195"/>
          </a:xfrm>
          <a:prstGeom prst="rect">
            <a:avLst/>
          </a:prstGeom>
        </p:spPr>
        <p:txBody>
          <a:bodyPr>
            <a:normAutofit/>
          </a:bodyPr>
          <a:lstStyle>
            <a:lvl1pPr marL="228594" indent="-228594">
              <a:buFont typeface="Arial" panose="020B0604020202020204" pitchFamily="34" charset="0"/>
              <a:buChar char="•"/>
              <a:defRPr/>
            </a:lvl1pPr>
          </a:lstStyle>
          <a:p>
            <a:pPr lvl="0"/>
            <a:r>
              <a:rPr lang="en-GB"/>
              <a:t>Click to edit Master text styles</a:t>
            </a:r>
          </a:p>
        </p:txBody>
      </p:sp>
    </p:spTree>
    <p:extLst>
      <p:ext uri="{BB962C8B-B14F-4D97-AF65-F5344CB8AC3E}">
        <p14:creationId xmlns:p14="http://schemas.microsoft.com/office/powerpoint/2010/main" val="26542642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in Point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623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3" y="2010511"/>
            <a:ext cx="11226716" cy="579120"/>
          </a:xfrm>
          <a:prstGeom prst="rect">
            <a:avLst/>
          </a:prstGeom>
        </p:spPr>
        <p:txBody>
          <a:bodyPr anchor="ctr" anchorCtr="0">
            <a:normAutofit/>
          </a:bodyPr>
          <a:lstStyle>
            <a:lvl1pPr marL="0" indent="0" algn="ctr">
              <a:buNone/>
              <a:defRPr/>
            </a:lvl1pPr>
          </a:lstStyle>
          <a:p>
            <a:pPr lvl="0"/>
            <a:r>
              <a:rPr lang="en-GB"/>
              <a:t>Click to edit Master text styles</a:t>
            </a:r>
          </a:p>
        </p:txBody>
      </p:sp>
      <p:sp>
        <p:nvSpPr>
          <p:cNvPr id="2" name="Text Placeholder 6">
            <a:extLst>
              <a:ext uri="{FF2B5EF4-FFF2-40B4-BE49-F238E27FC236}">
                <a16:creationId xmlns:a16="http://schemas.microsoft.com/office/drawing/2014/main" id="{17451B65-0EA0-1238-A6FC-77E374CEC11B}"/>
              </a:ext>
            </a:extLst>
          </p:cNvPr>
          <p:cNvSpPr>
            <a:spLocks noGrp="1"/>
          </p:cNvSpPr>
          <p:nvPr>
            <p:ph type="body" sz="quarter" idx="16"/>
          </p:nvPr>
        </p:nvSpPr>
        <p:spPr>
          <a:xfrm>
            <a:off x="480483" y="3034424"/>
            <a:ext cx="11226716" cy="579120"/>
          </a:xfrm>
          <a:prstGeom prst="rect">
            <a:avLst/>
          </a:prstGeom>
        </p:spPr>
        <p:txBody>
          <a:bodyPr anchor="ctr" anchorCtr="0">
            <a:normAutofit/>
          </a:bodyPr>
          <a:lstStyle>
            <a:lvl1pPr marL="0" indent="0" algn="ctr">
              <a:buNone/>
              <a:defRPr/>
            </a:lvl1pPr>
          </a:lstStyle>
          <a:p>
            <a:pPr lvl="0"/>
            <a:r>
              <a:rPr lang="en-GB"/>
              <a:t>Click to edit Master text styles</a:t>
            </a:r>
          </a:p>
        </p:txBody>
      </p:sp>
      <p:sp>
        <p:nvSpPr>
          <p:cNvPr id="5" name="Text Placeholder 6">
            <a:extLst>
              <a:ext uri="{FF2B5EF4-FFF2-40B4-BE49-F238E27FC236}">
                <a16:creationId xmlns:a16="http://schemas.microsoft.com/office/drawing/2014/main" id="{F1F84C08-1D49-7A10-BE8D-12209772B69D}"/>
              </a:ext>
            </a:extLst>
          </p:cNvPr>
          <p:cNvSpPr>
            <a:spLocks noGrp="1"/>
          </p:cNvSpPr>
          <p:nvPr>
            <p:ph type="body" sz="quarter" idx="17"/>
          </p:nvPr>
        </p:nvSpPr>
        <p:spPr>
          <a:xfrm>
            <a:off x="480483" y="4058337"/>
            <a:ext cx="11226716" cy="579120"/>
          </a:xfrm>
          <a:prstGeom prst="rect">
            <a:avLst/>
          </a:prstGeom>
        </p:spPr>
        <p:txBody>
          <a:bodyPr anchor="ctr" anchorCtr="0">
            <a:normAutofit/>
          </a:bodyPr>
          <a:lstStyle>
            <a:lvl1pPr marL="0" indent="0" algn="ctr">
              <a:buNone/>
              <a:defRPr/>
            </a:lvl1pPr>
          </a:lstStyle>
          <a:p>
            <a:pPr lvl="0"/>
            <a:r>
              <a:rPr lang="en-GB"/>
              <a:t>Click to edit Master text styles</a:t>
            </a:r>
          </a:p>
        </p:txBody>
      </p:sp>
      <p:sp>
        <p:nvSpPr>
          <p:cNvPr id="6" name="Text Placeholder 6">
            <a:extLst>
              <a:ext uri="{FF2B5EF4-FFF2-40B4-BE49-F238E27FC236}">
                <a16:creationId xmlns:a16="http://schemas.microsoft.com/office/drawing/2014/main" id="{C65C3041-609B-76D3-5BA2-0FEF39ECF998}"/>
              </a:ext>
            </a:extLst>
          </p:cNvPr>
          <p:cNvSpPr>
            <a:spLocks noGrp="1"/>
          </p:cNvSpPr>
          <p:nvPr>
            <p:ph type="body" sz="quarter" idx="18"/>
          </p:nvPr>
        </p:nvSpPr>
        <p:spPr>
          <a:xfrm>
            <a:off x="480483" y="5082251"/>
            <a:ext cx="11226716" cy="579120"/>
          </a:xfrm>
          <a:prstGeom prst="rect">
            <a:avLst/>
          </a:prstGeom>
        </p:spPr>
        <p:txBody>
          <a:bodyPr anchor="ctr" anchorCtr="0">
            <a:normAutofit/>
          </a:bodyPr>
          <a:lstStyle>
            <a:lvl1pPr marL="0" indent="0" algn="ctr">
              <a:buNone/>
              <a:defRPr/>
            </a:lvl1pPr>
          </a:lstStyle>
          <a:p>
            <a:pPr lvl="0"/>
            <a:r>
              <a:rPr lang="en-GB"/>
              <a:t>Click to edit Master text styles</a:t>
            </a:r>
          </a:p>
        </p:txBody>
      </p:sp>
      <p:sp>
        <p:nvSpPr>
          <p:cNvPr id="8" name="Oval 6">
            <a:extLst>
              <a:ext uri="{FF2B5EF4-FFF2-40B4-BE49-F238E27FC236}">
                <a16:creationId xmlns:a16="http://schemas.microsoft.com/office/drawing/2014/main" id="{230717C6-217D-B42B-D584-6C338DE8E372}"/>
              </a:ext>
            </a:extLst>
          </p:cNvPr>
          <p:cNvSpPr>
            <a:spLocks noChangeArrowheads="1"/>
          </p:cNvSpPr>
          <p:nvPr userDrawn="1"/>
        </p:nvSpPr>
        <p:spPr bwMode="auto">
          <a:xfrm>
            <a:off x="6005687" y="2731757"/>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9" name="Oval 6">
            <a:extLst>
              <a:ext uri="{FF2B5EF4-FFF2-40B4-BE49-F238E27FC236}">
                <a16:creationId xmlns:a16="http://schemas.microsoft.com/office/drawing/2014/main" id="{1B015604-0705-1399-0AD4-0EC275BFBAA6}"/>
              </a:ext>
            </a:extLst>
          </p:cNvPr>
          <p:cNvSpPr>
            <a:spLocks noChangeArrowheads="1"/>
          </p:cNvSpPr>
          <p:nvPr userDrawn="1"/>
        </p:nvSpPr>
        <p:spPr bwMode="auto">
          <a:xfrm>
            <a:off x="6005687" y="3763388"/>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10" name="Oval 6">
            <a:extLst>
              <a:ext uri="{FF2B5EF4-FFF2-40B4-BE49-F238E27FC236}">
                <a16:creationId xmlns:a16="http://schemas.microsoft.com/office/drawing/2014/main" id="{39790355-E5A9-FF0D-DFE4-31D974FF4853}"/>
              </a:ext>
            </a:extLst>
          </p:cNvPr>
          <p:cNvSpPr>
            <a:spLocks noChangeArrowheads="1"/>
          </p:cNvSpPr>
          <p:nvPr userDrawn="1"/>
        </p:nvSpPr>
        <p:spPr bwMode="auto">
          <a:xfrm>
            <a:off x="6005687" y="4771572"/>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Tree>
    <p:extLst>
      <p:ext uri="{BB962C8B-B14F-4D97-AF65-F5344CB8AC3E}">
        <p14:creationId xmlns:p14="http://schemas.microsoft.com/office/powerpoint/2010/main" val="111849464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96EEF7D-1ABE-8DD6-0CD0-14265E66F7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1" y="1725492"/>
            <a:ext cx="11227199" cy="1540693"/>
          </a:xfrm>
        </p:spPr>
        <p:txBody>
          <a:bodyPr anchor="b" anchorCtr="0">
            <a:normAutofit/>
          </a:bodyPr>
          <a:lstStyle>
            <a:lvl1pPr algn="ctr">
              <a:defRPr sz="3733">
                <a:solidFill>
                  <a:schemeClr val="bg1"/>
                </a:solidFill>
              </a:defRPr>
            </a:lvl1pPr>
          </a:lstStyle>
          <a:p>
            <a:r>
              <a:rPr lang="en-GB" dirty="0"/>
              <a:t>Click to edit Section title</a:t>
            </a:r>
            <a:endParaRPr lang="en-US" dirty="0"/>
          </a:p>
        </p:txBody>
      </p:sp>
      <p:grpSp>
        <p:nvGrpSpPr>
          <p:cNvPr id="10" name="Group 9">
            <a:extLst>
              <a:ext uri="{FF2B5EF4-FFF2-40B4-BE49-F238E27FC236}">
                <a16:creationId xmlns:a16="http://schemas.microsoft.com/office/drawing/2014/main" id="{A418A26A-1CE7-6A65-87BD-545E6B1EF597}"/>
              </a:ext>
            </a:extLst>
          </p:cNvPr>
          <p:cNvGrpSpPr/>
          <p:nvPr userDrawn="1"/>
        </p:nvGrpSpPr>
        <p:grpSpPr>
          <a:xfrm>
            <a:off x="5550645" y="773217"/>
            <a:ext cx="1085908" cy="821904"/>
            <a:chOff x="1001339" y="887094"/>
            <a:chExt cx="814431" cy="616428"/>
          </a:xfrm>
        </p:grpSpPr>
        <p:sp>
          <p:nvSpPr>
            <p:cNvPr id="11" name="Freeform 10">
              <a:extLst>
                <a:ext uri="{FF2B5EF4-FFF2-40B4-BE49-F238E27FC236}">
                  <a16:creationId xmlns:a16="http://schemas.microsoft.com/office/drawing/2014/main" id="{30FB55EE-19A3-C1BC-0447-97E58E4D771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bg1"/>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FC4EF02E-8974-5DA8-4735-88CCCC3F75C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B23401E6-F085-31C6-7190-EE95376A6A6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bg1"/>
            </a:solidFill>
            <a:ln w="0" cap="flat">
              <a:noFill/>
              <a:prstDash val="solid"/>
              <a:miter/>
            </a:ln>
          </p:spPr>
          <p:txBody>
            <a:bodyPr rtlCol="0" anchor="ctr"/>
            <a:lstStyle/>
            <a:p>
              <a:endParaRPr lang="en-AD" sz="2400"/>
            </a:p>
          </p:txBody>
        </p:sp>
      </p:grpSp>
      <p:sp>
        <p:nvSpPr>
          <p:cNvPr id="5" name="Text Placeholder 16">
            <a:extLst>
              <a:ext uri="{FF2B5EF4-FFF2-40B4-BE49-F238E27FC236}">
                <a16:creationId xmlns:a16="http://schemas.microsoft.com/office/drawing/2014/main" id="{AEAD3B24-9902-395F-E3F0-DCACA31071F9}"/>
              </a:ext>
            </a:extLst>
          </p:cNvPr>
          <p:cNvSpPr>
            <a:spLocks noGrp="1"/>
          </p:cNvSpPr>
          <p:nvPr>
            <p:ph type="body" sz="quarter" idx="11"/>
          </p:nvPr>
        </p:nvSpPr>
        <p:spPr>
          <a:xfrm>
            <a:off x="1563158" y="3561190"/>
            <a:ext cx="9065684" cy="1863996"/>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GB"/>
              <a:t>Click to edit Master text styles</a:t>
            </a:r>
          </a:p>
        </p:txBody>
      </p:sp>
      <p:sp>
        <p:nvSpPr>
          <p:cNvPr id="16" name="Rectangle 15">
            <a:extLst>
              <a:ext uri="{FF2B5EF4-FFF2-40B4-BE49-F238E27FC236}">
                <a16:creationId xmlns:a16="http://schemas.microsoft.com/office/drawing/2014/main" id="{AB2EBD45-EA4C-76FF-982F-C1D8DB27FCF2}"/>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7" name="TextBox 16">
            <a:extLst>
              <a:ext uri="{FF2B5EF4-FFF2-40B4-BE49-F238E27FC236}">
                <a16:creationId xmlns:a16="http://schemas.microsoft.com/office/drawing/2014/main" id="{54C2F8B5-F1CF-6290-DB2A-3C6294CABBDC}"/>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18" name="Slide Number Placeholder 6">
            <a:extLst>
              <a:ext uri="{FF2B5EF4-FFF2-40B4-BE49-F238E27FC236}">
                <a16:creationId xmlns:a16="http://schemas.microsoft.com/office/drawing/2014/main" id="{62C17109-13DC-AED0-8072-6C8D0C8C9854}"/>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73432032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number">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2A308BB-D0E7-5A70-AC9A-C28E8E3442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0" y="1814360"/>
            <a:ext cx="11232000" cy="1660800"/>
          </a:xfrm>
        </p:spPr>
        <p:txBody>
          <a:bodyPr anchor="b" anchorCtr="0">
            <a:normAutofit/>
          </a:bodyPr>
          <a:lstStyle>
            <a:lvl1pPr algn="ctr">
              <a:defRPr sz="10666">
                <a:solidFill>
                  <a:schemeClr val="bg1"/>
                </a:solidFill>
              </a:defRPr>
            </a:lvl1pPr>
          </a:lstStyle>
          <a:p>
            <a:r>
              <a:rPr lang="en-GB" dirty="0"/>
              <a:t>00%</a:t>
            </a:r>
            <a:endParaRPr lang="en-US" dirty="0"/>
          </a:p>
        </p:txBody>
      </p:sp>
      <p:grpSp>
        <p:nvGrpSpPr>
          <p:cNvPr id="8" name="Group 7">
            <a:extLst>
              <a:ext uri="{FF2B5EF4-FFF2-40B4-BE49-F238E27FC236}">
                <a16:creationId xmlns:a16="http://schemas.microsoft.com/office/drawing/2014/main" id="{62648347-84AF-1F78-710B-6CD01D4CC56D}"/>
              </a:ext>
            </a:extLst>
          </p:cNvPr>
          <p:cNvGrpSpPr/>
          <p:nvPr userDrawn="1"/>
        </p:nvGrpSpPr>
        <p:grpSpPr>
          <a:xfrm>
            <a:off x="5550645" y="773217"/>
            <a:ext cx="1085908" cy="821904"/>
            <a:chOff x="1001339" y="887094"/>
            <a:chExt cx="814431" cy="616428"/>
          </a:xfrm>
          <a:solidFill>
            <a:schemeClr val="bg1"/>
          </a:solidFill>
        </p:grpSpPr>
        <p:sp>
          <p:nvSpPr>
            <p:cNvPr id="9" name="Freeform 8">
              <a:extLst>
                <a:ext uri="{FF2B5EF4-FFF2-40B4-BE49-F238E27FC236}">
                  <a16:creationId xmlns:a16="http://schemas.microsoft.com/office/drawing/2014/main" id="{ADF33CD8-B2E4-E270-AC70-029DD16D2239}"/>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6D3E5A7A-EF2B-3B10-0F9A-D44282C0C1D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C3228EF9-7E94-B7F7-F043-E37DFEBD064E}"/>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7" name="Text Placeholder 16">
            <a:extLst>
              <a:ext uri="{FF2B5EF4-FFF2-40B4-BE49-F238E27FC236}">
                <a16:creationId xmlns:a16="http://schemas.microsoft.com/office/drawing/2014/main" id="{CFAC9775-690D-E752-5FEF-B3E0F8F26FCC}"/>
              </a:ext>
            </a:extLst>
          </p:cNvPr>
          <p:cNvSpPr>
            <a:spLocks noGrp="1"/>
          </p:cNvSpPr>
          <p:nvPr>
            <p:ph type="body" sz="quarter" idx="11" hasCustomPrompt="1"/>
          </p:nvPr>
        </p:nvSpPr>
        <p:spPr>
          <a:xfrm>
            <a:off x="1563158" y="3815341"/>
            <a:ext cx="9065684" cy="1864003"/>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GB"/>
              <a:t>Click to edit text</a:t>
            </a:r>
          </a:p>
        </p:txBody>
      </p:sp>
      <p:sp>
        <p:nvSpPr>
          <p:cNvPr id="20" name="Rectangle 19">
            <a:extLst>
              <a:ext uri="{FF2B5EF4-FFF2-40B4-BE49-F238E27FC236}">
                <a16:creationId xmlns:a16="http://schemas.microsoft.com/office/drawing/2014/main" id="{CB620435-880C-04A5-303F-F59FE6D62528}"/>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1" name="TextBox 20">
            <a:extLst>
              <a:ext uri="{FF2B5EF4-FFF2-40B4-BE49-F238E27FC236}">
                <a16:creationId xmlns:a16="http://schemas.microsoft.com/office/drawing/2014/main" id="{DB5E17C2-257F-41E3-92C0-6300AC854DF8}"/>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2" name="Slide Number Placeholder 6">
            <a:extLst>
              <a:ext uri="{FF2B5EF4-FFF2-40B4-BE49-F238E27FC236}">
                <a16:creationId xmlns:a16="http://schemas.microsoft.com/office/drawing/2014/main" id="{C09EF497-2FF4-BB47-411E-25EACD197A37}"/>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0405635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2" name="Text Placeholder 13">
            <a:extLst>
              <a:ext uri="{FF2B5EF4-FFF2-40B4-BE49-F238E27FC236}">
                <a16:creationId xmlns:a16="http://schemas.microsoft.com/office/drawing/2014/main" id="{529B456B-0612-05FD-3E27-C2E6F22CD5AC}"/>
              </a:ext>
            </a:extLst>
          </p:cNvPr>
          <p:cNvSpPr>
            <a:spLocks noGrp="1"/>
          </p:cNvSpPr>
          <p:nvPr>
            <p:ph type="body" sz="quarter" idx="11"/>
          </p:nvPr>
        </p:nvSpPr>
        <p:spPr>
          <a:xfrm>
            <a:off x="480000"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 name="Text Placeholder 13">
            <a:extLst>
              <a:ext uri="{FF2B5EF4-FFF2-40B4-BE49-F238E27FC236}">
                <a16:creationId xmlns:a16="http://schemas.microsoft.com/office/drawing/2014/main" id="{572B6D15-EC12-3FF2-6149-9E41804CB944}"/>
              </a:ext>
            </a:extLst>
          </p:cNvPr>
          <p:cNvSpPr>
            <a:spLocks noGrp="1"/>
          </p:cNvSpPr>
          <p:nvPr>
            <p:ph type="body" sz="quarter" idx="14"/>
          </p:nvPr>
        </p:nvSpPr>
        <p:spPr>
          <a:xfrm>
            <a:off x="6434233"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Tree>
    <p:extLst>
      <p:ext uri="{BB962C8B-B14F-4D97-AF65-F5344CB8AC3E}">
        <p14:creationId xmlns:p14="http://schemas.microsoft.com/office/powerpoint/2010/main" val="4085656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5" name="Content Placeholder 4">
            <a:extLst>
              <a:ext uri="{FF2B5EF4-FFF2-40B4-BE49-F238E27FC236}">
                <a16:creationId xmlns:a16="http://schemas.microsoft.com/office/drawing/2014/main" id="{0C095A20-9422-8C24-BCD8-3E083BF2E503}"/>
              </a:ext>
            </a:extLst>
          </p:cNvPr>
          <p:cNvSpPr>
            <a:spLocks noGrp="1"/>
          </p:cNvSpPr>
          <p:nvPr>
            <p:ph sz="quarter" idx="15"/>
          </p:nvPr>
        </p:nvSpPr>
        <p:spPr>
          <a:xfrm>
            <a:off x="480483" y="1833033"/>
            <a:ext cx="11226716" cy="4045855"/>
          </a:xfrm>
          <a:prstGeom prst="rect">
            <a:avLst/>
          </a:prstGeo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D"/>
          </a:p>
        </p:txBody>
      </p:sp>
    </p:spTree>
    <p:extLst>
      <p:ext uri="{BB962C8B-B14F-4D97-AF65-F5344CB8AC3E}">
        <p14:creationId xmlns:p14="http://schemas.microsoft.com/office/powerpoint/2010/main" val="25599867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3 column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sp>
        <p:nvSpPr>
          <p:cNvPr id="4" name="Text Placeholder 13">
            <a:extLst>
              <a:ext uri="{FF2B5EF4-FFF2-40B4-BE49-F238E27FC236}">
                <a16:creationId xmlns:a16="http://schemas.microsoft.com/office/drawing/2014/main" id="{8BB18B9B-2391-D0A8-4FA3-2D01B1A6677C}"/>
              </a:ext>
            </a:extLst>
          </p:cNvPr>
          <p:cNvSpPr>
            <a:spLocks noGrp="1"/>
          </p:cNvSpPr>
          <p:nvPr>
            <p:ph type="body" sz="quarter" idx="11"/>
          </p:nvPr>
        </p:nvSpPr>
        <p:spPr>
          <a:xfrm>
            <a:off x="480000" y="2025690"/>
            <a:ext cx="3360000" cy="3870567"/>
          </a:xfrm>
          <a:prstGeom prst="rect">
            <a:avLst/>
          </a:prstGeom>
        </p:spPr>
        <p:txBody>
          <a:bodyPr>
            <a:normAutofit/>
          </a:bodyPr>
          <a:lstStyle>
            <a:lvl1pPr marL="0" indent="0">
              <a:lnSpc>
                <a:spcPts val="2000"/>
              </a:lnSpc>
              <a:spcBef>
                <a:spcPts val="667"/>
              </a:spcBef>
              <a:buNone/>
              <a:defRPr sz="1600">
                <a:solidFill>
                  <a:schemeClr val="tx1"/>
                </a:solidFill>
              </a:defRPr>
            </a:lvl1pPr>
            <a:lvl2pPr>
              <a:defRPr sz="1333"/>
            </a:lvl2pPr>
            <a:lvl3pPr>
              <a:defRPr sz="1333"/>
            </a:lvl3pPr>
            <a:lvl4pPr>
              <a:defRPr sz="1333"/>
            </a:lvl4pPr>
            <a:lvl5pPr>
              <a:defRPr sz="1333"/>
            </a:lvl5pPr>
          </a:lstStyle>
          <a:p>
            <a:pPr lvl="0"/>
            <a:r>
              <a:rPr lang="en-GB"/>
              <a:t>Click to edit Master text styles</a:t>
            </a:r>
          </a:p>
        </p:txBody>
      </p:sp>
      <p:sp>
        <p:nvSpPr>
          <p:cNvPr id="5" name="Text Placeholder 13">
            <a:extLst>
              <a:ext uri="{FF2B5EF4-FFF2-40B4-BE49-F238E27FC236}">
                <a16:creationId xmlns:a16="http://schemas.microsoft.com/office/drawing/2014/main" id="{F67B3F0D-AB91-7CE1-6C01-B0E3E7CD90A2}"/>
              </a:ext>
            </a:extLst>
          </p:cNvPr>
          <p:cNvSpPr>
            <a:spLocks noGrp="1"/>
          </p:cNvSpPr>
          <p:nvPr>
            <p:ph type="body" sz="quarter" idx="12"/>
          </p:nvPr>
        </p:nvSpPr>
        <p:spPr>
          <a:xfrm>
            <a:off x="4413600" y="2025690"/>
            <a:ext cx="3360000" cy="3870567"/>
          </a:xfrm>
          <a:prstGeom prst="rect">
            <a:avLst/>
          </a:prstGeom>
        </p:spPr>
        <p:txBody>
          <a:bodyPr>
            <a:normAutofit/>
          </a:bodyPr>
          <a:lstStyle>
            <a:lvl1pPr marL="228594" indent="-228594">
              <a:lnSpc>
                <a:spcPts val="2000"/>
              </a:lnSpc>
              <a:spcBef>
                <a:spcPts val="667"/>
              </a:spcBef>
              <a:buFont typeface="Arial" panose="020B0604020202020204" pitchFamily="34" charset="0"/>
              <a:buChar char="•"/>
              <a:defRPr sz="1600">
                <a:solidFill>
                  <a:schemeClr val="accent1"/>
                </a:solidFill>
              </a:defRPr>
            </a:lvl1pPr>
            <a:lvl2pPr marL="468588" indent="-228594">
              <a:lnSpc>
                <a:spcPts val="1867"/>
              </a:lnSpc>
              <a:buFont typeface="Arial" panose="020B0604020202020204" pitchFamily="34" charset="0"/>
              <a:buChar char="•"/>
              <a:defRPr sz="1200"/>
            </a:lvl2pPr>
            <a:lvl3pPr>
              <a:defRPr sz="1333"/>
            </a:lvl3pPr>
            <a:lvl4pPr>
              <a:defRPr sz="1333"/>
            </a:lvl4pPr>
            <a:lvl5pPr>
              <a:defRPr sz="1333"/>
            </a:lvl5pPr>
          </a:lstStyle>
          <a:p>
            <a:pPr lvl="0"/>
            <a:r>
              <a:rPr lang="en-GB"/>
              <a:t>Click to edit Master text styles</a:t>
            </a:r>
          </a:p>
        </p:txBody>
      </p:sp>
      <p:sp>
        <p:nvSpPr>
          <p:cNvPr id="6" name="Text Placeholder 13">
            <a:extLst>
              <a:ext uri="{FF2B5EF4-FFF2-40B4-BE49-F238E27FC236}">
                <a16:creationId xmlns:a16="http://schemas.microsoft.com/office/drawing/2014/main" id="{F4708A08-CFF0-F9CB-735D-A9872BE5F447}"/>
              </a:ext>
            </a:extLst>
          </p:cNvPr>
          <p:cNvSpPr>
            <a:spLocks noGrp="1"/>
          </p:cNvSpPr>
          <p:nvPr>
            <p:ph type="body" sz="quarter" idx="13"/>
          </p:nvPr>
        </p:nvSpPr>
        <p:spPr>
          <a:xfrm>
            <a:off x="8347200" y="2025690"/>
            <a:ext cx="3360000" cy="3870567"/>
          </a:xfrm>
          <a:prstGeom prst="rect">
            <a:avLst/>
          </a:prstGeom>
        </p:spPr>
        <p:txBody>
          <a:bodyPr>
            <a:normAutofit/>
          </a:bodyPr>
          <a:lstStyle>
            <a:lvl1pPr marL="304792" indent="-304792">
              <a:lnSpc>
                <a:spcPts val="2000"/>
              </a:lnSpc>
              <a:spcBef>
                <a:spcPts val="667"/>
              </a:spcBef>
              <a:buFont typeface="+mj-lt"/>
              <a:buAutoNum type="arabicPeriod"/>
              <a:defRPr sz="1600">
                <a:solidFill>
                  <a:schemeClr val="accent1"/>
                </a:solidFill>
              </a:defRPr>
            </a:lvl1pPr>
            <a:lvl2pPr>
              <a:defRPr sz="1333"/>
            </a:lvl2pPr>
            <a:lvl3pPr>
              <a:defRPr sz="1333"/>
            </a:lvl3pPr>
            <a:lvl4pPr>
              <a:defRPr sz="1333"/>
            </a:lvl4pPr>
            <a:lvl5pPr>
              <a:defRPr sz="1333"/>
            </a:lvl5pPr>
          </a:lstStyle>
          <a:p>
            <a:pPr lvl="0"/>
            <a:r>
              <a:rPr lang="en-GB"/>
              <a:t>Click to edit Master text styles</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dirty="0"/>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Slide Number Placeholder 6">
            <a:extLst>
              <a:ext uri="{FF2B5EF4-FFF2-40B4-BE49-F238E27FC236}">
                <a16:creationId xmlns:a16="http://schemas.microsoft.com/office/drawing/2014/main" id="{A0F3835F-1AE9-0CEA-CF48-AB83177FE23D}"/>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15" name="TextBox 14">
            <a:extLst>
              <a:ext uri="{FF2B5EF4-FFF2-40B4-BE49-F238E27FC236}">
                <a16:creationId xmlns:a16="http://schemas.microsoft.com/office/drawing/2014/main" id="{6565B623-F3BC-FCBD-2F85-CFEEA2B31039}"/>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26181614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3 columns with 3 row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dirty="0"/>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6" name="Slide Number Placeholder 6">
            <a:extLst>
              <a:ext uri="{FF2B5EF4-FFF2-40B4-BE49-F238E27FC236}">
                <a16:creationId xmlns:a16="http://schemas.microsoft.com/office/drawing/2014/main" id="{542C785A-D33C-2A78-7E52-BB0501C6080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29" name="TextBox 28">
            <a:extLst>
              <a:ext uri="{FF2B5EF4-FFF2-40B4-BE49-F238E27FC236}">
                <a16:creationId xmlns:a16="http://schemas.microsoft.com/office/drawing/2014/main" id="{9B7F8EF1-4674-BD18-BBEC-7A3FEC012B5F}"/>
              </a:ext>
            </a:extLst>
          </p:cNvPr>
          <p:cNvSpPr txBox="1"/>
          <p:nvPr userDrawn="1"/>
        </p:nvSpPr>
        <p:spPr>
          <a:xfrm>
            <a:off x="479999" y="6474084"/>
            <a:ext cx="6054151" cy="184665"/>
          </a:xfrm>
          <a:prstGeom prst="rect">
            <a:avLst/>
          </a:prstGeom>
          <a:noFill/>
        </p:spPr>
        <p:txBody>
          <a:bodyPr wrap="square" lIns="0" tIns="0" rIns="0" bIns="0" rtlCol="0">
            <a:norm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5" name="Text Placeholder 27">
            <a:extLst>
              <a:ext uri="{FF2B5EF4-FFF2-40B4-BE49-F238E27FC236}">
                <a16:creationId xmlns:a16="http://schemas.microsoft.com/office/drawing/2014/main" id="{768D37A0-EEAB-F5B0-922D-B3E47EF3A1B9}"/>
              </a:ext>
            </a:extLst>
          </p:cNvPr>
          <p:cNvSpPr>
            <a:spLocks noGrp="1"/>
          </p:cNvSpPr>
          <p:nvPr>
            <p:ph type="body" sz="quarter" idx="11"/>
          </p:nvPr>
        </p:nvSpPr>
        <p:spPr>
          <a:xfrm>
            <a:off x="480000"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13" name="Text Placeholder 28">
            <a:extLst>
              <a:ext uri="{FF2B5EF4-FFF2-40B4-BE49-F238E27FC236}">
                <a16:creationId xmlns:a16="http://schemas.microsoft.com/office/drawing/2014/main" id="{68A20F4A-AEAD-C08D-B90C-CF4BE36C7A7A}"/>
              </a:ext>
            </a:extLst>
          </p:cNvPr>
          <p:cNvSpPr>
            <a:spLocks noGrp="1"/>
          </p:cNvSpPr>
          <p:nvPr>
            <p:ph type="body" sz="quarter" idx="15"/>
          </p:nvPr>
        </p:nvSpPr>
        <p:spPr>
          <a:xfrm>
            <a:off x="480000"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
        <p:nvSpPr>
          <p:cNvPr id="30" name="Text Placeholder 29">
            <a:extLst>
              <a:ext uri="{FF2B5EF4-FFF2-40B4-BE49-F238E27FC236}">
                <a16:creationId xmlns:a16="http://schemas.microsoft.com/office/drawing/2014/main" id="{970204C3-97C8-AA86-CBB2-B7A9E2779E98}"/>
              </a:ext>
            </a:extLst>
          </p:cNvPr>
          <p:cNvSpPr>
            <a:spLocks noGrp="1"/>
          </p:cNvSpPr>
          <p:nvPr>
            <p:ph type="body" sz="quarter" idx="16"/>
          </p:nvPr>
        </p:nvSpPr>
        <p:spPr>
          <a:xfrm>
            <a:off x="4415072"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31" name="Text Placeholder 30">
            <a:extLst>
              <a:ext uri="{FF2B5EF4-FFF2-40B4-BE49-F238E27FC236}">
                <a16:creationId xmlns:a16="http://schemas.microsoft.com/office/drawing/2014/main" id="{C1BF6A50-E88C-D974-86D5-AD200C4D9850}"/>
              </a:ext>
            </a:extLst>
          </p:cNvPr>
          <p:cNvSpPr>
            <a:spLocks noGrp="1"/>
          </p:cNvSpPr>
          <p:nvPr>
            <p:ph type="body" sz="quarter" idx="17"/>
          </p:nvPr>
        </p:nvSpPr>
        <p:spPr>
          <a:xfrm>
            <a:off x="4415072"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
        <p:nvSpPr>
          <p:cNvPr id="32" name="Text Placeholder 31">
            <a:extLst>
              <a:ext uri="{FF2B5EF4-FFF2-40B4-BE49-F238E27FC236}">
                <a16:creationId xmlns:a16="http://schemas.microsoft.com/office/drawing/2014/main" id="{AABEB539-3C35-0CB4-EC3A-262957E77755}"/>
              </a:ext>
            </a:extLst>
          </p:cNvPr>
          <p:cNvSpPr>
            <a:spLocks noGrp="1"/>
          </p:cNvSpPr>
          <p:nvPr>
            <p:ph type="body" sz="quarter" idx="18"/>
          </p:nvPr>
        </p:nvSpPr>
        <p:spPr>
          <a:xfrm>
            <a:off x="8350145"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33" name="Text Placeholder 32">
            <a:extLst>
              <a:ext uri="{FF2B5EF4-FFF2-40B4-BE49-F238E27FC236}">
                <a16:creationId xmlns:a16="http://schemas.microsoft.com/office/drawing/2014/main" id="{28BC6F34-B8FF-8481-E9B3-1934219B4F19}"/>
              </a:ext>
            </a:extLst>
          </p:cNvPr>
          <p:cNvSpPr>
            <a:spLocks noGrp="1"/>
          </p:cNvSpPr>
          <p:nvPr>
            <p:ph type="body" sz="quarter" idx="19"/>
          </p:nvPr>
        </p:nvSpPr>
        <p:spPr>
          <a:xfrm>
            <a:off x="8350145"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
        <p:nvSpPr>
          <p:cNvPr id="34" name="Text Placeholder 33">
            <a:extLst>
              <a:ext uri="{FF2B5EF4-FFF2-40B4-BE49-F238E27FC236}">
                <a16:creationId xmlns:a16="http://schemas.microsoft.com/office/drawing/2014/main" id="{EC97A2E5-4D53-3B23-E411-78F3FB1468E2}"/>
              </a:ext>
            </a:extLst>
          </p:cNvPr>
          <p:cNvSpPr>
            <a:spLocks noGrp="1"/>
          </p:cNvSpPr>
          <p:nvPr>
            <p:ph type="body" sz="quarter" idx="20"/>
          </p:nvPr>
        </p:nvSpPr>
        <p:spPr>
          <a:xfrm>
            <a:off x="480000"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35" name="Text Placeholder 34">
            <a:extLst>
              <a:ext uri="{FF2B5EF4-FFF2-40B4-BE49-F238E27FC236}">
                <a16:creationId xmlns:a16="http://schemas.microsoft.com/office/drawing/2014/main" id="{BAC0B6E7-C956-1868-25F7-FB80EE9931D1}"/>
              </a:ext>
            </a:extLst>
          </p:cNvPr>
          <p:cNvSpPr>
            <a:spLocks noGrp="1"/>
          </p:cNvSpPr>
          <p:nvPr>
            <p:ph type="body" sz="quarter" idx="21"/>
          </p:nvPr>
        </p:nvSpPr>
        <p:spPr>
          <a:xfrm>
            <a:off x="480000"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
        <p:nvSpPr>
          <p:cNvPr id="36" name="Text Placeholder 35">
            <a:extLst>
              <a:ext uri="{FF2B5EF4-FFF2-40B4-BE49-F238E27FC236}">
                <a16:creationId xmlns:a16="http://schemas.microsoft.com/office/drawing/2014/main" id="{69654EAB-5EE3-A04B-DF94-7F18795A8D8B}"/>
              </a:ext>
            </a:extLst>
          </p:cNvPr>
          <p:cNvSpPr>
            <a:spLocks noGrp="1"/>
          </p:cNvSpPr>
          <p:nvPr>
            <p:ph type="body" sz="quarter" idx="22"/>
          </p:nvPr>
        </p:nvSpPr>
        <p:spPr>
          <a:xfrm>
            <a:off x="4415072"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37" name="Text Placeholder 36">
            <a:extLst>
              <a:ext uri="{FF2B5EF4-FFF2-40B4-BE49-F238E27FC236}">
                <a16:creationId xmlns:a16="http://schemas.microsoft.com/office/drawing/2014/main" id="{D7BE0FC5-4345-2A43-3E3A-001FF96A97FC}"/>
              </a:ext>
            </a:extLst>
          </p:cNvPr>
          <p:cNvSpPr>
            <a:spLocks noGrp="1"/>
          </p:cNvSpPr>
          <p:nvPr>
            <p:ph type="body" sz="quarter" idx="23"/>
          </p:nvPr>
        </p:nvSpPr>
        <p:spPr>
          <a:xfrm>
            <a:off x="4415072"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
        <p:nvSpPr>
          <p:cNvPr id="38" name="Text Placeholder 37">
            <a:extLst>
              <a:ext uri="{FF2B5EF4-FFF2-40B4-BE49-F238E27FC236}">
                <a16:creationId xmlns:a16="http://schemas.microsoft.com/office/drawing/2014/main" id="{9625ADA8-359A-DE7B-220B-878FBEBCFBC7}"/>
              </a:ext>
            </a:extLst>
          </p:cNvPr>
          <p:cNvSpPr>
            <a:spLocks noGrp="1"/>
          </p:cNvSpPr>
          <p:nvPr>
            <p:ph type="body" sz="quarter" idx="24"/>
          </p:nvPr>
        </p:nvSpPr>
        <p:spPr>
          <a:xfrm>
            <a:off x="8350145"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GB"/>
              <a:t>Click to edit Master text styles</a:t>
            </a:r>
          </a:p>
        </p:txBody>
      </p:sp>
      <p:sp>
        <p:nvSpPr>
          <p:cNvPr id="39" name="Text Placeholder 38">
            <a:extLst>
              <a:ext uri="{FF2B5EF4-FFF2-40B4-BE49-F238E27FC236}">
                <a16:creationId xmlns:a16="http://schemas.microsoft.com/office/drawing/2014/main" id="{D5048D3D-E97C-0017-E74F-7167172F44F5}"/>
              </a:ext>
            </a:extLst>
          </p:cNvPr>
          <p:cNvSpPr>
            <a:spLocks noGrp="1"/>
          </p:cNvSpPr>
          <p:nvPr>
            <p:ph type="body" sz="quarter" idx="25"/>
          </p:nvPr>
        </p:nvSpPr>
        <p:spPr>
          <a:xfrm>
            <a:off x="8350145"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GB"/>
              <a:t>Click to edit Master text styles</a:t>
            </a:r>
          </a:p>
        </p:txBody>
      </p:sp>
    </p:spTree>
    <p:extLst>
      <p:ext uri="{BB962C8B-B14F-4D97-AF65-F5344CB8AC3E}">
        <p14:creationId xmlns:p14="http://schemas.microsoft.com/office/powerpoint/2010/main" val="35700808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199013045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in Points 2">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 name="Oval 1">
            <a:extLst>
              <a:ext uri="{FF2B5EF4-FFF2-40B4-BE49-F238E27FC236}">
                <a16:creationId xmlns:a16="http://schemas.microsoft.com/office/drawing/2014/main" id="{BD3EFA12-B5EA-18D1-8C87-D6A4B3D2C861}"/>
              </a:ext>
            </a:extLst>
          </p:cNvPr>
          <p:cNvSpPr/>
          <p:nvPr userDrawn="1"/>
        </p:nvSpPr>
        <p:spPr>
          <a:xfrm>
            <a:off x="4412222"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5" name="Oval 4">
            <a:extLst>
              <a:ext uri="{FF2B5EF4-FFF2-40B4-BE49-F238E27FC236}">
                <a16:creationId xmlns:a16="http://schemas.microsoft.com/office/drawing/2014/main" id="{D93047EC-5F7D-208F-AFB6-B978A01F3C6D}"/>
              </a:ext>
            </a:extLst>
          </p:cNvPr>
          <p:cNvSpPr/>
          <p:nvPr userDrawn="1"/>
        </p:nvSpPr>
        <p:spPr>
          <a:xfrm>
            <a:off x="8344445" y="2536256"/>
            <a:ext cx="3359999" cy="3360000"/>
          </a:xfrm>
          <a:prstGeom prst="ellipse">
            <a:avLst/>
          </a:prstGeom>
          <a:solidFill>
            <a:schemeClr val="tx2"/>
          </a:solidFill>
          <a:ln w="0" cap="flat">
            <a:noFill/>
            <a:prstDash val="solid"/>
            <a:miter/>
          </a:ln>
        </p:spPr>
        <p:txBody>
          <a:bodyPr rtlCol="0" anchor="ctr"/>
          <a:lstStyle/>
          <a:p>
            <a:pPr>
              <a:lnSpc>
                <a:spcPts val="1867"/>
              </a:lnSpc>
            </a:pPr>
            <a:endParaRPr lang="en-AD" sz="1467"/>
          </a:p>
        </p:txBody>
      </p:sp>
      <p:sp>
        <p:nvSpPr>
          <p:cNvPr id="6" name="Oval 5">
            <a:extLst>
              <a:ext uri="{FF2B5EF4-FFF2-40B4-BE49-F238E27FC236}">
                <a16:creationId xmlns:a16="http://schemas.microsoft.com/office/drawing/2014/main" id="{5950A459-C3EE-94A3-BCEF-BD7A3174325E}"/>
              </a:ext>
            </a:extLst>
          </p:cNvPr>
          <p:cNvSpPr/>
          <p:nvPr userDrawn="1"/>
        </p:nvSpPr>
        <p:spPr>
          <a:xfrm>
            <a:off x="479999"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15" name="Text Placeholder 18">
            <a:extLst>
              <a:ext uri="{FF2B5EF4-FFF2-40B4-BE49-F238E27FC236}">
                <a16:creationId xmlns:a16="http://schemas.microsoft.com/office/drawing/2014/main" id="{15F2F45E-CCC5-D2C1-EDA5-84B3BAD1F276}"/>
              </a:ext>
            </a:extLst>
          </p:cNvPr>
          <p:cNvSpPr>
            <a:spLocks noGrp="1"/>
          </p:cNvSpPr>
          <p:nvPr>
            <p:ph type="body" sz="quarter" idx="15"/>
          </p:nvPr>
        </p:nvSpPr>
        <p:spPr>
          <a:xfrm>
            <a:off x="728134"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16" name="Text Placeholder 18">
            <a:extLst>
              <a:ext uri="{FF2B5EF4-FFF2-40B4-BE49-F238E27FC236}">
                <a16:creationId xmlns:a16="http://schemas.microsoft.com/office/drawing/2014/main" id="{125A635C-A77A-4EB9-997F-CA64BF012A7E}"/>
              </a:ext>
            </a:extLst>
          </p:cNvPr>
          <p:cNvSpPr>
            <a:spLocks noGrp="1"/>
          </p:cNvSpPr>
          <p:nvPr>
            <p:ph type="body" sz="quarter" idx="16"/>
          </p:nvPr>
        </p:nvSpPr>
        <p:spPr>
          <a:xfrm>
            <a:off x="4655841"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17" name="Text Placeholder 18">
            <a:extLst>
              <a:ext uri="{FF2B5EF4-FFF2-40B4-BE49-F238E27FC236}">
                <a16:creationId xmlns:a16="http://schemas.microsoft.com/office/drawing/2014/main" id="{24EED960-BBA0-6EA8-714F-54CE5B4410CA}"/>
              </a:ext>
            </a:extLst>
          </p:cNvPr>
          <p:cNvSpPr>
            <a:spLocks noGrp="1"/>
          </p:cNvSpPr>
          <p:nvPr>
            <p:ph type="body" sz="quarter" idx="17"/>
          </p:nvPr>
        </p:nvSpPr>
        <p:spPr>
          <a:xfrm>
            <a:off x="8592278"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18" name="Text Placeholder 22">
            <a:extLst>
              <a:ext uri="{FF2B5EF4-FFF2-40B4-BE49-F238E27FC236}">
                <a16:creationId xmlns:a16="http://schemas.microsoft.com/office/drawing/2014/main" id="{91693202-A0C1-3ABC-6467-587C6B1D2E0E}"/>
              </a:ext>
            </a:extLst>
          </p:cNvPr>
          <p:cNvSpPr>
            <a:spLocks noGrp="1"/>
          </p:cNvSpPr>
          <p:nvPr>
            <p:ph type="body" sz="quarter" idx="18" hasCustomPrompt="1"/>
          </p:nvPr>
        </p:nvSpPr>
        <p:spPr>
          <a:xfrm>
            <a:off x="1493274"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19" name="Text Placeholder 22">
            <a:extLst>
              <a:ext uri="{FF2B5EF4-FFF2-40B4-BE49-F238E27FC236}">
                <a16:creationId xmlns:a16="http://schemas.microsoft.com/office/drawing/2014/main" id="{1478FC6B-377C-853E-F4C7-5E50E3C1B7BB}"/>
              </a:ext>
            </a:extLst>
          </p:cNvPr>
          <p:cNvSpPr>
            <a:spLocks noGrp="1"/>
          </p:cNvSpPr>
          <p:nvPr>
            <p:ph type="body" sz="quarter" idx="19" hasCustomPrompt="1"/>
          </p:nvPr>
        </p:nvSpPr>
        <p:spPr>
          <a:xfrm>
            <a:off x="5423926"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0" name="Text Placeholder 22">
            <a:extLst>
              <a:ext uri="{FF2B5EF4-FFF2-40B4-BE49-F238E27FC236}">
                <a16:creationId xmlns:a16="http://schemas.microsoft.com/office/drawing/2014/main" id="{B0F20950-9A8D-CE63-A9B5-406D7BCDE4F8}"/>
              </a:ext>
            </a:extLst>
          </p:cNvPr>
          <p:cNvSpPr>
            <a:spLocks noGrp="1"/>
          </p:cNvSpPr>
          <p:nvPr>
            <p:ph type="body" sz="quarter" idx="20" hasCustomPrompt="1"/>
          </p:nvPr>
        </p:nvSpPr>
        <p:spPr>
          <a:xfrm>
            <a:off x="9360363"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9940119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0F0A2-A49F-B74C-254C-933B9780B24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67E4631-7DD6-AA07-6F24-6DBD544D8D1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6E5F3B-A706-C61A-FCCC-6B413AEF2696}"/>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920F2F2C-0AB1-7C16-36CB-8E8EBC1FAB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02273F-2BBC-1803-2C20-01FAB03CFD1F}"/>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37987675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in Points 3">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 name="Freeform 1">
            <a:extLst>
              <a:ext uri="{FF2B5EF4-FFF2-40B4-BE49-F238E27FC236}">
                <a16:creationId xmlns:a16="http://schemas.microsoft.com/office/drawing/2014/main" id="{7FC68C33-E029-6C22-0762-EC6581267FEF}"/>
              </a:ext>
            </a:extLst>
          </p:cNvPr>
          <p:cNvSpPr/>
          <p:nvPr userDrawn="1"/>
        </p:nvSpPr>
        <p:spPr>
          <a:xfrm>
            <a:off x="4412222"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5" name="Freeform 4">
            <a:extLst>
              <a:ext uri="{FF2B5EF4-FFF2-40B4-BE49-F238E27FC236}">
                <a16:creationId xmlns:a16="http://schemas.microsoft.com/office/drawing/2014/main" id="{879D6BC5-8D63-5278-B1D2-94F5A9DF891E}"/>
              </a:ext>
            </a:extLst>
          </p:cNvPr>
          <p:cNvSpPr/>
          <p:nvPr userDrawn="1"/>
        </p:nvSpPr>
        <p:spPr>
          <a:xfrm>
            <a:off x="8344445"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1"/>
          </a:solidFill>
          <a:ln w="0" cap="flat">
            <a:noFill/>
            <a:prstDash val="solid"/>
            <a:miter/>
          </a:ln>
        </p:spPr>
        <p:txBody>
          <a:bodyPr rtlCol="0" anchor="ctr">
            <a:normAutofit/>
          </a:bodyPr>
          <a:lstStyle/>
          <a:p>
            <a:pPr>
              <a:lnSpc>
                <a:spcPts val="1867"/>
              </a:lnSpc>
            </a:pPr>
            <a:endParaRPr lang="en-AD" sz="1467"/>
          </a:p>
        </p:txBody>
      </p:sp>
      <p:sp>
        <p:nvSpPr>
          <p:cNvPr id="6" name="Freeform 5">
            <a:extLst>
              <a:ext uri="{FF2B5EF4-FFF2-40B4-BE49-F238E27FC236}">
                <a16:creationId xmlns:a16="http://schemas.microsoft.com/office/drawing/2014/main" id="{2F8011D0-DE62-A449-C043-5F9B6FBF8E6C}"/>
              </a:ext>
            </a:extLst>
          </p:cNvPr>
          <p:cNvSpPr/>
          <p:nvPr userDrawn="1"/>
        </p:nvSpPr>
        <p:spPr>
          <a:xfrm>
            <a:off x="9300177" y="1812723"/>
            <a:ext cx="1448535" cy="1449112"/>
          </a:xfrm>
          <a:custGeom>
            <a:avLst/>
            <a:gdLst>
              <a:gd name="connsiteX0" fmla="*/ 1271413 w 1271413"/>
              <a:gd name="connsiteY0" fmla="*/ 635960 h 1271920"/>
              <a:gd name="connsiteX1" fmla="*/ 635706 w 1271413"/>
              <a:gd name="connsiteY1" fmla="*/ 1271920 h 1271920"/>
              <a:gd name="connsiteX2" fmla="*/ 0 w 1271413"/>
              <a:gd name="connsiteY2" fmla="*/ 635960 h 1271920"/>
              <a:gd name="connsiteX3" fmla="*/ 635706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6" y="1271920"/>
                </a:cubicBezTo>
                <a:cubicBezTo>
                  <a:pt x="284615" y="1271920"/>
                  <a:pt x="0" y="987191"/>
                  <a:pt x="0" y="635960"/>
                </a:cubicBezTo>
                <a:cubicBezTo>
                  <a:pt x="0" y="284729"/>
                  <a:pt x="284615" y="0"/>
                  <a:pt x="635706"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7" name="Freeform 6">
            <a:extLst>
              <a:ext uri="{FF2B5EF4-FFF2-40B4-BE49-F238E27FC236}">
                <a16:creationId xmlns:a16="http://schemas.microsoft.com/office/drawing/2014/main" id="{DA94656C-A3EC-662B-9E00-92E0A5D9EE61}"/>
              </a:ext>
            </a:extLst>
          </p:cNvPr>
          <p:cNvSpPr/>
          <p:nvPr userDrawn="1"/>
        </p:nvSpPr>
        <p:spPr>
          <a:xfrm>
            <a:off x="5367954" y="1812723"/>
            <a:ext cx="1448535" cy="1449112"/>
          </a:xfrm>
          <a:custGeom>
            <a:avLst/>
            <a:gdLst>
              <a:gd name="connsiteX0" fmla="*/ 1271414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4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4" y="635960"/>
                </a:moveTo>
                <a:cubicBezTo>
                  <a:pt x="1271414" y="987191"/>
                  <a:pt x="986798" y="1271920"/>
                  <a:pt x="635707" y="1271920"/>
                </a:cubicBezTo>
                <a:cubicBezTo>
                  <a:pt x="284616" y="1271920"/>
                  <a:pt x="0" y="987191"/>
                  <a:pt x="0" y="635960"/>
                </a:cubicBezTo>
                <a:cubicBezTo>
                  <a:pt x="0" y="284729"/>
                  <a:pt x="284616" y="0"/>
                  <a:pt x="635707" y="0"/>
                </a:cubicBezTo>
                <a:cubicBezTo>
                  <a:pt x="986798" y="0"/>
                  <a:pt x="1271414" y="284729"/>
                  <a:pt x="1271414"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8" name="Freeform 7">
            <a:extLst>
              <a:ext uri="{FF2B5EF4-FFF2-40B4-BE49-F238E27FC236}">
                <a16:creationId xmlns:a16="http://schemas.microsoft.com/office/drawing/2014/main" id="{C39C3043-69AE-A3AA-A59E-D2C1E1295FFB}"/>
              </a:ext>
            </a:extLst>
          </p:cNvPr>
          <p:cNvSpPr/>
          <p:nvPr userDrawn="1"/>
        </p:nvSpPr>
        <p:spPr>
          <a:xfrm>
            <a:off x="479999"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9" name="Freeform 8">
            <a:extLst>
              <a:ext uri="{FF2B5EF4-FFF2-40B4-BE49-F238E27FC236}">
                <a16:creationId xmlns:a16="http://schemas.microsoft.com/office/drawing/2014/main" id="{76FFDF97-71F7-F237-8E41-CD102B85FB06}"/>
              </a:ext>
            </a:extLst>
          </p:cNvPr>
          <p:cNvSpPr/>
          <p:nvPr userDrawn="1"/>
        </p:nvSpPr>
        <p:spPr>
          <a:xfrm>
            <a:off x="1435731" y="1812723"/>
            <a:ext cx="1448535" cy="1449112"/>
          </a:xfrm>
          <a:custGeom>
            <a:avLst/>
            <a:gdLst>
              <a:gd name="connsiteX0" fmla="*/ 1271413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7" y="1271920"/>
                </a:cubicBezTo>
                <a:cubicBezTo>
                  <a:pt x="284616" y="1271920"/>
                  <a:pt x="0" y="987191"/>
                  <a:pt x="0" y="635960"/>
                </a:cubicBezTo>
                <a:cubicBezTo>
                  <a:pt x="0" y="284729"/>
                  <a:pt x="284616" y="0"/>
                  <a:pt x="635707"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19" name="Text Placeholder 18">
            <a:extLst>
              <a:ext uri="{FF2B5EF4-FFF2-40B4-BE49-F238E27FC236}">
                <a16:creationId xmlns:a16="http://schemas.microsoft.com/office/drawing/2014/main" id="{158AF768-21A9-A7F4-D716-466F7075126E}"/>
              </a:ext>
            </a:extLst>
          </p:cNvPr>
          <p:cNvSpPr>
            <a:spLocks noGrp="1"/>
          </p:cNvSpPr>
          <p:nvPr>
            <p:ph type="body" sz="quarter" idx="15"/>
          </p:nvPr>
        </p:nvSpPr>
        <p:spPr>
          <a:xfrm>
            <a:off x="728134"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20" name="Text Placeholder 18">
            <a:extLst>
              <a:ext uri="{FF2B5EF4-FFF2-40B4-BE49-F238E27FC236}">
                <a16:creationId xmlns:a16="http://schemas.microsoft.com/office/drawing/2014/main" id="{EC9FDA71-85F6-DE5B-52B7-F9E3A5CD2388}"/>
              </a:ext>
            </a:extLst>
          </p:cNvPr>
          <p:cNvSpPr>
            <a:spLocks noGrp="1"/>
          </p:cNvSpPr>
          <p:nvPr>
            <p:ph type="body" sz="quarter" idx="16"/>
          </p:nvPr>
        </p:nvSpPr>
        <p:spPr>
          <a:xfrm>
            <a:off x="4655841"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21" name="Text Placeholder 18">
            <a:extLst>
              <a:ext uri="{FF2B5EF4-FFF2-40B4-BE49-F238E27FC236}">
                <a16:creationId xmlns:a16="http://schemas.microsoft.com/office/drawing/2014/main" id="{F924DA4B-FFBB-F222-E5ED-ECE36B483B8E}"/>
              </a:ext>
            </a:extLst>
          </p:cNvPr>
          <p:cNvSpPr>
            <a:spLocks noGrp="1"/>
          </p:cNvSpPr>
          <p:nvPr>
            <p:ph type="body" sz="quarter" idx="17"/>
          </p:nvPr>
        </p:nvSpPr>
        <p:spPr>
          <a:xfrm>
            <a:off x="8592278"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GB"/>
              <a:t>Click to edit Master text styles</a:t>
            </a:r>
          </a:p>
        </p:txBody>
      </p:sp>
      <p:sp>
        <p:nvSpPr>
          <p:cNvPr id="23" name="Text Placeholder 22">
            <a:extLst>
              <a:ext uri="{FF2B5EF4-FFF2-40B4-BE49-F238E27FC236}">
                <a16:creationId xmlns:a16="http://schemas.microsoft.com/office/drawing/2014/main" id="{55720C65-C33F-8DA5-0847-AF133FE44783}"/>
              </a:ext>
            </a:extLst>
          </p:cNvPr>
          <p:cNvSpPr>
            <a:spLocks noGrp="1"/>
          </p:cNvSpPr>
          <p:nvPr>
            <p:ph type="body" sz="quarter" idx="18" hasCustomPrompt="1"/>
          </p:nvPr>
        </p:nvSpPr>
        <p:spPr>
          <a:xfrm>
            <a:off x="1493274"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24" name="Text Placeholder 22">
            <a:extLst>
              <a:ext uri="{FF2B5EF4-FFF2-40B4-BE49-F238E27FC236}">
                <a16:creationId xmlns:a16="http://schemas.microsoft.com/office/drawing/2014/main" id="{8AB935E3-9ED2-CD07-AC0A-F49FDF41FEDD}"/>
              </a:ext>
            </a:extLst>
          </p:cNvPr>
          <p:cNvSpPr>
            <a:spLocks noGrp="1"/>
          </p:cNvSpPr>
          <p:nvPr>
            <p:ph type="body" sz="quarter" idx="19" hasCustomPrompt="1"/>
          </p:nvPr>
        </p:nvSpPr>
        <p:spPr>
          <a:xfrm>
            <a:off x="5423926"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5" name="Text Placeholder 22">
            <a:extLst>
              <a:ext uri="{FF2B5EF4-FFF2-40B4-BE49-F238E27FC236}">
                <a16:creationId xmlns:a16="http://schemas.microsoft.com/office/drawing/2014/main" id="{9B512850-2B9C-8D95-E0DD-D4C810D8FD3A}"/>
              </a:ext>
            </a:extLst>
          </p:cNvPr>
          <p:cNvSpPr>
            <a:spLocks noGrp="1"/>
          </p:cNvSpPr>
          <p:nvPr>
            <p:ph type="body" sz="quarter" idx="20" hasCustomPrompt="1"/>
          </p:nvPr>
        </p:nvSpPr>
        <p:spPr>
          <a:xfrm>
            <a:off x="9360363" y="1794789"/>
            <a:ext cx="1322916" cy="1267884"/>
          </a:xfrm>
          <a:prstGeom prst="rect">
            <a:avLst/>
          </a:prstGeom>
        </p:spPr>
        <p:txBody>
          <a:bodyPr anchor="ctr" anchorCtr="0">
            <a:normAutofit/>
          </a:bodyPr>
          <a:lstStyle>
            <a:lvl1pPr marL="0" indent="0" algn="ctr">
              <a:buNone/>
              <a:defRPr sz="6400">
                <a:solidFill>
                  <a:schemeClr val="accent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25762203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in Points &amp; Pictur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15" name="Text Placeholder 14">
            <a:extLst>
              <a:ext uri="{FF2B5EF4-FFF2-40B4-BE49-F238E27FC236}">
                <a16:creationId xmlns:a16="http://schemas.microsoft.com/office/drawing/2014/main" id="{ACA5B2AB-796F-0F40-6E8C-FD5E295DC2D7}"/>
              </a:ext>
            </a:extLst>
          </p:cNvPr>
          <p:cNvSpPr>
            <a:spLocks noGrp="1"/>
          </p:cNvSpPr>
          <p:nvPr>
            <p:ph type="body" sz="quarter" idx="15"/>
          </p:nvPr>
        </p:nvSpPr>
        <p:spPr>
          <a:xfrm>
            <a:off x="6088994" y="2178635"/>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GB"/>
              <a:t>Click to edit Master text styles</a:t>
            </a:r>
          </a:p>
        </p:txBody>
      </p:sp>
      <p:sp>
        <p:nvSpPr>
          <p:cNvPr id="16" name="Text Placeholder 14">
            <a:extLst>
              <a:ext uri="{FF2B5EF4-FFF2-40B4-BE49-F238E27FC236}">
                <a16:creationId xmlns:a16="http://schemas.microsoft.com/office/drawing/2014/main" id="{B79418CE-7C06-8CFE-1F2F-DD15C296A773}"/>
              </a:ext>
            </a:extLst>
          </p:cNvPr>
          <p:cNvSpPr>
            <a:spLocks noGrp="1"/>
          </p:cNvSpPr>
          <p:nvPr>
            <p:ph type="body" sz="quarter" idx="16"/>
          </p:nvPr>
        </p:nvSpPr>
        <p:spPr>
          <a:xfrm>
            <a:off x="6088994" y="2653159"/>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GB"/>
              <a:t>Click to edit Master text styles</a:t>
            </a:r>
          </a:p>
        </p:txBody>
      </p:sp>
      <p:sp>
        <p:nvSpPr>
          <p:cNvPr id="17" name="Text Placeholder 14">
            <a:extLst>
              <a:ext uri="{FF2B5EF4-FFF2-40B4-BE49-F238E27FC236}">
                <a16:creationId xmlns:a16="http://schemas.microsoft.com/office/drawing/2014/main" id="{8D6DBA23-45CE-00C6-8D4F-0A6F8E079D21}"/>
              </a:ext>
            </a:extLst>
          </p:cNvPr>
          <p:cNvSpPr>
            <a:spLocks noGrp="1"/>
          </p:cNvSpPr>
          <p:nvPr>
            <p:ph type="body" sz="quarter" idx="17"/>
          </p:nvPr>
        </p:nvSpPr>
        <p:spPr>
          <a:xfrm>
            <a:off x="6088994" y="3457028"/>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GB"/>
              <a:t>Click to edit Master text styles</a:t>
            </a:r>
          </a:p>
        </p:txBody>
      </p:sp>
      <p:sp>
        <p:nvSpPr>
          <p:cNvPr id="18" name="Text Placeholder 14">
            <a:extLst>
              <a:ext uri="{FF2B5EF4-FFF2-40B4-BE49-F238E27FC236}">
                <a16:creationId xmlns:a16="http://schemas.microsoft.com/office/drawing/2014/main" id="{A0B61CFC-F9BD-265E-F0E0-6326EABA2D16}"/>
              </a:ext>
            </a:extLst>
          </p:cNvPr>
          <p:cNvSpPr>
            <a:spLocks noGrp="1"/>
          </p:cNvSpPr>
          <p:nvPr>
            <p:ph type="body" sz="quarter" idx="18"/>
          </p:nvPr>
        </p:nvSpPr>
        <p:spPr>
          <a:xfrm>
            <a:off x="6088994" y="3931552"/>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GB"/>
              <a:t>Click to edit Master text styles</a:t>
            </a:r>
          </a:p>
        </p:txBody>
      </p:sp>
      <p:sp>
        <p:nvSpPr>
          <p:cNvPr id="19" name="Text Placeholder 14">
            <a:extLst>
              <a:ext uri="{FF2B5EF4-FFF2-40B4-BE49-F238E27FC236}">
                <a16:creationId xmlns:a16="http://schemas.microsoft.com/office/drawing/2014/main" id="{5A468320-D2F3-B39F-E547-2E4C9510F6BD}"/>
              </a:ext>
            </a:extLst>
          </p:cNvPr>
          <p:cNvSpPr>
            <a:spLocks noGrp="1"/>
          </p:cNvSpPr>
          <p:nvPr>
            <p:ph type="body" sz="quarter" idx="19"/>
          </p:nvPr>
        </p:nvSpPr>
        <p:spPr>
          <a:xfrm>
            <a:off x="6088994" y="4743036"/>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GB"/>
              <a:t>Click to edit Master text styles</a:t>
            </a:r>
          </a:p>
        </p:txBody>
      </p:sp>
      <p:sp>
        <p:nvSpPr>
          <p:cNvPr id="20" name="Text Placeholder 14">
            <a:extLst>
              <a:ext uri="{FF2B5EF4-FFF2-40B4-BE49-F238E27FC236}">
                <a16:creationId xmlns:a16="http://schemas.microsoft.com/office/drawing/2014/main" id="{86CD6EEC-FC91-60BF-2274-2EA132EDDE5C}"/>
              </a:ext>
            </a:extLst>
          </p:cNvPr>
          <p:cNvSpPr>
            <a:spLocks noGrp="1"/>
          </p:cNvSpPr>
          <p:nvPr>
            <p:ph type="body" sz="quarter" idx="20"/>
          </p:nvPr>
        </p:nvSpPr>
        <p:spPr>
          <a:xfrm>
            <a:off x="6088994" y="5217560"/>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GB"/>
              <a:t>Click to edit Master text styles</a:t>
            </a:r>
          </a:p>
        </p:txBody>
      </p:sp>
      <p:sp>
        <p:nvSpPr>
          <p:cNvPr id="33" name="Picture Placeholder 32">
            <a:extLst>
              <a:ext uri="{FF2B5EF4-FFF2-40B4-BE49-F238E27FC236}">
                <a16:creationId xmlns:a16="http://schemas.microsoft.com/office/drawing/2014/main" id="{EA6C729B-D79E-CB3D-68EF-CBF32D017BD4}"/>
              </a:ext>
            </a:extLst>
          </p:cNvPr>
          <p:cNvSpPr>
            <a:spLocks noGrp="1"/>
          </p:cNvSpPr>
          <p:nvPr>
            <p:ph type="pic" sz="quarter" idx="21"/>
          </p:nvPr>
        </p:nvSpPr>
        <p:spPr>
          <a:xfrm>
            <a:off x="476251" y="1982661"/>
            <a:ext cx="4000500" cy="4000500"/>
          </a:xfrm>
          <a:prstGeom prst="ellipse">
            <a:avLst/>
          </a:prstGeom>
          <a:solidFill>
            <a:schemeClr val="tx2"/>
          </a:solidFill>
        </p:spPr>
        <p:txBody>
          <a:bodyPr anchor="ctr" anchorCtr="0"/>
          <a:lstStyle>
            <a:lvl1pPr marL="0" indent="0" algn="ctr">
              <a:buNone/>
              <a:defRPr>
                <a:solidFill>
                  <a:schemeClr val="bg1"/>
                </a:solidFill>
              </a:defRPr>
            </a:lvl1pPr>
          </a:lstStyle>
          <a:p>
            <a:r>
              <a:rPr lang="en-GB"/>
              <a:t>Click icon to add picture</a:t>
            </a:r>
            <a:endParaRPr lang="en-AD"/>
          </a:p>
        </p:txBody>
      </p:sp>
      <p:sp>
        <p:nvSpPr>
          <p:cNvPr id="36" name="Picture Placeholder 35">
            <a:extLst>
              <a:ext uri="{FF2B5EF4-FFF2-40B4-BE49-F238E27FC236}">
                <a16:creationId xmlns:a16="http://schemas.microsoft.com/office/drawing/2014/main" id="{5E0023AC-FDAF-72FC-6414-693ED4362CBB}"/>
              </a:ext>
            </a:extLst>
          </p:cNvPr>
          <p:cNvSpPr>
            <a:spLocks noGrp="1"/>
          </p:cNvSpPr>
          <p:nvPr>
            <p:ph type="pic" sz="quarter" idx="22"/>
          </p:nvPr>
        </p:nvSpPr>
        <p:spPr>
          <a:xfrm>
            <a:off x="5107444" y="2230408"/>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GB"/>
              <a:t>Click icon to add picture</a:t>
            </a:r>
            <a:endParaRPr lang="en-AD"/>
          </a:p>
        </p:txBody>
      </p:sp>
      <p:sp>
        <p:nvSpPr>
          <p:cNvPr id="37" name="Picture Placeholder 35">
            <a:extLst>
              <a:ext uri="{FF2B5EF4-FFF2-40B4-BE49-F238E27FC236}">
                <a16:creationId xmlns:a16="http://schemas.microsoft.com/office/drawing/2014/main" id="{A861DEA2-7FC3-05F4-B6B4-EBCF36A1041F}"/>
              </a:ext>
            </a:extLst>
          </p:cNvPr>
          <p:cNvSpPr>
            <a:spLocks noGrp="1"/>
          </p:cNvSpPr>
          <p:nvPr>
            <p:ph type="pic" sz="quarter" idx="23"/>
          </p:nvPr>
        </p:nvSpPr>
        <p:spPr>
          <a:xfrm>
            <a:off x="5107444" y="3505282"/>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GB"/>
              <a:t>Click icon to add picture</a:t>
            </a:r>
            <a:endParaRPr lang="en-AD"/>
          </a:p>
        </p:txBody>
      </p:sp>
      <p:sp>
        <p:nvSpPr>
          <p:cNvPr id="38" name="Picture Placeholder 35">
            <a:extLst>
              <a:ext uri="{FF2B5EF4-FFF2-40B4-BE49-F238E27FC236}">
                <a16:creationId xmlns:a16="http://schemas.microsoft.com/office/drawing/2014/main" id="{BB565A45-2609-3047-B5D5-0C5F25ADF4AD}"/>
              </a:ext>
            </a:extLst>
          </p:cNvPr>
          <p:cNvSpPr>
            <a:spLocks noGrp="1"/>
          </p:cNvSpPr>
          <p:nvPr>
            <p:ph type="pic" sz="quarter" idx="24"/>
          </p:nvPr>
        </p:nvSpPr>
        <p:spPr>
          <a:xfrm>
            <a:off x="5107444" y="4780157"/>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GB"/>
              <a:t>Click icon to add picture</a:t>
            </a:r>
            <a:endParaRPr lang="en-AD"/>
          </a:p>
        </p:txBody>
      </p:sp>
    </p:spTree>
    <p:extLst>
      <p:ext uri="{BB962C8B-B14F-4D97-AF65-F5344CB8AC3E}">
        <p14:creationId xmlns:p14="http://schemas.microsoft.com/office/powerpoint/2010/main" val="339509105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255216C-CAA9-C9C9-5D69-B81FBE12C654}"/>
              </a:ext>
            </a:extLst>
          </p:cNvPr>
          <p:cNvSpPr/>
          <p:nvPr userDrawn="1"/>
        </p:nvSpPr>
        <p:spPr>
          <a:xfrm>
            <a:off x="-30480" y="5064370"/>
            <a:ext cx="12252960" cy="1793631"/>
          </a:xfrm>
          <a:prstGeom prst="rect">
            <a:avLst/>
          </a:pr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5" name="Title 4">
            <a:extLst>
              <a:ext uri="{FF2B5EF4-FFF2-40B4-BE49-F238E27FC236}">
                <a16:creationId xmlns:a16="http://schemas.microsoft.com/office/drawing/2014/main" id="{3CBD18EC-0875-404E-A266-49733530A63C}"/>
              </a:ext>
            </a:extLst>
          </p:cNvPr>
          <p:cNvSpPr>
            <a:spLocks noGrp="1"/>
          </p:cNvSpPr>
          <p:nvPr>
            <p:ph type="title" hasCustomPrompt="1"/>
          </p:nvPr>
        </p:nvSpPr>
        <p:spPr>
          <a:xfrm>
            <a:off x="1574400" y="1625718"/>
            <a:ext cx="9043200" cy="614695"/>
          </a:xfrm>
        </p:spPr>
        <p:txBody>
          <a:bodyPr anchor="t" anchorCtr="0">
            <a:normAutofit/>
          </a:bodyPr>
          <a:lstStyle>
            <a:lvl1pPr algn="ctr">
              <a:defRPr sz="4000">
                <a:solidFill>
                  <a:schemeClr val="tx1"/>
                </a:solidFill>
              </a:defRPr>
            </a:lvl1pPr>
          </a:lstStyle>
          <a:p>
            <a:r>
              <a:rPr lang="en-GB" dirty="0"/>
              <a:t>Click to edit Title</a:t>
            </a:r>
            <a:endParaRPr lang="en-AD" dirty="0"/>
          </a:p>
        </p:txBody>
      </p:sp>
      <p:grpSp>
        <p:nvGrpSpPr>
          <p:cNvPr id="6" name="Group 5">
            <a:extLst>
              <a:ext uri="{FF2B5EF4-FFF2-40B4-BE49-F238E27FC236}">
                <a16:creationId xmlns:a16="http://schemas.microsoft.com/office/drawing/2014/main" id="{A21C726A-84F9-D608-B026-C1EC59990CC8}"/>
              </a:ext>
            </a:extLst>
          </p:cNvPr>
          <p:cNvGrpSpPr/>
          <p:nvPr userDrawn="1"/>
        </p:nvGrpSpPr>
        <p:grpSpPr>
          <a:xfrm>
            <a:off x="5550645" y="577025"/>
            <a:ext cx="1085908" cy="821904"/>
            <a:chOff x="1001339" y="887094"/>
            <a:chExt cx="814431" cy="616428"/>
          </a:xfrm>
        </p:grpSpPr>
        <p:sp>
          <p:nvSpPr>
            <p:cNvPr id="7" name="Freeform 6">
              <a:extLst>
                <a:ext uri="{FF2B5EF4-FFF2-40B4-BE49-F238E27FC236}">
                  <a16:creationId xmlns:a16="http://schemas.microsoft.com/office/drawing/2014/main" id="{2F5BD163-194D-F255-4C16-95C03F165BC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tx1"/>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14A5B99E-420C-FD01-9214-B6D65653389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FF34452E-2EA4-FCAE-04EE-3AFED31C6C28}"/>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tx1"/>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E8943E7-8570-AC73-0517-46C334A91DD9}"/>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12" name="TextBox 11">
            <a:extLst>
              <a:ext uri="{FF2B5EF4-FFF2-40B4-BE49-F238E27FC236}">
                <a16:creationId xmlns:a16="http://schemas.microsoft.com/office/drawing/2014/main" id="{AB14A78E-5E06-D40A-F634-F7755B4B9CA6}"/>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13" name="Picture Placeholder 2">
            <a:extLst>
              <a:ext uri="{FF2B5EF4-FFF2-40B4-BE49-F238E27FC236}">
                <a16:creationId xmlns:a16="http://schemas.microsoft.com/office/drawing/2014/main" id="{E249DE92-6651-6FF8-4E28-8A1EFC66B7C9}"/>
              </a:ext>
            </a:extLst>
          </p:cNvPr>
          <p:cNvSpPr>
            <a:spLocks noGrp="1" noChangeAspect="1"/>
          </p:cNvSpPr>
          <p:nvPr>
            <p:ph type="pic" sz="quarter" idx="15"/>
          </p:nvPr>
        </p:nvSpPr>
        <p:spPr>
          <a:xfrm>
            <a:off x="479999" y="3267165"/>
            <a:ext cx="2400000" cy="2400000"/>
          </a:xfrm>
          <a:prstGeom prst="rect">
            <a:avLst/>
          </a:prstGeom>
          <a:solidFill>
            <a:schemeClr val="tx2"/>
          </a:solidFill>
        </p:spPr>
        <p:txBody>
          <a:bodyPr anchor="ctr" anchorCtr="0">
            <a:normAutofit/>
          </a:bodyPr>
          <a:lstStyle>
            <a:lvl1pPr marL="0" indent="0" algn="ctr">
              <a:buNone/>
              <a:defRPr sz="1067">
                <a:solidFill>
                  <a:schemeClr val="bg1"/>
                </a:solidFill>
              </a:defRPr>
            </a:lvl1pPr>
          </a:lstStyle>
          <a:p>
            <a:r>
              <a:rPr lang="en-GB"/>
              <a:t>Click icon to add picture</a:t>
            </a:r>
            <a:endParaRPr lang="en-AD"/>
          </a:p>
        </p:txBody>
      </p:sp>
      <p:sp>
        <p:nvSpPr>
          <p:cNvPr id="14" name="Picture Placeholder 4">
            <a:extLst>
              <a:ext uri="{FF2B5EF4-FFF2-40B4-BE49-F238E27FC236}">
                <a16:creationId xmlns:a16="http://schemas.microsoft.com/office/drawing/2014/main" id="{D4E50AF2-9895-0A4E-678B-BD2EC21747A4}"/>
              </a:ext>
            </a:extLst>
          </p:cNvPr>
          <p:cNvSpPr>
            <a:spLocks noGrp="1" noChangeAspect="1"/>
          </p:cNvSpPr>
          <p:nvPr>
            <p:ph type="pic" sz="quarter" idx="16"/>
          </p:nvPr>
        </p:nvSpPr>
        <p:spPr>
          <a:xfrm>
            <a:off x="6364799" y="3267165"/>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GB"/>
              <a:t>Click icon to add picture</a:t>
            </a:r>
            <a:endParaRPr lang="en-AD"/>
          </a:p>
        </p:txBody>
      </p:sp>
      <p:sp>
        <p:nvSpPr>
          <p:cNvPr id="15" name="Picture Placeholder 6">
            <a:extLst>
              <a:ext uri="{FF2B5EF4-FFF2-40B4-BE49-F238E27FC236}">
                <a16:creationId xmlns:a16="http://schemas.microsoft.com/office/drawing/2014/main" id="{F21C3926-BECE-E662-13AC-758E3DCFF808}"/>
              </a:ext>
            </a:extLst>
          </p:cNvPr>
          <p:cNvSpPr>
            <a:spLocks noGrp="1" noChangeAspect="1"/>
          </p:cNvSpPr>
          <p:nvPr>
            <p:ph type="pic" sz="quarter" idx="17"/>
          </p:nvPr>
        </p:nvSpPr>
        <p:spPr>
          <a:xfrm>
            <a:off x="9307200"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GB"/>
              <a:t>Click icon to add picture</a:t>
            </a:r>
            <a:endParaRPr lang="en-AD"/>
          </a:p>
        </p:txBody>
      </p:sp>
      <p:sp>
        <p:nvSpPr>
          <p:cNvPr id="17" name="Picture Placeholder 10">
            <a:extLst>
              <a:ext uri="{FF2B5EF4-FFF2-40B4-BE49-F238E27FC236}">
                <a16:creationId xmlns:a16="http://schemas.microsoft.com/office/drawing/2014/main" id="{0F715FC3-04C5-462E-CF77-F8D811E524CC}"/>
              </a:ext>
            </a:extLst>
          </p:cNvPr>
          <p:cNvSpPr>
            <a:spLocks noGrp="1" noChangeAspect="1"/>
          </p:cNvSpPr>
          <p:nvPr>
            <p:ph type="pic" sz="quarter" idx="18"/>
          </p:nvPr>
        </p:nvSpPr>
        <p:spPr>
          <a:xfrm>
            <a:off x="3422399"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GB"/>
              <a:t>Click icon to add picture</a:t>
            </a:r>
            <a:endParaRPr lang="en-AD"/>
          </a:p>
        </p:txBody>
      </p:sp>
      <p:sp>
        <p:nvSpPr>
          <p:cNvPr id="2" name="Text Placeholder 11">
            <a:extLst>
              <a:ext uri="{FF2B5EF4-FFF2-40B4-BE49-F238E27FC236}">
                <a16:creationId xmlns:a16="http://schemas.microsoft.com/office/drawing/2014/main" id="{C64B6702-7ADD-5C93-24CA-4CE82ADA5C5A}"/>
              </a:ext>
            </a:extLst>
          </p:cNvPr>
          <p:cNvSpPr>
            <a:spLocks noGrp="1"/>
          </p:cNvSpPr>
          <p:nvPr>
            <p:ph type="body" sz="quarter" idx="13" hasCustomPrompt="1"/>
          </p:nvPr>
        </p:nvSpPr>
        <p:spPr>
          <a:xfrm>
            <a:off x="1574400" y="2256491"/>
            <a:ext cx="9043200" cy="370416"/>
          </a:xfrm>
          <a:prstGeom prst="rect">
            <a:avLst/>
          </a:prstGeom>
        </p:spPr>
        <p:txBody>
          <a:bodyPr>
            <a:normAutofit/>
          </a:bodyPr>
          <a:lstStyle>
            <a:lvl1pPr marL="0" indent="0" algn="ctr">
              <a:buNone/>
              <a:defRPr sz="1867">
                <a:solidFill>
                  <a:schemeClr val="tx2"/>
                </a:solidFill>
              </a:defRPr>
            </a:lvl1pPr>
            <a:lvl2pPr>
              <a:defRPr sz="2000"/>
            </a:lvl2pPr>
            <a:lvl3pPr>
              <a:defRPr sz="2000"/>
            </a:lvl3pPr>
            <a:lvl4pPr>
              <a:defRPr sz="2000"/>
            </a:lvl4pPr>
            <a:lvl5pPr>
              <a:defRPr sz="2000"/>
            </a:lvl5pPr>
          </a:lstStyle>
          <a:p>
            <a:pPr lvl="0"/>
            <a:r>
              <a:rPr lang="en-US" dirty="0"/>
              <a:t>CLICK TO EDIT SUBTITLE</a:t>
            </a:r>
          </a:p>
        </p:txBody>
      </p:sp>
    </p:spTree>
    <p:extLst>
      <p:ext uri="{BB962C8B-B14F-4D97-AF65-F5344CB8AC3E}">
        <p14:creationId xmlns:p14="http://schemas.microsoft.com/office/powerpoint/2010/main" val="117226312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in point">
    <p:bg>
      <p:bgPr>
        <a:solidFill>
          <a:schemeClr val="accent4"/>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8EF2230-BF37-377D-8ED5-D5F99B2BCB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17272"/>
            <a:ext cx="12252960" cy="6875272"/>
          </a:xfrm>
          <a:prstGeom prst="rect">
            <a:avLst/>
          </a:prstGeom>
        </p:spPr>
      </p:pic>
      <p:sp>
        <p:nvSpPr>
          <p:cNvPr id="5" name="Title 4">
            <a:extLst>
              <a:ext uri="{FF2B5EF4-FFF2-40B4-BE49-F238E27FC236}">
                <a16:creationId xmlns:a16="http://schemas.microsoft.com/office/drawing/2014/main" id="{3CBD18EC-0875-404E-A266-49733530A63C}"/>
              </a:ext>
            </a:extLst>
          </p:cNvPr>
          <p:cNvSpPr>
            <a:spLocks noGrp="1"/>
          </p:cNvSpPr>
          <p:nvPr>
            <p:ph type="title"/>
          </p:nvPr>
        </p:nvSpPr>
        <p:spPr>
          <a:xfrm>
            <a:off x="480000" y="2111857"/>
            <a:ext cx="11232000" cy="2634287"/>
          </a:xfrm>
        </p:spPr>
        <p:txBody>
          <a:bodyPr anchor="ctr" anchorCtr="0">
            <a:normAutofit/>
          </a:bodyPr>
          <a:lstStyle>
            <a:lvl1pPr algn="ctr">
              <a:defRPr sz="4800" cap="all" baseline="0">
                <a:solidFill>
                  <a:schemeClr val="bg1"/>
                </a:solidFill>
              </a:defRPr>
            </a:lvl1pPr>
          </a:lstStyle>
          <a:p>
            <a:r>
              <a:rPr lang="en-GB"/>
              <a:t>Click to edit Master title style</a:t>
            </a:r>
            <a:endParaRPr lang="en-AD"/>
          </a:p>
        </p:txBody>
      </p:sp>
      <p:grpSp>
        <p:nvGrpSpPr>
          <p:cNvPr id="3" name="Group 2">
            <a:extLst>
              <a:ext uri="{FF2B5EF4-FFF2-40B4-BE49-F238E27FC236}">
                <a16:creationId xmlns:a16="http://schemas.microsoft.com/office/drawing/2014/main" id="{92699F5E-D96E-24CF-679E-5CBE94876446}"/>
              </a:ext>
            </a:extLst>
          </p:cNvPr>
          <p:cNvGrpSpPr/>
          <p:nvPr userDrawn="1"/>
        </p:nvGrpSpPr>
        <p:grpSpPr>
          <a:xfrm>
            <a:off x="5550645" y="773217"/>
            <a:ext cx="1085908" cy="821904"/>
            <a:chOff x="1001339" y="887094"/>
            <a:chExt cx="814431" cy="616428"/>
          </a:xfrm>
          <a:solidFill>
            <a:schemeClr val="bg1"/>
          </a:solidFill>
        </p:grpSpPr>
        <p:sp>
          <p:nvSpPr>
            <p:cNvPr id="6" name="Freeform 5">
              <a:extLst>
                <a:ext uri="{FF2B5EF4-FFF2-40B4-BE49-F238E27FC236}">
                  <a16:creationId xmlns:a16="http://schemas.microsoft.com/office/drawing/2014/main" id="{FCDE8D57-E53E-6F98-08CA-268A52397CAA}"/>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6B622938-F292-F475-A979-97107B3A72F6}"/>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28E3FADD-F7FF-AC37-3901-4EF50470602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2" name="Rectangle 11">
            <a:extLst>
              <a:ext uri="{FF2B5EF4-FFF2-40B4-BE49-F238E27FC236}">
                <a16:creationId xmlns:a16="http://schemas.microsoft.com/office/drawing/2014/main" id="{D2A7B2E4-44EA-C4D3-6FE7-FB9F67723427}"/>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3" name="TextBox 12">
            <a:extLst>
              <a:ext uri="{FF2B5EF4-FFF2-40B4-BE49-F238E27FC236}">
                <a16:creationId xmlns:a16="http://schemas.microsoft.com/office/drawing/2014/main" id="{79A53763-2BB6-9B6B-6985-7EA40AC52A1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14" name="Slide Number Placeholder 6">
            <a:extLst>
              <a:ext uri="{FF2B5EF4-FFF2-40B4-BE49-F238E27FC236}">
                <a16:creationId xmlns:a16="http://schemas.microsoft.com/office/drawing/2014/main" id="{531BFB04-86E1-1D8F-3BB9-1A3DE83A5701}"/>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73975635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30649273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dirty="0"/>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dirty="0"/>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dirty="0">
                <a:solidFill>
                  <a:schemeClr val="accent1"/>
                </a:solidFill>
                <a:effectLst/>
                <a:latin typeface="+mn-lt"/>
              </a:rPr>
              <a:t>VICT</a:t>
            </a:r>
            <a:r>
              <a:rPr lang="en-GB" sz="1200" b="0" i="0" u="none" strike="noStrike" dirty="0">
                <a:solidFill>
                  <a:schemeClr val="tx2"/>
                </a:solidFill>
                <a:effectLst/>
                <a:latin typeface="+mj-lt"/>
              </a:rPr>
              <a:t>3R</a:t>
            </a:r>
            <a:r>
              <a:rPr lang="en-GB" sz="933" b="0" i="0" u="none" strike="noStrike" dirty="0">
                <a:solidFill>
                  <a:schemeClr val="tx1"/>
                </a:solidFill>
                <a:effectLst/>
                <a:latin typeface="+mn-lt"/>
              </a:rPr>
              <a:t>  Developing and Implementing Virtual Control Groups to reduce animal use in Toxicology Research</a:t>
            </a:r>
          </a:p>
        </p:txBody>
      </p:sp>
      <p:sp>
        <p:nvSpPr>
          <p:cNvPr id="2" name="Freeform 5">
            <a:extLst>
              <a:ext uri="{FF2B5EF4-FFF2-40B4-BE49-F238E27FC236}">
                <a16:creationId xmlns:a16="http://schemas.microsoft.com/office/drawing/2014/main" id="{B3CC76C5-19E8-9FE6-C7A4-6CB31AF4E399}"/>
              </a:ext>
            </a:extLst>
          </p:cNvPr>
          <p:cNvSpPr>
            <a:spLocks/>
          </p:cNvSpPr>
          <p:nvPr userDrawn="1"/>
        </p:nvSpPr>
        <p:spPr bwMode="auto">
          <a:xfrm>
            <a:off x="480001"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5" name="Rectangle 6">
            <a:extLst>
              <a:ext uri="{FF2B5EF4-FFF2-40B4-BE49-F238E27FC236}">
                <a16:creationId xmlns:a16="http://schemas.microsoft.com/office/drawing/2014/main" id="{F3B446C0-E98A-9AC6-A599-4A4D82985C21}"/>
              </a:ext>
            </a:extLst>
          </p:cNvPr>
          <p:cNvSpPr>
            <a:spLocks noChangeArrowheads="1"/>
          </p:cNvSpPr>
          <p:nvPr userDrawn="1"/>
        </p:nvSpPr>
        <p:spPr bwMode="auto">
          <a:xfrm>
            <a:off x="1786127"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6" name="TextBox 5">
            <a:extLst>
              <a:ext uri="{FF2B5EF4-FFF2-40B4-BE49-F238E27FC236}">
                <a16:creationId xmlns:a16="http://schemas.microsoft.com/office/drawing/2014/main" id="{AB637AB1-A742-DC7A-4C46-2FCF2281220B}"/>
              </a:ext>
            </a:extLst>
          </p:cNvPr>
          <p:cNvSpPr txBox="1"/>
          <p:nvPr userDrawn="1"/>
        </p:nvSpPr>
        <p:spPr>
          <a:xfrm>
            <a:off x="727602" y="2010778"/>
            <a:ext cx="755335" cy="769441"/>
          </a:xfrm>
          <a:prstGeom prst="rect">
            <a:avLst/>
          </a:prstGeom>
          <a:noFill/>
        </p:spPr>
        <p:txBody>
          <a:bodyPr wrap="none" rtlCol="0">
            <a:spAutoFit/>
          </a:bodyPr>
          <a:lstStyle/>
          <a:p>
            <a:pPr algn="ctr"/>
            <a:r>
              <a:rPr lang="en-US" sz="4400" b="0" i="0" dirty="0">
                <a:solidFill>
                  <a:schemeClr val="bg2"/>
                </a:solidFill>
                <a:latin typeface="+mj-lt"/>
                <a:ea typeface="Open Sans" pitchFamily="2" charset="0"/>
                <a:cs typeface="Calibri" panose="020F0502020204030204" pitchFamily="34" charset="0"/>
              </a:rPr>
              <a:t>01</a:t>
            </a:r>
          </a:p>
        </p:txBody>
      </p:sp>
      <p:sp>
        <p:nvSpPr>
          <p:cNvPr id="11" name="Text Placeholder 10">
            <a:extLst>
              <a:ext uri="{FF2B5EF4-FFF2-40B4-BE49-F238E27FC236}">
                <a16:creationId xmlns:a16="http://schemas.microsoft.com/office/drawing/2014/main" id="{499C8CB2-2C3A-AE1B-D70B-3965853FA605}"/>
              </a:ext>
            </a:extLst>
          </p:cNvPr>
          <p:cNvSpPr>
            <a:spLocks noGrp="1"/>
          </p:cNvSpPr>
          <p:nvPr>
            <p:ph type="body" sz="quarter" idx="15"/>
          </p:nvPr>
        </p:nvSpPr>
        <p:spPr>
          <a:xfrm>
            <a:off x="1955801"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12" name="Text Placeholder 10">
            <a:extLst>
              <a:ext uri="{FF2B5EF4-FFF2-40B4-BE49-F238E27FC236}">
                <a16:creationId xmlns:a16="http://schemas.microsoft.com/office/drawing/2014/main" id="{B95A92F5-9E27-67A4-9D2A-B1DBA78CCCA0}"/>
              </a:ext>
            </a:extLst>
          </p:cNvPr>
          <p:cNvSpPr>
            <a:spLocks noGrp="1"/>
          </p:cNvSpPr>
          <p:nvPr>
            <p:ph type="body" sz="quarter" idx="16"/>
          </p:nvPr>
        </p:nvSpPr>
        <p:spPr>
          <a:xfrm>
            <a:off x="1955801"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13" name="Freeform 5">
            <a:extLst>
              <a:ext uri="{FF2B5EF4-FFF2-40B4-BE49-F238E27FC236}">
                <a16:creationId xmlns:a16="http://schemas.microsoft.com/office/drawing/2014/main" id="{15C9888C-5CD6-A244-13C4-14EF3CE7080D}"/>
              </a:ext>
            </a:extLst>
          </p:cNvPr>
          <p:cNvSpPr>
            <a:spLocks/>
          </p:cNvSpPr>
          <p:nvPr userDrawn="1"/>
        </p:nvSpPr>
        <p:spPr bwMode="auto">
          <a:xfrm>
            <a:off x="480001"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14" name="Rectangle 6">
            <a:extLst>
              <a:ext uri="{FF2B5EF4-FFF2-40B4-BE49-F238E27FC236}">
                <a16:creationId xmlns:a16="http://schemas.microsoft.com/office/drawing/2014/main" id="{8F381367-B1C0-8A51-6DB1-29784584CBF3}"/>
              </a:ext>
            </a:extLst>
          </p:cNvPr>
          <p:cNvSpPr>
            <a:spLocks noChangeArrowheads="1"/>
          </p:cNvSpPr>
          <p:nvPr userDrawn="1"/>
        </p:nvSpPr>
        <p:spPr bwMode="auto">
          <a:xfrm>
            <a:off x="1786127"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15" name="TextBox 14">
            <a:extLst>
              <a:ext uri="{FF2B5EF4-FFF2-40B4-BE49-F238E27FC236}">
                <a16:creationId xmlns:a16="http://schemas.microsoft.com/office/drawing/2014/main" id="{0839BF74-CD5B-BD74-A948-EE0E50D62545}"/>
              </a:ext>
            </a:extLst>
          </p:cNvPr>
          <p:cNvSpPr txBox="1"/>
          <p:nvPr userDrawn="1"/>
        </p:nvSpPr>
        <p:spPr>
          <a:xfrm>
            <a:off x="727602" y="3431329"/>
            <a:ext cx="755335" cy="769441"/>
          </a:xfrm>
          <a:prstGeom prst="rect">
            <a:avLst/>
          </a:prstGeom>
          <a:noFill/>
        </p:spPr>
        <p:txBody>
          <a:bodyPr wrap="none" rtlCol="0">
            <a:spAutoFit/>
          </a:bodyPr>
          <a:lstStyle/>
          <a:p>
            <a:pPr algn="ctr"/>
            <a:r>
              <a:rPr lang="en-US" sz="4400" b="0" i="0" dirty="0">
                <a:solidFill>
                  <a:schemeClr val="bg2"/>
                </a:solidFill>
                <a:latin typeface="+mj-lt"/>
                <a:ea typeface="Open Sans" pitchFamily="2" charset="0"/>
                <a:cs typeface="Calibri" panose="020F0502020204030204" pitchFamily="34" charset="0"/>
              </a:rPr>
              <a:t>02</a:t>
            </a:r>
          </a:p>
        </p:txBody>
      </p:sp>
      <p:sp>
        <p:nvSpPr>
          <p:cNvPr id="16" name="Text Placeholder 10">
            <a:extLst>
              <a:ext uri="{FF2B5EF4-FFF2-40B4-BE49-F238E27FC236}">
                <a16:creationId xmlns:a16="http://schemas.microsoft.com/office/drawing/2014/main" id="{A0D3E293-B029-06A4-BC39-08EA9C4980AF}"/>
              </a:ext>
            </a:extLst>
          </p:cNvPr>
          <p:cNvSpPr>
            <a:spLocks noGrp="1"/>
          </p:cNvSpPr>
          <p:nvPr>
            <p:ph type="body" sz="quarter" idx="17"/>
          </p:nvPr>
        </p:nvSpPr>
        <p:spPr>
          <a:xfrm>
            <a:off x="1955801"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17" name="Text Placeholder 10">
            <a:extLst>
              <a:ext uri="{FF2B5EF4-FFF2-40B4-BE49-F238E27FC236}">
                <a16:creationId xmlns:a16="http://schemas.microsoft.com/office/drawing/2014/main" id="{0D1A51A7-2450-5353-41E8-B09A6FEBDDBB}"/>
              </a:ext>
            </a:extLst>
          </p:cNvPr>
          <p:cNvSpPr>
            <a:spLocks noGrp="1"/>
          </p:cNvSpPr>
          <p:nvPr>
            <p:ph type="body" sz="quarter" idx="18"/>
          </p:nvPr>
        </p:nvSpPr>
        <p:spPr>
          <a:xfrm>
            <a:off x="1955801"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18" name="Freeform 5">
            <a:extLst>
              <a:ext uri="{FF2B5EF4-FFF2-40B4-BE49-F238E27FC236}">
                <a16:creationId xmlns:a16="http://schemas.microsoft.com/office/drawing/2014/main" id="{8F37A73C-9C6D-5FF9-CE7F-88D20BBD4F3D}"/>
              </a:ext>
            </a:extLst>
          </p:cNvPr>
          <p:cNvSpPr>
            <a:spLocks/>
          </p:cNvSpPr>
          <p:nvPr userDrawn="1"/>
        </p:nvSpPr>
        <p:spPr bwMode="auto">
          <a:xfrm>
            <a:off x="480001"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19" name="Rectangle 6">
            <a:extLst>
              <a:ext uri="{FF2B5EF4-FFF2-40B4-BE49-F238E27FC236}">
                <a16:creationId xmlns:a16="http://schemas.microsoft.com/office/drawing/2014/main" id="{03940F0A-32FC-375A-4AC4-012D17096C7E}"/>
              </a:ext>
            </a:extLst>
          </p:cNvPr>
          <p:cNvSpPr>
            <a:spLocks noChangeArrowheads="1"/>
          </p:cNvSpPr>
          <p:nvPr userDrawn="1"/>
        </p:nvSpPr>
        <p:spPr bwMode="auto">
          <a:xfrm>
            <a:off x="1786127"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0" name="TextBox 19">
            <a:extLst>
              <a:ext uri="{FF2B5EF4-FFF2-40B4-BE49-F238E27FC236}">
                <a16:creationId xmlns:a16="http://schemas.microsoft.com/office/drawing/2014/main" id="{5A9C7508-270B-768A-BF30-FCCA228BD3F6}"/>
              </a:ext>
            </a:extLst>
          </p:cNvPr>
          <p:cNvSpPr txBox="1"/>
          <p:nvPr userDrawn="1"/>
        </p:nvSpPr>
        <p:spPr>
          <a:xfrm>
            <a:off x="727602" y="4871489"/>
            <a:ext cx="755335" cy="769441"/>
          </a:xfrm>
          <a:prstGeom prst="rect">
            <a:avLst/>
          </a:prstGeom>
          <a:noFill/>
        </p:spPr>
        <p:txBody>
          <a:bodyPr wrap="none" rtlCol="0">
            <a:spAutoFit/>
          </a:bodyPr>
          <a:lstStyle/>
          <a:p>
            <a:pPr algn="ctr"/>
            <a:r>
              <a:rPr lang="en-US" sz="4400" b="0" i="0" dirty="0">
                <a:solidFill>
                  <a:schemeClr val="bg2"/>
                </a:solidFill>
                <a:latin typeface="+mj-lt"/>
                <a:ea typeface="Open Sans" pitchFamily="2" charset="0"/>
                <a:cs typeface="Calibri" panose="020F0502020204030204" pitchFamily="34" charset="0"/>
              </a:rPr>
              <a:t>03</a:t>
            </a:r>
          </a:p>
        </p:txBody>
      </p:sp>
      <p:sp>
        <p:nvSpPr>
          <p:cNvPr id="21" name="Text Placeholder 10">
            <a:extLst>
              <a:ext uri="{FF2B5EF4-FFF2-40B4-BE49-F238E27FC236}">
                <a16:creationId xmlns:a16="http://schemas.microsoft.com/office/drawing/2014/main" id="{BA0A190D-5635-E297-A116-F00B4E16E366}"/>
              </a:ext>
            </a:extLst>
          </p:cNvPr>
          <p:cNvSpPr>
            <a:spLocks noGrp="1"/>
          </p:cNvSpPr>
          <p:nvPr>
            <p:ph type="body" sz="quarter" idx="19"/>
          </p:nvPr>
        </p:nvSpPr>
        <p:spPr>
          <a:xfrm>
            <a:off x="1955801"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22" name="Text Placeholder 10">
            <a:extLst>
              <a:ext uri="{FF2B5EF4-FFF2-40B4-BE49-F238E27FC236}">
                <a16:creationId xmlns:a16="http://schemas.microsoft.com/office/drawing/2014/main" id="{E4E43EB9-D574-3FE7-E077-B9A27E2A4518}"/>
              </a:ext>
            </a:extLst>
          </p:cNvPr>
          <p:cNvSpPr>
            <a:spLocks noGrp="1"/>
          </p:cNvSpPr>
          <p:nvPr>
            <p:ph type="body" sz="quarter" idx="20"/>
          </p:nvPr>
        </p:nvSpPr>
        <p:spPr>
          <a:xfrm>
            <a:off x="1955801"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23" name="Freeform 5">
            <a:extLst>
              <a:ext uri="{FF2B5EF4-FFF2-40B4-BE49-F238E27FC236}">
                <a16:creationId xmlns:a16="http://schemas.microsoft.com/office/drawing/2014/main" id="{5C4DBB4F-B097-E611-5957-015725C19365}"/>
              </a:ext>
            </a:extLst>
          </p:cNvPr>
          <p:cNvSpPr>
            <a:spLocks/>
          </p:cNvSpPr>
          <p:nvPr userDrawn="1"/>
        </p:nvSpPr>
        <p:spPr bwMode="auto">
          <a:xfrm>
            <a:off x="6192012"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4" name="Rectangle 6">
            <a:extLst>
              <a:ext uri="{FF2B5EF4-FFF2-40B4-BE49-F238E27FC236}">
                <a16:creationId xmlns:a16="http://schemas.microsoft.com/office/drawing/2014/main" id="{9A8FD685-9057-A4C8-698D-7497A4734189}"/>
              </a:ext>
            </a:extLst>
          </p:cNvPr>
          <p:cNvSpPr>
            <a:spLocks noChangeArrowheads="1"/>
          </p:cNvSpPr>
          <p:nvPr userDrawn="1"/>
        </p:nvSpPr>
        <p:spPr bwMode="auto">
          <a:xfrm>
            <a:off x="7498138"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5" name="TextBox 24">
            <a:extLst>
              <a:ext uri="{FF2B5EF4-FFF2-40B4-BE49-F238E27FC236}">
                <a16:creationId xmlns:a16="http://schemas.microsoft.com/office/drawing/2014/main" id="{90B53B5F-A7BD-C110-ABA0-9AC9DA036EF7}"/>
              </a:ext>
            </a:extLst>
          </p:cNvPr>
          <p:cNvSpPr txBox="1"/>
          <p:nvPr userDrawn="1"/>
        </p:nvSpPr>
        <p:spPr>
          <a:xfrm>
            <a:off x="6357539" y="2010777"/>
            <a:ext cx="919483" cy="800219"/>
          </a:xfrm>
          <a:prstGeom prst="rect">
            <a:avLst/>
          </a:prstGeom>
          <a:noFill/>
        </p:spPr>
        <p:txBody>
          <a:bodyPr wrap="none" rtlCol="0">
            <a:normAutofit/>
          </a:bodyPr>
          <a:lstStyle/>
          <a:p>
            <a:pPr algn="ctr"/>
            <a:r>
              <a:rPr lang="en-US" sz="4400" b="0" i="0" dirty="0">
                <a:solidFill>
                  <a:schemeClr val="bg2"/>
                </a:solidFill>
                <a:latin typeface="+mj-lt"/>
                <a:ea typeface="Open Sans" pitchFamily="2" charset="0"/>
                <a:cs typeface="Calibri" panose="020F0502020204030204" pitchFamily="34" charset="0"/>
              </a:rPr>
              <a:t>04</a:t>
            </a:r>
          </a:p>
        </p:txBody>
      </p:sp>
      <p:sp>
        <p:nvSpPr>
          <p:cNvPr id="30" name="Text Placeholder 10">
            <a:extLst>
              <a:ext uri="{FF2B5EF4-FFF2-40B4-BE49-F238E27FC236}">
                <a16:creationId xmlns:a16="http://schemas.microsoft.com/office/drawing/2014/main" id="{F8C91952-5C53-0A97-0D04-1B24BC16D86C}"/>
              </a:ext>
            </a:extLst>
          </p:cNvPr>
          <p:cNvSpPr>
            <a:spLocks noGrp="1"/>
          </p:cNvSpPr>
          <p:nvPr>
            <p:ph type="body" sz="quarter" idx="21"/>
          </p:nvPr>
        </p:nvSpPr>
        <p:spPr>
          <a:xfrm>
            <a:off x="7667812"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31" name="Text Placeholder 10">
            <a:extLst>
              <a:ext uri="{FF2B5EF4-FFF2-40B4-BE49-F238E27FC236}">
                <a16:creationId xmlns:a16="http://schemas.microsoft.com/office/drawing/2014/main" id="{B3EEDB7F-AAA5-77EB-6E76-E1F13F79E059}"/>
              </a:ext>
            </a:extLst>
          </p:cNvPr>
          <p:cNvSpPr>
            <a:spLocks noGrp="1"/>
          </p:cNvSpPr>
          <p:nvPr>
            <p:ph type="body" sz="quarter" idx="22"/>
          </p:nvPr>
        </p:nvSpPr>
        <p:spPr>
          <a:xfrm>
            <a:off x="7667812"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32" name="Freeform 5">
            <a:extLst>
              <a:ext uri="{FF2B5EF4-FFF2-40B4-BE49-F238E27FC236}">
                <a16:creationId xmlns:a16="http://schemas.microsoft.com/office/drawing/2014/main" id="{8E8062AA-04CD-3790-EE20-201DFF72492D}"/>
              </a:ext>
            </a:extLst>
          </p:cNvPr>
          <p:cNvSpPr>
            <a:spLocks/>
          </p:cNvSpPr>
          <p:nvPr userDrawn="1"/>
        </p:nvSpPr>
        <p:spPr bwMode="auto">
          <a:xfrm>
            <a:off x="6192012"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3" name="Rectangle 6">
            <a:extLst>
              <a:ext uri="{FF2B5EF4-FFF2-40B4-BE49-F238E27FC236}">
                <a16:creationId xmlns:a16="http://schemas.microsoft.com/office/drawing/2014/main" id="{B4EDDC68-BD20-164A-3B79-F566ABC213E1}"/>
              </a:ext>
            </a:extLst>
          </p:cNvPr>
          <p:cNvSpPr>
            <a:spLocks noChangeArrowheads="1"/>
          </p:cNvSpPr>
          <p:nvPr userDrawn="1"/>
        </p:nvSpPr>
        <p:spPr bwMode="auto">
          <a:xfrm>
            <a:off x="7498138"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4" name="TextBox 33">
            <a:extLst>
              <a:ext uri="{FF2B5EF4-FFF2-40B4-BE49-F238E27FC236}">
                <a16:creationId xmlns:a16="http://schemas.microsoft.com/office/drawing/2014/main" id="{21304A92-F76F-908F-F91C-0F1EDC723E79}"/>
              </a:ext>
            </a:extLst>
          </p:cNvPr>
          <p:cNvSpPr txBox="1"/>
          <p:nvPr userDrawn="1"/>
        </p:nvSpPr>
        <p:spPr>
          <a:xfrm>
            <a:off x="6358607" y="3431328"/>
            <a:ext cx="917347" cy="800219"/>
          </a:xfrm>
          <a:prstGeom prst="rect">
            <a:avLst/>
          </a:prstGeom>
          <a:noFill/>
        </p:spPr>
        <p:txBody>
          <a:bodyPr wrap="none" rtlCol="0">
            <a:normAutofit/>
          </a:bodyPr>
          <a:lstStyle/>
          <a:p>
            <a:pPr algn="ctr"/>
            <a:r>
              <a:rPr lang="en-US" sz="4400" b="0" i="0" dirty="0">
                <a:solidFill>
                  <a:schemeClr val="bg2"/>
                </a:solidFill>
                <a:latin typeface="+mj-lt"/>
                <a:ea typeface="Open Sans" pitchFamily="2" charset="0"/>
                <a:cs typeface="Calibri" panose="020F0502020204030204" pitchFamily="34" charset="0"/>
              </a:rPr>
              <a:t>05</a:t>
            </a:r>
          </a:p>
        </p:txBody>
      </p:sp>
      <p:sp>
        <p:nvSpPr>
          <p:cNvPr id="35" name="Text Placeholder 10">
            <a:extLst>
              <a:ext uri="{FF2B5EF4-FFF2-40B4-BE49-F238E27FC236}">
                <a16:creationId xmlns:a16="http://schemas.microsoft.com/office/drawing/2014/main" id="{F9D5E73C-E4D5-0BA8-39AD-09C3B1CDBEF4}"/>
              </a:ext>
            </a:extLst>
          </p:cNvPr>
          <p:cNvSpPr>
            <a:spLocks noGrp="1"/>
          </p:cNvSpPr>
          <p:nvPr>
            <p:ph type="body" sz="quarter" idx="23"/>
          </p:nvPr>
        </p:nvSpPr>
        <p:spPr>
          <a:xfrm>
            <a:off x="7667812"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36" name="Text Placeholder 10">
            <a:extLst>
              <a:ext uri="{FF2B5EF4-FFF2-40B4-BE49-F238E27FC236}">
                <a16:creationId xmlns:a16="http://schemas.microsoft.com/office/drawing/2014/main" id="{1C378C82-C51E-15C5-5591-BF0BBA0D310D}"/>
              </a:ext>
            </a:extLst>
          </p:cNvPr>
          <p:cNvSpPr>
            <a:spLocks noGrp="1"/>
          </p:cNvSpPr>
          <p:nvPr>
            <p:ph type="body" sz="quarter" idx="24"/>
          </p:nvPr>
        </p:nvSpPr>
        <p:spPr>
          <a:xfrm>
            <a:off x="7667812"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37" name="Freeform 5">
            <a:extLst>
              <a:ext uri="{FF2B5EF4-FFF2-40B4-BE49-F238E27FC236}">
                <a16:creationId xmlns:a16="http://schemas.microsoft.com/office/drawing/2014/main" id="{B7D91923-9CC4-BA3A-9305-1F645749E126}"/>
              </a:ext>
            </a:extLst>
          </p:cNvPr>
          <p:cNvSpPr>
            <a:spLocks/>
          </p:cNvSpPr>
          <p:nvPr userDrawn="1"/>
        </p:nvSpPr>
        <p:spPr bwMode="auto">
          <a:xfrm>
            <a:off x="6192012"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8" name="Rectangle 6">
            <a:extLst>
              <a:ext uri="{FF2B5EF4-FFF2-40B4-BE49-F238E27FC236}">
                <a16:creationId xmlns:a16="http://schemas.microsoft.com/office/drawing/2014/main" id="{B8CE9864-008E-919F-4FFB-899F9660E651}"/>
              </a:ext>
            </a:extLst>
          </p:cNvPr>
          <p:cNvSpPr>
            <a:spLocks noChangeArrowheads="1"/>
          </p:cNvSpPr>
          <p:nvPr userDrawn="1"/>
        </p:nvSpPr>
        <p:spPr bwMode="auto">
          <a:xfrm>
            <a:off x="7498138"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9" name="TextBox 38">
            <a:extLst>
              <a:ext uri="{FF2B5EF4-FFF2-40B4-BE49-F238E27FC236}">
                <a16:creationId xmlns:a16="http://schemas.microsoft.com/office/drawing/2014/main" id="{D489511B-C1DC-D8D4-9E16-91245E1B80B6}"/>
              </a:ext>
            </a:extLst>
          </p:cNvPr>
          <p:cNvSpPr txBox="1"/>
          <p:nvPr userDrawn="1"/>
        </p:nvSpPr>
        <p:spPr>
          <a:xfrm>
            <a:off x="6358607" y="4871488"/>
            <a:ext cx="917347" cy="800219"/>
          </a:xfrm>
          <a:prstGeom prst="rect">
            <a:avLst/>
          </a:prstGeom>
          <a:noFill/>
        </p:spPr>
        <p:txBody>
          <a:bodyPr wrap="none" rtlCol="0">
            <a:normAutofit/>
          </a:bodyPr>
          <a:lstStyle/>
          <a:p>
            <a:pPr algn="ctr"/>
            <a:r>
              <a:rPr lang="en-US" sz="4400" b="0" i="0" dirty="0">
                <a:solidFill>
                  <a:schemeClr val="bg2"/>
                </a:solidFill>
                <a:latin typeface="+mj-lt"/>
                <a:ea typeface="Open Sans" pitchFamily="2" charset="0"/>
                <a:cs typeface="Calibri" panose="020F0502020204030204" pitchFamily="34" charset="0"/>
              </a:rPr>
              <a:t>06</a:t>
            </a:r>
          </a:p>
        </p:txBody>
      </p:sp>
      <p:sp>
        <p:nvSpPr>
          <p:cNvPr id="40" name="Text Placeholder 10">
            <a:extLst>
              <a:ext uri="{FF2B5EF4-FFF2-40B4-BE49-F238E27FC236}">
                <a16:creationId xmlns:a16="http://schemas.microsoft.com/office/drawing/2014/main" id="{64434AA6-F75E-11B3-78A0-C17193D5CD58}"/>
              </a:ext>
            </a:extLst>
          </p:cNvPr>
          <p:cNvSpPr>
            <a:spLocks noGrp="1"/>
          </p:cNvSpPr>
          <p:nvPr>
            <p:ph type="body" sz="quarter" idx="25"/>
          </p:nvPr>
        </p:nvSpPr>
        <p:spPr>
          <a:xfrm>
            <a:off x="7667812"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
        <p:nvSpPr>
          <p:cNvPr id="41" name="Text Placeholder 10">
            <a:extLst>
              <a:ext uri="{FF2B5EF4-FFF2-40B4-BE49-F238E27FC236}">
                <a16:creationId xmlns:a16="http://schemas.microsoft.com/office/drawing/2014/main" id="{CFABD436-1AB0-B845-77F0-4A88C81F2E79}"/>
              </a:ext>
            </a:extLst>
          </p:cNvPr>
          <p:cNvSpPr>
            <a:spLocks noGrp="1"/>
          </p:cNvSpPr>
          <p:nvPr>
            <p:ph type="body" sz="quarter" idx="26"/>
          </p:nvPr>
        </p:nvSpPr>
        <p:spPr>
          <a:xfrm>
            <a:off x="7667812"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GB"/>
              <a:t>Click to edit Master text styles</a:t>
            </a:r>
          </a:p>
        </p:txBody>
      </p:sp>
    </p:spTree>
    <p:extLst>
      <p:ext uri="{BB962C8B-B14F-4D97-AF65-F5344CB8AC3E}">
        <p14:creationId xmlns:p14="http://schemas.microsoft.com/office/powerpoint/2010/main" val="4141333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A1D85051-351D-960A-2BB4-A2628AEEDB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0"/>
            <a:ext cx="12252960" cy="6875272"/>
          </a:xfrm>
          <a:prstGeom prst="rect">
            <a:avLst/>
          </a:prstGeom>
        </p:spPr>
      </p:pic>
      <p:sp>
        <p:nvSpPr>
          <p:cNvPr id="15" name="Text Placeholder 14">
            <a:extLst>
              <a:ext uri="{FF2B5EF4-FFF2-40B4-BE49-F238E27FC236}">
                <a16:creationId xmlns:a16="http://schemas.microsoft.com/office/drawing/2014/main" id="{76E2CDF4-F367-7945-84D0-303D9A8B0730}"/>
              </a:ext>
            </a:extLst>
          </p:cNvPr>
          <p:cNvSpPr>
            <a:spLocks noGrp="1"/>
          </p:cNvSpPr>
          <p:nvPr>
            <p:ph type="body" sz="quarter" idx="13" hasCustomPrompt="1"/>
          </p:nvPr>
        </p:nvSpPr>
        <p:spPr>
          <a:xfrm>
            <a:off x="2605223" y="1652979"/>
            <a:ext cx="6259751" cy="1039276"/>
          </a:xfrm>
          <a:prstGeom prst="rect">
            <a:avLst/>
          </a:prstGeom>
        </p:spPr>
        <p:txBody>
          <a:bodyPr>
            <a:normAutofit/>
          </a:bodyPr>
          <a:lstStyle>
            <a:lvl1pPr marL="0" indent="0">
              <a:buNone/>
              <a:defRPr sz="1467">
                <a:solidFill>
                  <a:schemeClr val="bg1"/>
                </a:solidFill>
              </a:defRPr>
            </a:lvl1pPr>
          </a:lstStyle>
          <a:p>
            <a:pPr lvl="0"/>
            <a:r>
              <a:rPr lang="en-GB" dirty="0"/>
              <a:t>Click to edit text</a:t>
            </a:r>
          </a:p>
        </p:txBody>
      </p:sp>
      <p:sp>
        <p:nvSpPr>
          <p:cNvPr id="5" name="TextBox 4">
            <a:extLst>
              <a:ext uri="{FF2B5EF4-FFF2-40B4-BE49-F238E27FC236}">
                <a16:creationId xmlns:a16="http://schemas.microsoft.com/office/drawing/2014/main" id="{F263C0FB-656C-A8EF-97F0-F5275A93836A}"/>
              </a:ext>
            </a:extLst>
          </p:cNvPr>
          <p:cNvSpPr txBox="1"/>
          <p:nvPr userDrawn="1"/>
        </p:nvSpPr>
        <p:spPr>
          <a:xfrm>
            <a:off x="2605224" y="4239680"/>
            <a:ext cx="6288385" cy="1133195"/>
          </a:xfrm>
          <a:prstGeom prst="rect">
            <a:avLst/>
          </a:prstGeom>
          <a:noFill/>
        </p:spPr>
        <p:txBody>
          <a:bodyPr wrap="square" lIns="0" tIns="0" rIns="0" bIns="0" rtlCol="0">
            <a:spAutoFit/>
          </a:bodyPr>
          <a:lstStyle/>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a:t>
            </a:r>
          </a:p>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e JU receives support from the European Union’s Horizon Europe research and innovation programme and COCIR, EFPIA, Europa Bío, MedTech Europe, and Vaccines Europe and Instem Scientific Limited.</a:t>
            </a:r>
          </a:p>
          <a:p>
            <a:pPr>
              <a:lnSpc>
                <a:spcPts val="1467"/>
              </a:lnSpc>
            </a:pPr>
            <a:r>
              <a:rPr lang="en-GB" sz="800" kern="800" cap="none" baseline="0">
                <a:solidFill>
                  <a:schemeClr val="bg1"/>
                </a:solidFill>
                <a:effectLst/>
                <a:latin typeface="+mn-lt"/>
                <a:ea typeface="Times New Roman" panose="02020603050405020304" pitchFamily="18" charset="0"/>
                <a:cs typeface="Archivo Regular (Body)" pitchFamily="2" charset="77"/>
              </a:rPr>
              <a:t>Funded by the European Union, the private members, and those contributing partners of the IHI JU. Views and opinions expressed are however those of the author(s) only and do not necessarily reflect those of the aforementioned parties. Neither of the aforementioned parties can be held responsible for them.</a:t>
            </a:r>
            <a:endParaRPr lang="en-AD" sz="800" kern="800" cap="none" baseline="0">
              <a:solidFill>
                <a:schemeClr val="bg1"/>
              </a:solidFill>
              <a:effectLst/>
              <a:latin typeface="+mn-lt"/>
              <a:ea typeface="Times New Roman" panose="02020603050405020304" pitchFamily="18" charset="0"/>
              <a:cs typeface="Archivo Regular (Body)" pitchFamily="2" charset="77"/>
            </a:endParaRPr>
          </a:p>
        </p:txBody>
      </p:sp>
      <p:sp>
        <p:nvSpPr>
          <p:cNvPr id="29" name="Title 28">
            <a:extLst>
              <a:ext uri="{FF2B5EF4-FFF2-40B4-BE49-F238E27FC236}">
                <a16:creationId xmlns:a16="http://schemas.microsoft.com/office/drawing/2014/main" id="{8D5677C5-D224-6593-B747-8719A5320EF2}"/>
              </a:ext>
            </a:extLst>
          </p:cNvPr>
          <p:cNvSpPr>
            <a:spLocks noGrp="1"/>
          </p:cNvSpPr>
          <p:nvPr>
            <p:ph type="title" hasCustomPrompt="1"/>
          </p:nvPr>
        </p:nvSpPr>
        <p:spPr>
          <a:xfrm>
            <a:off x="2605222" y="831126"/>
            <a:ext cx="6259769" cy="647657"/>
          </a:xfrm>
        </p:spPr>
        <p:txBody>
          <a:bodyPr anchor="t" anchorCtr="0">
            <a:normAutofit/>
          </a:bodyPr>
          <a:lstStyle>
            <a:lvl1pPr>
              <a:defRPr sz="4800">
                <a:solidFill>
                  <a:schemeClr val="bg1"/>
                </a:solidFill>
              </a:defRPr>
            </a:lvl1pPr>
          </a:lstStyle>
          <a:p>
            <a:r>
              <a:rPr lang="en-GB" dirty="0"/>
              <a:t>Click to edit title</a:t>
            </a:r>
            <a:endParaRPr lang="en-AD" dirty="0"/>
          </a:p>
        </p:txBody>
      </p:sp>
      <p:cxnSp>
        <p:nvCxnSpPr>
          <p:cNvPr id="32" name="Straight Connector 31">
            <a:extLst>
              <a:ext uri="{FF2B5EF4-FFF2-40B4-BE49-F238E27FC236}">
                <a16:creationId xmlns:a16="http://schemas.microsoft.com/office/drawing/2014/main" id="{8FBD51AA-D171-D8CA-9CEF-F51DCE073507}"/>
              </a:ext>
            </a:extLst>
          </p:cNvPr>
          <p:cNvCxnSpPr>
            <a:cxnSpLocks/>
          </p:cNvCxnSpPr>
          <p:nvPr userDrawn="1"/>
        </p:nvCxnSpPr>
        <p:spPr>
          <a:xfrm>
            <a:off x="2295397" y="697779"/>
            <a:ext cx="0" cy="54527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78649EE-CFD7-203A-4205-1299BEEF098E}"/>
              </a:ext>
            </a:extLst>
          </p:cNvPr>
          <p:cNvGrpSpPr/>
          <p:nvPr userDrawn="1"/>
        </p:nvGrpSpPr>
        <p:grpSpPr>
          <a:xfrm>
            <a:off x="821449" y="767311"/>
            <a:ext cx="1085908" cy="821904"/>
            <a:chOff x="1001339" y="887094"/>
            <a:chExt cx="814431" cy="616428"/>
          </a:xfrm>
          <a:solidFill>
            <a:schemeClr val="bg1"/>
          </a:solidFill>
        </p:grpSpPr>
        <p:sp>
          <p:nvSpPr>
            <p:cNvPr id="3" name="Freeform 2">
              <a:extLst>
                <a:ext uri="{FF2B5EF4-FFF2-40B4-BE49-F238E27FC236}">
                  <a16:creationId xmlns:a16="http://schemas.microsoft.com/office/drawing/2014/main" id="{89B5577D-12B5-4564-5C82-8A08CC82ACD3}"/>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E11DEB67-151C-2F2E-6D87-67FFD9EEBAF8}"/>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chemeClr val="tx2"/>
            </a:solidFill>
            <a:ln w="0" cap="flat">
              <a:noFill/>
              <a:prstDash val="solid"/>
              <a:miter/>
            </a:ln>
          </p:spPr>
          <p:txBody>
            <a:bodyPr rtlCol="0" anchor="ctr"/>
            <a:lstStyle/>
            <a:p>
              <a:endParaRPr lang="en-AD" sz="2400"/>
            </a:p>
          </p:txBody>
        </p:sp>
        <p:sp>
          <p:nvSpPr>
            <p:cNvPr id="8" name="Freeform 7">
              <a:extLst>
                <a:ext uri="{FF2B5EF4-FFF2-40B4-BE49-F238E27FC236}">
                  <a16:creationId xmlns:a16="http://schemas.microsoft.com/office/drawing/2014/main" id="{98263C2C-01E9-55AF-66FB-A0974C5A64BA}"/>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grpSp>
        <p:nvGrpSpPr>
          <p:cNvPr id="9" name="Group 8">
            <a:extLst>
              <a:ext uri="{FF2B5EF4-FFF2-40B4-BE49-F238E27FC236}">
                <a16:creationId xmlns:a16="http://schemas.microsoft.com/office/drawing/2014/main" id="{BD0405E7-A95A-7F80-2BE2-F8CBA522594F}"/>
              </a:ext>
            </a:extLst>
          </p:cNvPr>
          <p:cNvGrpSpPr/>
          <p:nvPr userDrawn="1"/>
        </p:nvGrpSpPr>
        <p:grpSpPr>
          <a:xfrm>
            <a:off x="4147816" y="3650978"/>
            <a:ext cx="1948185" cy="393699"/>
            <a:chOff x="5361094" y="4708016"/>
            <a:chExt cx="788075" cy="159258"/>
          </a:xfrm>
        </p:grpSpPr>
        <p:sp>
          <p:nvSpPr>
            <p:cNvPr id="10" name="Freeform 9">
              <a:extLst>
                <a:ext uri="{FF2B5EF4-FFF2-40B4-BE49-F238E27FC236}">
                  <a16:creationId xmlns:a16="http://schemas.microsoft.com/office/drawing/2014/main" id="{44B9A714-6576-A44A-523B-400F28817668}"/>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D83CC2AB-55F9-4D20-07D0-AACE771AB9D2}"/>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BD7376CC-90E2-8E16-59A1-F238C0C85812}"/>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FC280F38-13F3-EDB9-F905-AFA59D725E93}"/>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14" name="Freeform 13">
              <a:extLst>
                <a:ext uri="{FF2B5EF4-FFF2-40B4-BE49-F238E27FC236}">
                  <a16:creationId xmlns:a16="http://schemas.microsoft.com/office/drawing/2014/main" id="{A21E4AC2-4E1A-8500-05C2-0C221A5CA573}"/>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16" name="Freeform 15">
              <a:extLst>
                <a:ext uri="{FF2B5EF4-FFF2-40B4-BE49-F238E27FC236}">
                  <a16:creationId xmlns:a16="http://schemas.microsoft.com/office/drawing/2014/main" id="{15098D30-395C-9CC3-B494-7124AD7B922F}"/>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17" name="Freeform 16">
              <a:extLst>
                <a:ext uri="{FF2B5EF4-FFF2-40B4-BE49-F238E27FC236}">
                  <a16:creationId xmlns:a16="http://schemas.microsoft.com/office/drawing/2014/main" id="{CE46CFB2-784D-EF94-DDA9-20E79810061F}"/>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18" name="Freeform 17">
              <a:extLst>
                <a:ext uri="{FF2B5EF4-FFF2-40B4-BE49-F238E27FC236}">
                  <a16:creationId xmlns:a16="http://schemas.microsoft.com/office/drawing/2014/main" id="{C1842E2D-85E6-6422-6C46-9A9C51F7AA6C}"/>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19" name="Freeform 18">
              <a:extLst>
                <a:ext uri="{FF2B5EF4-FFF2-40B4-BE49-F238E27FC236}">
                  <a16:creationId xmlns:a16="http://schemas.microsoft.com/office/drawing/2014/main" id="{A6956361-CD0A-1E4C-C0F3-50356F4C5D4C}"/>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20" name="Freeform 19">
              <a:extLst>
                <a:ext uri="{FF2B5EF4-FFF2-40B4-BE49-F238E27FC236}">
                  <a16:creationId xmlns:a16="http://schemas.microsoft.com/office/drawing/2014/main" id="{E85108C2-FBE9-3A08-11C5-577A13443871}"/>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21" name="Freeform 20">
              <a:extLst>
                <a:ext uri="{FF2B5EF4-FFF2-40B4-BE49-F238E27FC236}">
                  <a16:creationId xmlns:a16="http://schemas.microsoft.com/office/drawing/2014/main" id="{A2A15B75-3D23-2D40-DD9C-662D5E3CAF8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22" name="Freeform 21">
              <a:extLst>
                <a:ext uri="{FF2B5EF4-FFF2-40B4-BE49-F238E27FC236}">
                  <a16:creationId xmlns:a16="http://schemas.microsoft.com/office/drawing/2014/main" id="{8DEBF081-F558-6DB9-2C61-23873EB6CFBA}"/>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23" name="Freeform 22">
              <a:extLst>
                <a:ext uri="{FF2B5EF4-FFF2-40B4-BE49-F238E27FC236}">
                  <a16:creationId xmlns:a16="http://schemas.microsoft.com/office/drawing/2014/main" id="{D5AAAA85-AD85-E6AD-F856-A57231C9DCE5}"/>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24" name="Freeform 23">
              <a:extLst>
                <a:ext uri="{FF2B5EF4-FFF2-40B4-BE49-F238E27FC236}">
                  <a16:creationId xmlns:a16="http://schemas.microsoft.com/office/drawing/2014/main" id="{4B99427C-DA39-B9AB-E6D5-6C4ACF47A6E3}"/>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25" name="Freeform 24">
              <a:extLst>
                <a:ext uri="{FF2B5EF4-FFF2-40B4-BE49-F238E27FC236}">
                  <a16:creationId xmlns:a16="http://schemas.microsoft.com/office/drawing/2014/main" id="{DAF34E0C-D0DB-999F-5F63-A7F7C87D3C9A}"/>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26" name="Freeform 25">
              <a:extLst>
                <a:ext uri="{FF2B5EF4-FFF2-40B4-BE49-F238E27FC236}">
                  <a16:creationId xmlns:a16="http://schemas.microsoft.com/office/drawing/2014/main" id="{5036C387-5461-D58C-C49B-0218AE03D639}"/>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27" name="Freeform 26">
              <a:extLst>
                <a:ext uri="{FF2B5EF4-FFF2-40B4-BE49-F238E27FC236}">
                  <a16:creationId xmlns:a16="http://schemas.microsoft.com/office/drawing/2014/main" id="{4396F606-999C-B861-BE54-FE076EC6A31F}"/>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3F85E44E-FE28-15ED-0B68-B9EFAD2D392B}"/>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5F8C4A9A-A578-05AA-EA81-68407CB3E8CE}"/>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33" name="Freeform 32">
              <a:extLst>
                <a:ext uri="{FF2B5EF4-FFF2-40B4-BE49-F238E27FC236}">
                  <a16:creationId xmlns:a16="http://schemas.microsoft.com/office/drawing/2014/main" id="{530812FF-6123-FEB8-7A2F-875AF47E78EB}"/>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34" name="Freeform 33">
              <a:extLst>
                <a:ext uri="{FF2B5EF4-FFF2-40B4-BE49-F238E27FC236}">
                  <a16:creationId xmlns:a16="http://schemas.microsoft.com/office/drawing/2014/main" id="{5D9032EE-18FC-A497-8F07-DEB90F4A1E20}"/>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35" name="Freeform 34">
              <a:extLst>
                <a:ext uri="{FF2B5EF4-FFF2-40B4-BE49-F238E27FC236}">
                  <a16:creationId xmlns:a16="http://schemas.microsoft.com/office/drawing/2014/main" id="{8F8C57E5-DBC1-38D0-EEA4-F4F8435DD6E9}"/>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36" name="Freeform 35">
              <a:extLst>
                <a:ext uri="{FF2B5EF4-FFF2-40B4-BE49-F238E27FC236}">
                  <a16:creationId xmlns:a16="http://schemas.microsoft.com/office/drawing/2014/main" id="{B923FA0F-A8BB-5DEB-D12F-83D4DBDDBD45}"/>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37" name="Freeform 36">
              <a:extLst>
                <a:ext uri="{FF2B5EF4-FFF2-40B4-BE49-F238E27FC236}">
                  <a16:creationId xmlns:a16="http://schemas.microsoft.com/office/drawing/2014/main" id="{7158FDFA-C2BB-E108-F99D-FDBC8C7568D7}"/>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38" name="Freeform 37">
              <a:extLst>
                <a:ext uri="{FF2B5EF4-FFF2-40B4-BE49-F238E27FC236}">
                  <a16:creationId xmlns:a16="http://schemas.microsoft.com/office/drawing/2014/main" id="{A2381784-A24C-0F18-37DC-726810B4DD7E}"/>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39" name="Freeform 38">
              <a:extLst>
                <a:ext uri="{FF2B5EF4-FFF2-40B4-BE49-F238E27FC236}">
                  <a16:creationId xmlns:a16="http://schemas.microsoft.com/office/drawing/2014/main" id="{E32D0BAC-3315-8AD4-964D-8C7B3D670C64}"/>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0" name="Freeform 39">
              <a:extLst>
                <a:ext uri="{FF2B5EF4-FFF2-40B4-BE49-F238E27FC236}">
                  <a16:creationId xmlns:a16="http://schemas.microsoft.com/office/drawing/2014/main" id="{84128A8D-E923-8673-B3E1-4BBE600B2A40}"/>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1" name="Freeform 40">
              <a:extLst>
                <a:ext uri="{FF2B5EF4-FFF2-40B4-BE49-F238E27FC236}">
                  <a16:creationId xmlns:a16="http://schemas.microsoft.com/office/drawing/2014/main" id="{806300D1-54CD-6B43-5A00-483836AD101C}"/>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sp>
        <p:nvSpPr>
          <p:cNvPr id="42" name="Rounded Rectangle 41">
            <a:hlinkClick r:id="rId4"/>
            <a:extLst>
              <a:ext uri="{FF2B5EF4-FFF2-40B4-BE49-F238E27FC236}">
                <a16:creationId xmlns:a16="http://schemas.microsoft.com/office/drawing/2014/main" id="{8C801818-E483-AE9F-DB3E-0668766C8F47}"/>
              </a:ext>
            </a:extLst>
          </p:cNvPr>
          <p:cNvSpPr/>
          <p:nvPr userDrawn="1"/>
        </p:nvSpPr>
        <p:spPr>
          <a:xfrm>
            <a:off x="2605223" y="2907907"/>
            <a:ext cx="1708363" cy="447675"/>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D" sz="2400">
                <a:latin typeface="+mj-lt"/>
              </a:rPr>
              <a:t>vict3r.eu</a:t>
            </a:r>
          </a:p>
        </p:txBody>
      </p:sp>
      <p:pic>
        <p:nvPicPr>
          <p:cNvPr id="43" name="Graphic 42">
            <a:hlinkClick r:id="rId5"/>
            <a:extLst>
              <a:ext uri="{FF2B5EF4-FFF2-40B4-BE49-F238E27FC236}">
                <a16:creationId xmlns:a16="http://schemas.microsoft.com/office/drawing/2014/main" id="{8FBE50C1-1F10-13BB-F92F-87CE59083BB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21147" y="2905212"/>
            <a:ext cx="450371" cy="450371"/>
          </a:xfrm>
          <a:prstGeom prst="rect">
            <a:avLst/>
          </a:prstGeom>
        </p:spPr>
      </p:pic>
      <p:grpSp>
        <p:nvGrpSpPr>
          <p:cNvPr id="4" name="Group 3">
            <a:extLst>
              <a:ext uri="{FF2B5EF4-FFF2-40B4-BE49-F238E27FC236}">
                <a16:creationId xmlns:a16="http://schemas.microsoft.com/office/drawing/2014/main" id="{1765F451-F106-D4A7-4F16-9E70EA6B09E4}"/>
              </a:ext>
            </a:extLst>
          </p:cNvPr>
          <p:cNvGrpSpPr/>
          <p:nvPr userDrawn="1"/>
        </p:nvGrpSpPr>
        <p:grpSpPr>
          <a:xfrm>
            <a:off x="2635519" y="3667133"/>
            <a:ext cx="1212265" cy="349368"/>
            <a:chOff x="4623944" y="4701540"/>
            <a:chExt cx="569348" cy="164083"/>
          </a:xfrm>
        </p:grpSpPr>
        <p:sp>
          <p:nvSpPr>
            <p:cNvPr id="6" name="Freeform 5">
              <a:extLst>
                <a:ext uri="{FF2B5EF4-FFF2-40B4-BE49-F238E27FC236}">
                  <a16:creationId xmlns:a16="http://schemas.microsoft.com/office/drawing/2014/main" id="{0C99EB82-D1FB-E513-E6B9-D36BCE981521}"/>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E7F100C4-BA11-5A58-3A58-9849154D70C9}"/>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4" name="Freeform 43">
              <a:extLst>
                <a:ext uri="{FF2B5EF4-FFF2-40B4-BE49-F238E27FC236}">
                  <a16:creationId xmlns:a16="http://schemas.microsoft.com/office/drawing/2014/main" id="{BA61CF18-7493-8E96-CF9A-96A7E0B3C752}"/>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6" name="Freeform 45">
              <a:extLst>
                <a:ext uri="{FF2B5EF4-FFF2-40B4-BE49-F238E27FC236}">
                  <a16:creationId xmlns:a16="http://schemas.microsoft.com/office/drawing/2014/main" id="{DD58B830-E8AA-A0DA-8D52-ABC96DCD5B24}"/>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7" name="Freeform 46">
              <a:extLst>
                <a:ext uri="{FF2B5EF4-FFF2-40B4-BE49-F238E27FC236}">
                  <a16:creationId xmlns:a16="http://schemas.microsoft.com/office/drawing/2014/main" id="{1E253AF6-C2F4-A732-A648-CB7290BAFD84}"/>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8" name="Freeform 47">
              <a:extLst>
                <a:ext uri="{FF2B5EF4-FFF2-40B4-BE49-F238E27FC236}">
                  <a16:creationId xmlns:a16="http://schemas.microsoft.com/office/drawing/2014/main" id="{C446775F-0899-25FF-010B-04009A03B365}"/>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9" name="Freeform 48">
              <a:extLst>
                <a:ext uri="{FF2B5EF4-FFF2-40B4-BE49-F238E27FC236}">
                  <a16:creationId xmlns:a16="http://schemas.microsoft.com/office/drawing/2014/main" id="{65BCAE4E-CA04-A518-35CD-302BFE989269}"/>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0" name="Freeform 49">
              <a:extLst>
                <a:ext uri="{FF2B5EF4-FFF2-40B4-BE49-F238E27FC236}">
                  <a16:creationId xmlns:a16="http://schemas.microsoft.com/office/drawing/2014/main" id="{A9CE3B17-36E3-6D8F-16CF-3C1E49FD93F5}"/>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51" name="Freeform 50">
              <a:extLst>
                <a:ext uri="{FF2B5EF4-FFF2-40B4-BE49-F238E27FC236}">
                  <a16:creationId xmlns:a16="http://schemas.microsoft.com/office/drawing/2014/main" id="{1947C458-3EE4-0FB4-E1F1-C8FA1B7C753A}"/>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52" name="Freeform 51">
              <a:extLst>
                <a:ext uri="{FF2B5EF4-FFF2-40B4-BE49-F238E27FC236}">
                  <a16:creationId xmlns:a16="http://schemas.microsoft.com/office/drawing/2014/main" id="{D660F156-8113-0529-CB4D-783E366440C1}"/>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53" name="Freeform 52">
              <a:extLst>
                <a:ext uri="{FF2B5EF4-FFF2-40B4-BE49-F238E27FC236}">
                  <a16:creationId xmlns:a16="http://schemas.microsoft.com/office/drawing/2014/main" id="{1D3BAE90-AAAE-97DB-D009-E86DEEDCFDB8}"/>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4" name="Freeform 53">
              <a:extLst>
                <a:ext uri="{FF2B5EF4-FFF2-40B4-BE49-F238E27FC236}">
                  <a16:creationId xmlns:a16="http://schemas.microsoft.com/office/drawing/2014/main" id="{133704ED-0B62-72B4-5E7D-28E5C142842F}"/>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55" name="Freeform 54">
              <a:extLst>
                <a:ext uri="{FF2B5EF4-FFF2-40B4-BE49-F238E27FC236}">
                  <a16:creationId xmlns:a16="http://schemas.microsoft.com/office/drawing/2014/main" id="{9BB32066-2BFA-2345-44F5-143A2A046A1C}"/>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56" name="Freeform 55">
              <a:extLst>
                <a:ext uri="{FF2B5EF4-FFF2-40B4-BE49-F238E27FC236}">
                  <a16:creationId xmlns:a16="http://schemas.microsoft.com/office/drawing/2014/main" id="{F48B236B-5E1F-66DD-2A1F-4736323CC57B}"/>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57" name="Freeform 56">
              <a:extLst>
                <a:ext uri="{FF2B5EF4-FFF2-40B4-BE49-F238E27FC236}">
                  <a16:creationId xmlns:a16="http://schemas.microsoft.com/office/drawing/2014/main" id="{CE27DC6D-91A1-A789-C871-81DC4755665A}"/>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8" name="Freeform 57">
              <a:extLst>
                <a:ext uri="{FF2B5EF4-FFF2-40B4-BE49-F238E27FC236}">
                  <a16:creationId xmlns:a16="http://schemas.microsoft.com/office/drawing/2014/main" id="{21953200-4705-BE48-39AA-2A212B04765C}"/>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9" name="Freeform 58">
              <a:extLst>
                <a:ext uri="{FF2B5EF4-FFF2-40B4-BE49-F238E27FC236}">
                  <a16:creationId xmlns:a16="http://schemas.microsoft.com/office/drawing/2014/main" id="{ED4A5A14-CC03-B767-275D-17A884DDB7F3}"/>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0" name="Freeform 59">
              <a:extLst>
                <a:ext uri="{FF2B5EF4-FFF2-40B4-BE49-F238E27FC236}">
                  <a16:creationId xmlns:a16="http://schemas.microsoft.com/office/drawing/2014/main" id="{9D1370A1-62C2-4026-0BA1-D0D7372B0F4C}"/>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61" name="Freeform 60">
              <a:extLst>
                <a:ext uri="{FF2B5EF4-FFF2-40B4-BE49-F238E27FC236}">
                  <a16:creationId xmlns:a16="http://schemas.microsoft.com/office/drawing/2014/main" id="{B16F7522-3216-DA10-4718-060EC5D68D7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62" name="Freeform 61">
              <a:extLst>
                <a:ext uri="{FF2B5EF4-FFF2-40B4-BE49-F238E27FC236}">
                  <a16:creationId xmlns:a16="http://schemas.microsoft.com/office/drawing/2014/main" id="{5316F852-93D2-FCD4-18C6-BF43AF43BB20}"/>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3" name="Freeform 62">
              <a:extLst>
                <a:ext uri="{FF2B5EF4-FFF2-40B4-BE49-F238E27FC236}">
                  <a16:creationId xmlns:a16="http://schemas.microsoft.com/office/drawing/2014/main" id="{9FDE802C-C9DF-A05C-1C4F-D32AA7BAE330}"/>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64" name="Freeform 63">
              <a:extLst>
                <a:ext uri="{FF2B5EF4-FFF2-40B4-BE49-F238E27FC236}">
                  <a16:creationId xmlns:a16="http://schemas.microsoft.com/office/drawing/2014/main" id="{C0E24F27-1727-2B62-5E18-61B615C727EB}"/>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65" name="Freeform 64">
              <a:extLst>
                <a:ext uri="{FF2B5EF4-FFF2-40B4-BE49-F238E27FC236}">
                  <a16:creationId xmlns:a16="http://schemas.microsoft.com/office/drawing/2014/main" id="{B790772E-C457-3AAB-781F-938CDE2011C3}"/>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6" name="Freeform 65">
              <a:extLst>
                <a:ext uri="{FF2B5EF4-FFF2-40B4-BE49-F238E27FC236}">
                  <a16:creationId xmlns:a16="http://schemas.microsoft.com/office/drawing/2014/main" id="{8E1FF16D-FB7C-055B-810F-9F0EF42169B9}"/>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7" name="Freeform 66">
              <a:extLst>
                <a:ext uri="{FF2B5EF4-FFF2-40B4-BE49-F238E27FC236}">
                  <a16:creationId xmlns:a16="http://schemas.microsoft.com/office/drawing/2014/main" id="{949ABA7A-ACED-840C-E9D6-8CDF089B0585}"/>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68" name="Freeform 67">
              <a:extLst>
                <a:ext uri="{FF2B5EF4-FFF2-40B4-BE49-F238E27FC236}">
                  <a16:creationId xmlns:a16="http://schemas.microsoft.com/office/drawing/2014/main" id="{587D927B-4143-175D-1958-99783B49894F}"/>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69" name="Freeform 68">
              <a:extLst>
                <a:ext uri="{FF2B5EF4-FFF2-40B4-BE49-F238E27FC236}">
                  <a16:creationId xmlns:a16="http://schemas.microsoft.com/office/drawing/2014/main" id="{6E05909D-F84D-6C6D-0F4A-431661905EAD}"/>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0" name="Freeform 69">
              <a:extLst>
                <a:ext uri="{FF2B5EF4-FFF2-40B4-BE49-F238E27FC236}">
                  <a16:creationId xmlns:a16="http://schemas.microsoft.com/office/drawing/2014/main" id="{1D2C3A23-F710-9243-E868-EFA0A0BD68A9}"/>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1" name="Freeform 70">
              <a:extLst>
                <a:ext uri="{FF2B5EF4-FFF2-40B4-BE49-F238E27FC236}">
                  <a16:creationId xmlns:a16="http://schemas.microsoft.com/office/drawing/2014/main" id="{ECDDA8AE-C3AB-DFCD-AE30-B4C446B702F2}"/>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2" name="Freeform 71">
              <a:extLst>
                <a:ext uri="{FF2B5EF4-FFF2-40B4-BE49-F238E27FC236}">
                  <a16:creationId xmlns:a16="http://schemas.microsoft.com/office/drawing/2014/main" id="{AA52B2D5-440B-51F4-6131-850AA22DBD91}"/>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74" name="Group 73">
            <a:extLst>
              <a:ext uri="{FF2B5EF4-FFF2-40B4-BE49-F238E27FC236}">
                <a16:creationId xmlns:a16="http://schemas.microsoft.com/office/drawing/2014/main" id="{20C2D567-121F-8CEA-DE07-C817307B95E7}"/>
              </a:ext>
            </a:extLst>
          </p:cNvPr>
          <p:cNvGrpSpPr/>
          <p:nvPr userDrawn="1"/>
        </p:nvGrpSpPr>
        <p:grpSpPr>
          <a:xfrm>
            <a:off x="3531023" y="5585267"/>
            <a:ext cx="407784" cy="240567"/>
            <a:chOff x="962128" y="4702047"/>
            <a:chExt cx="260485" cy="153670"/>
          </a:xfrm>
        </p:grpSpPr>
        <p:sp>
          <p:nvSpPr>
            <p:cNvPr id="75" name="Freeform 74">
              <a:extLst>
                <a:ext uri="{FF2B5EF4-FFF2-40B4-BE49-F238E27FC236}">
                  <a16:creationId xmlns:a16="http://schemas.microsoft.com/office/drawing/2014/main" id="{DAC12C79-31E6-41BB-E914-B3808E35639E}"/>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76" name="Freeform 75">
              <a:extLst>
                <a:ext uri="{FF2B5EF4-FFF2-40B4-BE49-F238E27FC236}">
                  <a16:creationId xmlns:a16="http://schemas.microsoft.com/office/drawing/2014/main" id="{7E77DF5E-14A9-C0C7-42CC-9CB8C3135E53}"/>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77" name="Freeform 76">
              <a:extLst>
                <a:ext uri="{FF2B5EF4-FFF2-40B4-BE49-F238E27FC236}">
                  <a16:creationId xmlns:a16="http://schemas.microsoft.com/office/drawing/2014/main" id="{9CCCF5BB-0116-490A-0A31-8CCC4A6CA5A4}"/>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78" name="Freeform 77">
              <a:extLst>
                <a:ext uri="{FF2B5EF4-FFF2-40B4-BE49-F238E27FC236}">
                  <a16:creationId xmlns:a16="http://schemas.microsoft.com/office/drawing/2014/main" id="{67C83991-6696-C0D1-2652-3ED10C261D3A}"/>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79" name="Freeform 78">
              <a:extLst>
                <a:ext uri="{FF2B5EF4-FFF2-40B4-BE49-F238E27FC236}">
                  <a16:creationId xmlns:a16="http://schemas.microsoft.com/office/drawing/2014/main" id="{C00AD8DB-3083-976C-CE52-95A6C18548E3}"/>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80" name="Freeform 79">
              <a:extLst>
                <a:ext uri="{FF2B5EF4-FFF2-40B4-BE49-F238E27FC236}">
                  <a16:creationId xmlns:a16="http://schemas.microsoft.com/office/drawing/2014/main" id="{8FCECD21-2559-A41C-5A0C-228AEC997D2B}"/>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81" name="Graphic 3">
            <a:extLst>
              <a:ext uri="{FF2B5EF4-FFF2-40B4-BE49-F238E27FC236}">
                <a16:creationId xmlns:a16="http://schemas.microsoft.com/office/drawing/2014/main" id="{87365E47-031F-C34F-BE4B-9B17D41D9EBE}"/>
              </a:ext>
            </a:extLst>
          </p:cNvPr>
          <p:cNvGrpSpPr/>
          <p:nvPr userDrawn="1"/>
        </p:nvGrpSpPr>
        <p:grpSpPr>
          <a:xfrm>
            <a:off x="6491763" y="5613585"/>
            <a:ext cx="1226539" cy="195747"/>
            <a:chOff x="2968984" y="4720136"/>
            <a:chExt cx="783492" cy="125040"/>
          </a:xfrm>
          <a:solidFill>
            <a:srgbClr val="FFFFFF"/>
          </a:solidFill>
        </p:grpSpPr>
        <p:sp>
          <p:nvSpPr>
            <p:cNvPr id="82" name="Freeform 81">
              <a:extLst>
                <a:ext uri="{FF2B5EF4-FFF2-40B4-BE49-F238E27FC236}">
                  <a16:creationId xmlns:a16="http://schemas.microsoft.com/office/drawing/2014/main" id="{EE62196B-61FF-E06E-3785-74D624648C58}"/>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83" name="Freeform 82">
              <a:extLst>
                <a:ext uri="{FF2B5EF4-FFF2-40B4-BE49-F238E27FC236}">
                  <a16:creationId xmlns:a16="http://schemas.microsoft.com/office/drawing/2014/main" id="{59F9CE8A-2384-59F2-E4C7-CB3C6FF2932C}"/>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84" name="Freeform 83">
              <a:extLst>
                <a:ext uri="{FF2B5EF4-FFF2-40B4-BE49-F238E27FC236}">
                  <a16:creationId xmlns:a16="http://schemas.microsoft.com/office/drawing/2014/main" id="{BC7CB9E0-9AC2-0156-3587-D90E35EC2412}"/>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85" name="Freeform 84">
              <a:extLst>
                <a:ext uri="{FF2B5EF4-FFF2-40B4-BE49-F238E27FC236}">
                  <a16:creationId xmlns:a16="http://schemas.microsoft.com/office/drawing/2014/main" id="{F21510C4-646D-99E3-A884-056865561687}"/>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86" name="Freeform 85">
              <a:extLst>
                <a:ext uri="{FF2B5EF4-FFF2-40B4-BE49-F238E27FC236}">
                  <a16:creationId xmlns:a16="http://schemas.microsoft.com/office/drawing/2014/main" id="{6EC49DD9-29AF-EB7F-A781-F89310A4F665}"/>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87" name="Freeform 86">
              <a:extLst>
                <a:ext uri="{FF2B5EF4-FFF2-40B4-BE49-F238E27FC236}">
                  <a16:creationId xmlns:a16="http://schemas.microsoft.com/office/drawing/2014/main" id="{99D15A9E-C09E-D6F1-1D73-F3E7AE52D6B0}"/>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88" name="Freeform 87">
              <a:extLst>
                <a:ext uri="{FF2B5EF4-FFF2-40B4-BE49-F238E27FC236}">
                  <a16:creationId xmlns:a16="http://schemas.microsoft.com/office/drawing/2014/main" id="{A2E47B6D-F98E-7365-F5CB-11D9DCC6280A}"/>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89" name="Freeform 88">
              <a:extLst>
                <a:ext uri="{FF2B5EF4-FFF2-40B4-BE49-F238E27FC236}">
                  <a16:creationId xmlns:a16="http://schemas.microsoft.com/office/drawing/2014/main" id="{6A5E6FA5-1C4A-4BE3-D806-40B3696BCA40}"/>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90" name="Freeform 89">
              <a:extLst>
                <a:ext uri="{FF2B5EF4-FFF2-40B4-BE49-F238E27FC236}">
                  <a16:creationId xmlns:a16="http://schemas.microsoft.com/office/drawing/2014/main" id="{EC8BF8B4-8523-3AC9-B8C7-08F431690A47}"/>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91" name="Freeform 90">
              <a:extLst>
                <a:ext uri="{FF2B5EF4-FFF2-40B4-BE49-F238E27FC236}">
                  <a16:creationId xmlns:a16="http://schemas.microsoft.com/office/drawing/2014/main" id="{444D64D6-DBE5-77CE-E610-BB6F23430D8A}"/>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92" name="Freeform 91">
              <a:extLst>
                <a:ext uri="{FF2B5EF4-FFF2-40B4-BE49-F238E27FC236}">
                  <a16:creationId xmlns:a16="http://schemas.microsoft.com/office/drawing/2014/main" id="{4621CCC3-00AE-AD38-FB0A-6DD2ADEA0423}"/>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93" name="Freeform 92">
              <a:extLst>
                <a:ext uri="{FF2B5EF4-FFF2-40B4-BE49-F238E27FC236}">
                  <a16:creationId xmlns:a16="http://schemas.microsoft.com/office/drawing/2014/main" id="{815DAC76-1EF6-981D-EFCA-674F1D038F5F}"/>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94" name="Freeform 93">
              <a:extLst>
                <a:ext uri="{FF2B5EF4-FFF2-40B4-BE49-F238E27FC236}">
                  <a16:creationId xmlns:a16="http://schemas.microsoft.com/office/drawing/2014/main" id="{3EDCFEFF-E98C-00CB-A04D-CA2DEF40C3DC}"/>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95" name="Freeform 94">
              <a:extLst>
                <a:ext uri="{FF2B5EF4-FFF2-40B4-BE49-F238E27FC236}">
                  <a16:creationId xmlns:a16="http://schemas.microsoft.com/office/drawing/2014/main" id="{E5F75A1B-80E1-CC7F-F655-787607571FB1}"/>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96" name="Freeform 95">
              <a:extLst>
                <a:ext uri="{FF2B5EF4-FFF2-40B4-BE49-F238E27FC236}">
                  <a16:creationId xmlns:a16="http://schemas.microsoft.com/office/drawing/2014/main" id="{E424345B-B85B-5EAA-98F6-B7FDA231E492}"/>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97" name="Freeform 96">
            <a:extLst>
              <a:ext uri="{FF2B5EF4-FFF2-40B4-BE49-F238E27FC236}">
                <a16:creationId xmlns:a16="http://schemas.microsoft.com/office/drawing/2014/main" id="{2E2A207F-1B82-DDEC-932D-09A2A6196CF0}"/>
              </a:ext>
            </a:extLst>
          </p:cNvPr>
          <p:cNvSpPr/>
          <p:nvPr userDrawn="1"/>
        </p:nvSpPr>
        <p:spPr>
          <a:xfrm>
            <a:off x="2632464" y="5503355"/>
            <a:ext cx="696181" cy="406179"/>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98" name="Group 97">
            <a:extLst>
              <a:ext uri="{FF2B5EF4-FFF2-40B4-BE49-F238E27FC236}">
                <a16:creationId xmlns:a16="http://schemas.microsoft.com/office/drawing/2014/main" id="{7C713503-A19C-D80F-ADB9-20EFA6324F02}"/>
              </a:ext>
            </a:extLst>
          </p:cNvPr>
          <p:cNvGrpSpPr/>
          <p:nvPr userDrawn="1"/>
        </p:nvGrpSpPr>
        <p:grpSpPr>
          <a:xfrm>
            <a:off x="4141185" y="5333649"/>
            <a:ext cx="778892" cy="535727"/>
            <a:chOff x="1390414" y="4541317"/>
            <a:chExt cx="497543" cy="342213"/>
          </a:xfrm>
        </p:grpSpPr>
        <p:sp>
          <p:nvSpPr>
            <p:cNvPr id="99" name="Freeform 98">
              <a:extLst>
                <a:ext uri="{FF2B5EF4-FFF2-40B4-BE49-F238E27FC236}">
                  <a16:creationId xmlns:a16="http://schemas.microsoft.com/office/drawing/2014/main" id="{899BBCC0-285C-7C13-D781-3506E403FE08}"/>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100" name="Freeform 99">
              <a:extLst>
                <a:ext uri="{FF2B5EF4-FFF2-40B4-BE49-F238E27FC236}">
                  <a16:creationId xmlns:a16="http://schemas.microsoft.com/office/drawing/2014/main" id="{6DE26E78-8C17-107B-B558-775FD944D9EB}"/>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101" name="Freeform 100">
              <a:extLst>
                <a:ext uri="{FF2B5EF4-FFF2-40B4-BE49-F238E27FC236}">
                  <a16:creationId xmlns:a16="http://schemas.microsoft.com/office/drawing/2014/main" id="{B5BE26B7-1911-0A1B-0BE3-421E24708BF6}"/>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102" name="Freeform 101">
              <a:extLst>
                <a:ext uri="{FF2B5EF4-FFF2-40B4-BE49-F238E27FC236}">
                  <a16:creationId xmlns:a16="http://schemas.microsoft.com/office/drawing/2014/main" id="{F53C6938-7121-4A2F-4E27-651B585DBE2F}"/>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3" name="Freeform 102">
              <a:extLst>
                <a:ext uri="{FF2B5EF4-FFF2-40B4-BE49-F238E27FC236}">
                  <a16:creationId xmlns:a16="http://schemas.microsoft.com/office/drawing/2014/main" id="{B2E392DB-9DE5-CAB1-3DC0-6C8B80EC7C1D}"/>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104" name="Freeform 103">
              <a:extLst>
                <a:ext uri="{FF2B5EF4-FFF2-40B4-BE49-F238E27FC236}">
                  <a16:creationId xmlns:a16="http://schemas.microsoft.com/office/drawing/2014/main" id="{29AD8A69-CA6B-F82B-4B69-4D236AA9CDDB}"/>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105" name="Freeform 104">
              <a:extLst>
                <a:ext uri="{FF2B5EF4-FFF2-40B4-BE49-F238E27FC236}">
                  <a16:creationId xmlns:a16="http://schemas.microsoft.com/office/drawing/2014/main" id="{208311B9-9689-7848-5CFA-C22925EE9FCD}"/>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106" name="Freeform 105">
              <a:extLst>
                <a:ext uri="{FF2B5EF4-FFF2-40B4-BE49-F238E27FC236}">
                  <a16:creationId xmlns:a16="http://schemas.microsoft.com/office/drawing/2014/main" id="{BD3AE371-85E7-3C73-A07B-94E84CA6C091}"/>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107" name="Freeform 106">
              <a:extLst>
                <a:ext uri="{FF2B5EF4-FFF2-40B4-BE49-F238E27FC236}">
                  <a16:creationId xmlns:a16="http://schemas.microsoft.com/office/drawing/2014/main" id="{B9B35628-A13E-F149-AD51-912B58156F36}"/>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8" name="Freeform 107">
              <a:extLst>
                <a:ext uri="{FF2B5EF4-FFF2-40B4-BE49-F238E27FC236}">
                  <a16:creationId xmlns:a16="http://schemas.microsoft.com/office/drawing/2014/main" id="{C5C58166-647A-E057-8DFD-D5DDC2DF17B3}"/>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109" name="Freeform 108">
              <a:extLst>
                <a:ext uri="{FF2B5EF4-FFF2-40B4-BE49-F238E27FC236}">
                  <a16:creationId xmlns:a16="http://schemas.microsoft.com/office/drawing/2014/main" id="{992550A3-28EE-5B40-20F4-B99C4C3D7F6E}"/>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110" name="Freeform 109">
              <a:extLst>
                <a:ext uri="{FF2B5EF4-FFF2-40B4-BE49-F238E27FC236}">
                  <a16:creationId xmlns:a16="http://schemas.microsoft.com/office/drawing/2014/main" id="{D6B431AC-F629-EA96-E3C4-201DA8773E8F}"/>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111" name="Freeform 110">
              <a:extLst>
                <a:ext uri="{FF2B5EF4-FFF2-40B4-BE49-F238E27FC236}">
                  <a16:creationId xmlns:a16="http://schemas.microsoft.com/office/drawing/2014/main" id="{7C0B1D0A-4A82-4FCB-4C4C-AAD4106B3917}"/>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12" name="Freeform 111">
              <a:extLst>
                <a:ext uri="{FF2B5EF4-FFF2-40B4-BE49-F238E27FC236}">
                  <a16:creationId xmlns:a16="http://schemas.microsoft.com/office/drawing/2014/main" id="{CC5CFF29-06CF-80EA-E1B5-BB593A57E2F3}"/>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113" name="Freeform 112">
              <a:extLst>
                <a:ext uri="{FF2B5EF4-FFF2-40B4-BE49-F238E27FC236}">
                  <a16:creationId xmlns:a16="http://schemas.microsoft.com/office/drawing/2014/main" id="{59DB5B6A-0866-9F22-6E51-F639FE3FB782}"/>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14" name="Freeform 113">
              <a:extLst>
                <a:ext uri="{FF2B5EF4-FFF2-40B4-BE49-F238E27FC236}">
                  <a16:creationId xmlns:a16="http://schemas.microsoft.com/office/drawing/2014/main" id="{3FDCD468-E287-9E8E-CA79-DE1515A5ACA6}"/>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15" name="Freeform 114">
              <a:extLst>
                <a:ext uri="{FF2B5EF4-FFF2-40B4-BE49-F238E27FC236}">
                  <a16:creationId xmlns:a16="http://schemas.microsoft.com/office/drawing/2014/main" id="{0197F2E9-158E-3091-E231-D9F6A007E4DB}"/>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16" name="Freeform 115">
              <a:extLst>
                <a:ext uri="{FF2B5EF4-FFF2-40B4-BE49-F238E27FC236}">
                  <a16:creationId xmlns:a16="http://schemas.microsoft.com/office/drawing/2014/main" id="{4B0E6884-3310-7C9B-1D1C-740D225A456B}"/>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117" name="Freeform 116">
              <a:extLst>
                <a:ext uri="{FF2B5EF4-FFF2-40B4-BE49-F238E27FC236}">
                  <a16:creationId xmlns:a16="http://schemas.microsoft.com/office/drawing/2014/main" id="{252707F6-5855-6F52-38D6-12D9AAC73965}"/>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118" name="Freeform 117">
              <a:extLst>
                <a:ext uri="{FF2B5EF4-FFF2-40B4-BE49-F238E27FC236}">
                  <a16:creationId xmlns:a16="http://schemas.microsoft.com/office/drawing/2014/main" id="{ACC81139-D59D-7D34-506D-A174B24A5D2D}"/>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119" name="Freeform 118">
              <a:extLst>
                <a:ext uri="{FF2B5EF4-FFF2-40B4-BE49-F238E27FC236}">
                  <a16:creationId xmlns:a16="http://schemas.microsoft.com/office/drawing/2014/main" id="{1869EDCF-A1A5-6142-EDF9-5D2EEA767093}"/>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20" name="Freeform 119">
              <a:extLst>
                <a:ext uri="{FF2B5EF4-FFF2-40B4-BE49-F238E27FC236}">
                  <a16:creationId xmlns:a16="http://schemas.microsoft.com/office/drawing/2014/main" id="{B866164F-D42B-AEDC-5D8E-E5B34660E147}"/>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121" name="Freeform 120">
              <a:extLst>
                <a:ext uri="{FF2B5EF4-FFF2-40B4-BE49-F238E27FC236}">
                  <a16:creationId xmlns:a16="http://schemas.microsoft.com/office/drawing/2014/main" id="{F3F5849E-5D40-B929-8B8B-6E4473714E8A}"/>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122" name="Freeform 121">
              <a:extLst>
                <a:ext uri="{FF2B5EF4-FFF2-40B4-BE49-F238E27FC236}">
                  <a16:creationId xmlns:a16="http://schemas.microsoft.com/office/drawing/2014/main" id="{875FFDA4-7794-97A1-AC2F-CAF5F721BED5}"/>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23" name="Freeform 122">
              <a:extLst>
                <a:ext uri="{FF2B5EF4-FFF2-40B4-BE49-F238E27FC236}">
                  <a16:creationId xmlns:a16="http://schemas.microsoft.com/office/drawing/2014/main" id="{7D678A01-BE15-848E-F888-E871D1D8AC36}"/>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24" name="Freeform 123">
              <a:extLst>
                <a:ext uri="{FF2B5EF4-FFF2-40B4-BE49-F238E27FC236}">
                  <a16:creationId xmlns:a16="http://schemas.microsoft.com/office/drawing/2014/main" id="{6E3899DC-9C51-AB9D-17A4-C0062BA35A10}"/>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125" name="Freeform 124">
              <a:extLst>
                <a:ext uri="{FF2B5EF4-FFF2-40B4-BE49-F238E27FC236}">
                  <a16:creationId xmlns:a16="http://schemas.microsoft.com/office/drawing/2014/main" id="{38DEC20F-B70D-5EE1-D571-667DC5B78D3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126" name="Freeform 125">
              <a:extLst>
                <a:ext uri="{FF2B5EF4-FFF2-40B4-BE49-F238E27FC236}">
                  <a16:creationId xmlns:a16="http://schemas.microsoft.com/office/drawing/2014/main" id="{6E2D0706-C72B-03D7-0DF0-82F9E780074A}"/>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127" name="Freeform 126">
              <a:extLst>
                <a:ext uri="{FF2B5EF4-FFF2-40B4-BE49-F238E27FC236}">
                  <a16:creationId xmlns:a16="http://schemas.microsoft.com/office/drawing/2014/main" id="{2B1E063A-889A-C6F4-1A1A-132D097B2756}"/>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28" name="Freeform 127">
              <a:extLst>
                <a:ext uri="{FF2B5EF4-FFF2-40B4-BE49-F238E27FC236}">
                  <a16:creationId xmlns:a16="http://schemas.microsoft.com/office/drawing/2014/main" id="{942A95C6-F419-C195-1E8E-1D38A485BCB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29" name="Freeform 128">
              <a:extLst>
                <a:ext uri="{FF2B5EF4-FFF2-40B4-BE49-F238E27FC236}">
                  <a16:creationId xmlns:a16="http://schemas.microsoft.com/office/drawing/2014/main" id="{73CADDDF-92BD-DB87-7F4B-5CBD8F45E254}"/>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0" name="Freeform 129">
              <a:extLst>
                <a:ext uri="{FF2B5EF4-FFF2-40B4-BE49-F238E27FC236}">
                  <a16:creationId xmlns:a16="http://schemas.microsoft.com/office/drawing/2014/main" id="{6A247109-9F8E-6242-D859-D8DF0B939DB6}"/>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1" name="Freeform 130">
              <a:extLst>
                <a:ext uri="{FF2B5EF4-FFF2-40B4-BE49-F238E27FC236}">
                  <a16:creationId xmlns:a16="http://schemas.microsoft.com/office/drawing/2014/main" id="{FDCE460F-C759-E0F8-1A33-679AF8F951CD}"/>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132" name="Freeform 131">
              <a:extLst>
                <a:ext uri="{FF2B5EF4-FFF2-40B4-BE49-F238E27FC236}">
                  <a16:creationId xmlns:a16="http://schemas.microsoft.com/office/drawing/2014/main" id="{A90A7833-A937-9ABB-7780-F2A14713D49F}"/>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3" name="Freeform 132">
              <a:extLst>
                <a:ext uri="{FF2B5EF4-FFF2-40B4-BE49-F238E27FC236}">
                  <a16:creationId xmlns:a16="http://schemas.microsoft.com/office/drawing/2014/main" id="{8FB24485-1D09-4BD7-50CE-034C19E90444}"/>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4" name="Freeform 133">
              <a:extLst>
                <a:ext uri="{FF2B5EF4-FFF2-40B4-BE49-F238E27FC236}">
                  <a16:creationId xmlns:a16="http://schemas.microsoft.com/office/drawing/2014/main" id="{520E6473-C403-3B3A-34A3-426E9789BFBA}"/>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135" name="Freeform 134">
              <a:extLst>
                <a:ext uri="{FF2B5EF4-FFF2-40B4-BE49-F238E27FC236}">
                  <a16:creationId xmlns:a16="http://schemas.microsoft.com/office/drawing/2014/main" id="{E3F4EF59-0D1F-9CEC-18F1-D94892F70BCA}"/>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6" name="Freeform 135">
              <a:extLst>
                <a:ext uri="{FF2B5EF4-FFF2-40B4-BE49-F238E27FC236}">
                  <a16:creationId xmlns:a16="http://schemas.microsoft.com/office/drawing/2014/main" id="{C38741A1-C050-5EC4-9D6C-32051D997F94}"/>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7" name="Freeform 136">
              <a:extLst>
                <a:ext uri="{FF2B5EF4-FFF2-40B4-BE49-F238E27FC236}">
                  <a16:creationId xmlns:a16="http://schemas.microsoft.com/office/drawing/2014/main" id="{A4D560B1-77B8-6439-677A-803421B1CA4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8" name="Freeform 137">
              <a:extLst>
                <a:ext uri="{FF2B5EF4-FFF2-40B4-BE49-F238E27FC236}">
                  <a16:creationId xmlns:a16="http://schemas.microsoft.com/office/drawing/2014/main" id="{3E4649C2-0D6F-169F-23D7-581795A4B8DA}"/>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9" name="Freeform 138">
              <a:extLst>
                <a:ext uri="{FF2B5EF4-FFF2-40B4-BE49-F238E27FC236}">
                  <a16:creationId xmlns:a16="http://schemas.microsoft.com/office/drawing/2014/main" id="{70C9160D-8E77-8734-FA03-55D6A78B96B6}"/>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140" name="Freeform 139">
              <a:extLst>
                <a:ext uri="{FF2B5EF4-FFF2-40B4-BE49-F238E27FC236}">
                  <a16:creationId xmlns:a16="http://schemas.microsoft.com/office/drawing/2014/main" id="{B548623A-37DE-C94B-E475-5680F1D72A86}"/>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41" name="Freeform 140">
              <a:extLst>
                <a:ext uri="{FF2B5EF4-FFF2-40B4-BE49-F238E27FC236}">
                  <a16:creationId xmlns:a16="http://schemas.microsoft.com/office/drawing/2014/main" id="{C9618CDB-95D5-F525-9D47-95FC09242DE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2" name="Freeform 141">
              <a:extLst>
                <a:ext uri="{FF2B5EF4-FFF2-40B4-BE49-F238E27FC236}">
                  <a16:creationId xmlns:a16="http://schemas.microsoft.com/office/drawing/2014/main" id="{08D68C73-001F-A9F9-7893-B21BED37FC6D}"/>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43" name="Freeform 142">
              <a:extLst>
                <a:ext uri="{FF2B5EF4-FFF2-40B4-BE49-F238E27FC236}">
                  <a16:creationId xmlns:a16="http://schemas.microsoft.com/office/drawing/2014/main" id="{A18DE7DF-BCB9-E41A-6B46-4A4EDA377EC2}"/>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44" name="Freeform 143">
              <a:extLst>
                <a:ext uri="{FF2B5EF4-FFF2-40B4-BE49-F238E27FC236}">
                  <a16:creationId xmlns:a16="http://schemas.microsoft.com/office/drawing/2014/main" id="{29551BFA-7203-4CFC-94E1-7554E125569D}"/>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45" name="Freeform 144">
              <a:extLst>
                <a:ext uri="{FF2B5EF4-FFF2-40B4-BE49-F238E27FC236}">
                  <a16:creationId xmlns:a16="http://schemas.microsoft.com/office/drawing/2014/main" id="{5A34BFF7-C79D-A63B-5A93-F7B714826EA9}"/>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46" name="Freeform 145">
              <a:extLst>
                <a:ext uri="{FF2B5EF4-FFF2-40B4-BE49-F238E27FC236}">
                  <a16:creationId xmlns:a16="http://schemas.microsoft.com/office/drawing/2014/main" id="{518B0942-0181-341E-464D-5A852F8B5C1C}"/>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7" name="Freeform 146">
              <a:extLst>
                <a:ext uri="{FF2B5EF4-FFF2-40B4-BE49-F238E27FC236}">
                  <a16:creationId xmlns:a16="http://schemas.microsoft.com/office/drawing/2014/main" id="{A0F4A810-1619-2DDB-F336-96F732D0D907}"/>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148" name="Group 147">
            <a:extLst>
              <a:ext uri="{FF2B5EF4-FFF2-40B4-BE49-F238E27FC236}">
                <a16:creationId xmlns:a16="http://schemas.microsoft.com/office/drawing/2014/main" id="{DEEC9297-37D9-7E06-E732-4CA4EB7D2C2B}"/>
              </a:ext>
            </a:extLst>
          </p:cNvPr>
          <p:cNvGrpSpPr/>
          <p:nvPr userDrawn="1"/>
        </p:nvGrpSpPr>
        <p:grpSpPr>
          <a:xfrm>
            <a:off x="5122454" y="5618670"/>
            <a:ext cx="1166932" cy="192452"/>
            <a:chOff x="2055895" y="4723384"/>
            <a:chExt cx="745416" cy="122935"/>
          </a:xfrm>
        </p:grpSpPr>
        <p:sp>
          <p:nvSpPr>
            <p:cNvPr id="149" name="Freeform 148">
              <a:extLst>
                <a:ext uri="{FF2B5EF4-FFF2-40B4-BE49-F238E27FC236}">
                  <a16:creationId xmlns:a16="http://schemas.microsoft.com/office/drawing/2014/main" id="{FDDF0770-7BB1-6775-D3C3-B512E8AC98FD}"/>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150" name="Freeform 149">
              <a:extLst>
                <a:ext uri="{FF2B5EF4-FFF2-40B4-BE49-F238E27FC236}">
                  <a16:creationId xmlns:a16="http://schemas.microsoft.com/office/drawing/2014/main" id="{F0D48609-2DA9-725B-005E-CAAD042B4030}"/>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151" name="Freeform 150">
              <a:extLst>
                <a:ext uri="{FF2B5EF4-FFF2-40B4-BE49-F238E27FC236}">
                  <a16:creationId xmlns:a16="http://schemas.microsoft.com/office/drawing/2014/main" id="{FC2DF16F-629D-865A-7AE3-C9EEA8E8376B}"/>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152" name="Freeform 151">
              <a:extLst>
                <a:ext uri="{FF2B5EF4-FFF2-40B4-BE49-F238E27FC236}">
                  <a16:creationId xmlns:a16="http://schemas.microsoft.com/office/drawing/2014/main" id="{B541503A-7527-63F0-B1CC-E2E4EAD462D2}"/>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153" name="Freeform 152">
              <a:extLst>
                <a:ext uri="{FF2B5EF4-FFF2-40B4-BE49-F238E27FC236}">
                  <a16:creationId xmlns:a16="http://schemas.microsoft.com/office/drawing/2014/main" id="{40A30385-C7B5-7EE3-5756-5F29F6C92A86}"/>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54" name="Freeform 153">
              <a:extLst>
                <a:ext uri="{FF2B5EF4-FFF2-40B4-BE49-F238E27FC236}">
                  <a16:creationId xmlns:a16="http://schemas.microsoft.com/office/drawing/2014/main" id="{4770EF50-D2CD-D5EA-C10E-574A5F7A870F}"/>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155" name="Freeform 154">
              <a:extLst>
                <a:ext uri="{FF2B5EF4-FFF2-40B4-BE49-F238E27FC236}">
                  <a16:creationId xmlns:a16="http://schemas.microsoft.com/office/drawing/2014/main" id="{EB135527-87C8-47E4-978E-708A218562B4}"/>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156" name="Freeform 155">
              <a:extLst>
                <a:ext uri="{FF2B5EF4-FFF2-40B4-BE49-F238E27FC236}">
                  <a16:creationId xmlns:a16="http://schemas.microsoft.com/office/drawing/2014/main" id="{55779791-1BBE-BC47-C9CC-7C5386737853}"/>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157" name="Freeform 156">
              <a:extLst>
                <a:ext uri="{FF2B5EF4-FFF2-40B4-BE49-F238E27FC236}">
                  <a16:creationId xmlns:a16="http://schemas.microsoft.com/office/drawing/2014/main" id="{51804D5B-3CE1-5C92-2894-4C9C78FA9EAA}"/>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158" name="Freeform 157">
              <a:extLst>
                <a:ext uri="{FF2B5EF4-FFF2-40B4-BE49-F238E27FC236}">
                  <a16:creationId xmlns:a16="http://schemas.microsoft.com/office/drawing/2014/main" id="{685F1780-B925-4DDC-C7EF-11C184D5B0CD}"/>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159" name="Freeform 158">
              <a:extLst>
                <a:ext uri="{FF2B5EF4-FFF2-40B4-BE49-F238E27FC236}">
                  <a16:creationId xmlns:a16="http://schemas.microsoft.com/office/drawing/2014/main" id="{E3BB474B-C2F2-24B8-6EBD-65B962F15DC3}"/>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160" name="Freeform 159">
              <a:extLst>
                <a:ext uri="{FF2B5EF4-FFF2-40B4-BE49-F238E27FC236}">
                  <a16:creationId xmlns:a16="http://schemas.microsoft.com/office/drawing/2014/main" id="{29A39EF5-CE68-E3A8-C0AD-8D7258A752DA}"/>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161" name="Freeform 160">
              <a:extLst>
                <a:ext uri="{FF2B5EF4-FFF2-40B4-BE49-F238E27FC236}">
                  <a16:creationId xmlns:a16="http://schemas.microsoft.com/office/drawing/2014/main" id="{DDFFB3F6-7387-CCCC-00C6-77A889187792}"/>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62" name="Freeform 161">
              <a:extLst>
                <a:ext uri="{FF2B5EF4-FFF2-40B4-BE49-F238E27FC236}">
                  <a16:creationId xmlns:a16="http://schemas.microsoft.com/office/drawing/2014/main" id="{8DBEB748-6D5D-D79D-0FCF-C8D8C9C71A0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163" name="Freeform 162">
              <a:extLst>
                <a:ext uri="{FF2B5EF4-FFF2-40B4-BE49-F238E27FC236}">
                  <a16:creationId xmlns:a16="http://schemas.microsoft.com/office/drawing/2014/main" id="{85B92C1F-2F27-B07F-09B9-841A12AB1888}"/>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64" name="Freeform 163">
              <a:extLst>
                <a:ext uri="{FF2B5EF4-FFF2-40B4-BE49-F238E27FC236}">
                  <a16:creationId xmlns:a16="http://schemas.microsoft.com/office/drawing/2014/main" id="{F54578BF-2886-DB26-5083-46EE93F1774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65" name="Freeform 164">
              <a:extLst>
                <a:ext uri="{FF2B5EF4-FFF2-40B4-BE49-F238E27FC236}">
                  <a16:creationId xmlns:a16="http://schemas.microsoft.com/office/drawing/2014/main" id="{AAE17236-0445-E422-0914-8DBD3915FDCB}"/>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166" name="Freeform 165">
              <a:extLst>
                <a:ext uri="{FF2B5EF4-FFF2-40B4-BE49-F238E27FC236}">
                  <a16:creationId xmlns:a16="http://schemas.microsoft.com/office/drawing/2014/main" id="{706F6EEC-2067-8CE1-00D9-E005FCEB3FF6}"/>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167" name="Freeform 166">
              <a:extLst>
                <a:ext uri="{FF2B5EF4-FFF2-40B4-BE49-F238E27FC236}">
                  <a16:creationId xmlns:a16="http://schemas.microsoft.com/office/drawing/2014/main" id="{9A295F37-8D07-AE48-7E83-813345FB8C2F}"/>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68" name="Freeform 167">
              <a:extLst>
                <a:ext uri="{FF2B5EF4-FFF2-40B4-BE49-F238E27FC236}">
                  <a16:creationId xmlns:a16="http://schemas.microsoft.com/office/drawing/2014/main" id="{400E847F-E6B4-B413-466D-42568147B3AA}"/>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169" name="Freeform 168">
              <a:extLst>
                <a:ext uri="{FF2B5EF4-FFF2-40B4-BE49-F238E27FC236}">
                  <a16:creationId xmlns:a16="http://schemas.microsoft.com/office/drawing/2014/main" id="{BB031B9F-6718-B0B8-2D55-5572522626F9}"/>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170" name="Freeform 169">
              <a:extLst>
                <a:ext uri="{FF2B5EF4-FFF2-40B4-BE49-F238E27FC236}">
                  <a16:creationId xmlns:a16="http://schemas.microsoft.com/office/drawing/2014/main" id="{EABA66B8-290F-0CC7-4490-CB807E8CF4E5}"/>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171" name="Freeform 170">
              <a:extLst>
                <a:ext uri="{FF2B5EF4-FFF2-40B4-BE49-F238E27FC236}">
                  <a16:creationId xmlns:a16="http://schemas.microsoft.com/office/drawing/2014/main" id="{984826A5-23FE-6360-0361-286B628AE800}"/>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72" name="Freeform 171">
              <a:extLst>
                <a:ext uri="{FF2B5EF4-FFF2-40B4-BE49-F238E27FC236}">
                  <a16:creationId xmlns:a16="http://schemas.microsoft.com/office/drawing/2014/main" id="{1700022D-4682-615F-7213-A46C8702E8C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173" name="Freeform 172">
              <a:extLst>
                <a:ext uri="{FF2B5EF4-FFF2-40B4-BE49-F238E27FC236}">
                  <a16:creationId xmlns:a16="http://schemas.microsoft.com/office/drawing/2014/main" id="{9EED21B7-05C4-B748-2977-F6CE02EF60DC}"/>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74" name="Freeform 173">
              <a:extLst>
                <a:ext uri="{FF2B5EF4-FFF2-40B4-BE49-F238E27FC236}">
                  <a16:creationId xmlns:a16="http://schemas.microsoft.com/office/drawing/2014/main" id="{1AAF8220-3060-0E06-95B5-5A4FAD8138D7}"/>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175" name="Freeform 174">
              <a:extLst>
                <a:ext uri="{FF2B5EF4-FFF2-40B4-BE49-F238E27FC236}">
                  <a16:creationId xmlns:a16="http://schemas.microsoft.com/office/drawing/2014/main" id="{1CF28879-DA37-5FE0-5A92-6DA5D04DA468}"/>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176" name="Freeform 175">
              <a:extLst>
                <a:ext uri="{FF2B5EF4-FFF2-40B4-BE49-F238E27FC236}">
                  <a16:creationId xmlns:a16="http://schemas.microsoft.com/office/drawing/2014/main" id="{597FC06B-2FD6-3F2B-9841-C6942247F7E7}"/>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177" name="Freeform 176">
              <a:extLst>
                <a:ext uri="{FF2B5EF4-FFF2-40B4-BE49-F238E27FC236}">
                  <a16:creationId xmlns:a16="http://schemas.microsoft.com/office/drawing/2014/main" id="{15E36EEB-1903-4130-A00D-35899F9F9D5F}"/>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178" name="Freeform 177">
              <a:extLst>
                <a:ext uri="{FF2B5EF4-FFF2-40B4-BE49-F238E27FC236}">
                  <a16:creationId xmlns:a16="http://schemas.microsoft.com/office/drawing/2014/main" id="{AB4127C4-E377-3CCA-E532-B9270EA872F1}"/>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179" name="Freeform 178">
              <a:extLst>
                <a:ext uri="{FF2B5EF4-FFF2-40B4-BE49-F238E27FC236}">
                  <a16:creationId xmlns:a16="http://schemas.microsoft.com/office/drawing/2014/main" id="{C17A6CF3-FB03-82B9-6A8A-DAEC11E8730B}"/>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80" name="Freeform 179">
              <a:extLst>
                <a:ext uri="{FF2B5EF4-FFF2-40B4-BE49-F238E27FC236}">
                  <a16:creationId xmlns:a16="http://schemas.microsoft.com/office/drawing/2014/main" id="{A63D904E-ED1B-8808-94FB-1328970E7CCF}"/>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181" name="Freeform 180">
              <a:extLst>
                <a:ext uri="{FF2B5EF4-FFF2-40B4-BE49-F238E27FC236}">
                  <a16:creationId xmlns:a16="http://schemas.microsoft.com/office/drawing/2014/main" id="{6ED24B26-BE14-2FAB-D3BA-747450B5DE20}"/>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pic>
        <p:nvPicPr>
          <p:cNvPr id="232" name="Graphic 231">
            <a:extLst>
              <a:ext uri="{FF2B5EF4-FFF2-40B4-BE49-F238E27FC236}">
                <a16:creationId xmlns:a16="http://schemas.microsoft.com/office/drawing/2014/main" id="{958898F8-C171-9ADE-0DE8-7110F877F3A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13605" y="5590162"/>
            <a:ext cx="817412" cy="237313"/>
          </a:xfrm>
          <a:prstGeom prst="rect">
            <a:avLst/>
          </a:prstGeom>
        </p:spPr>
      </p:pic>
    </p:spTree>
    <p:extLst>
      <p:ext uri="{BB962C8B-B14F-4D97-AF65-F5344CB8AC3E}">
        <p14:creationId xmlns:p14="http://schemas.microsoft.com/office/powerpoint/2010/main" val="236247814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07378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31" name="Graphic 630">
            <a:extLst>
              <a:ext uri="{FF2B5EF4-FFF2-40B4-BE49-F238E27FC236}">
                <a16:creationId xmlns:a16="http://schemas.microsoft.com/office/drawing/2014/main" id="{315B9E8A-01EA-E303-3A84-C901ECB147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222177" cy="6858000"/>
          </a:xfrm>
          <a:prstGeom prst="rect">
            <a:avLst/>
          </a:prstGeom>
        </p:spPr>
      </p:pic>
      <p:sp>
        <p:nvSpPr>
          <p:cNvPr id="635" name="Freeform 634">
            <a:extLst>
              <a:ext uri="{FF2B5EF4-FFF2-40B4-BE49-F238E27FC236}">
                <a16:creationId xmlns:a16="http://schemas.microsoft.com/office/drawing/2014/main" id="{544062CE-52D0-C717-7A12-0C445C8133C3}"/>
              </a:ext>
            </a:extLst>
          </p:cNvPr>
          <p:cNvSpPr/>
          <p:nvPr userDrawn="1"/>
        </p:nvSpPr>
        <p:spPr>
          <a:xfrm flipV="1">
            <a:off x="1" y="-1"/>
            <a:ext cx="12207089" cy="5898049"/>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gradFill>
            <a:gsLst>
              <a:gs pos="0">
                <a:srgbClr val="FFFFFF">
                  <a:alpha val="0"/>
                </a:srgbClr>
              </a:gs>
              <a:gs pos="50000">
                <a:srgbClr val="FFFFFF">
                  <a:alpha val="49804"/>
                </a:srgbClr>
              </a:gs>
              <a:gs pos="100000">
                <a:srgbClr val="FFFFFF"/>
              </a:gs>
            </a:gsLst>
            <a:lin ang="5400000" scaled="0"/>
          </a:gradFill>
          <a:ln w="0" cap="flat">
            <a:noFill/>
            <a:prstDash val="solid"/>
            <a:miter/>
          </a:ln>
        </p:spPr>
        <p:txBody>
          <a:bodyPr rtlCol="0" anchor="ctr"/>
          <a:lstStyle/>
          <a:p>
            <a:endParaRPr lang="en-AD" sz="2400"/>
          </a:p>
        </p:txBody>
      </p:sp>
      <p:sp>
        <p:nvSpPr>
          <p:cNvPr id="318" name="Freeform 317">
            <a:extLst>
              <a:ext uri="{FF2B5EF4-FFF2-40B4-BE49-F238E27FC236}">
                <a16:creationId xmlns:a16="http://schemas.microsoft.com/office/drawing/2014/main" id="{398B2DB3-BA63-5450-BEFC-B50A364221F6}"/>
              </a:ext>
            </a:extLst>
          </p:cNvPr>
          <p:cNvSpPr/>
          <p:nvPr/>
        </p:nvSpPr>
        <p:spPr>
          <a:xfrm>
            <a:off x="-15090" y="0"/>
            <a:ext cx="12222179" cy="6858000"/>
          </a:xfrm>
          <a:custGeom>
            <a:avLst/>
            <a:gdLst>
              <a:gd name="connsiteX0" fmla="*/ 0 w 9166634"/>
              <a:gd name="connsiteY0" fmla="*/ 0 h 5143500"/>
              <a:gd name="connsiteX1" fmla="*/ 9166634 w 9166634"/>
              <a:gd name="connsiteY1" fmla="*/ 0 h 5143500"/>
              <a:gd name="connsiteX2" fmla="*/ 9166634 w 9166634"/>
              <a:gd name="connsiteY2" fmla="*/ 5143500 h 5143500"/>
              <a:gd name="connsiteX3" fmla="*/ 0 w 916663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66634" h="5143500">
                <a:moveTo>
                  <a:pt x="0" y="0"/>
                </a:moveTo>
                <a:lnTo>
                  <a:pt x="9166634" y="0"/>
                </a:lnTo>
                <a:lnTo>
                  <a:pt x="9166634" y="5143500"/>
                </a:lnTo>
                <a:lnTo>
                  <a:pt x="0" y="5143500"/>
                </a:lnTo>
                <a:close/>
              </a:path>
            </a:pathLst>
          </a:custGeom>
          <a:noFill/>
          <a:ln w="0" cap="flat">
            <a:noFill/>
            <a:prstDash val="solid"/>
            <a:miter/>
          </a:ln>
        </p:spPr>
        <p:txBody>
          <a:bodyPr rtlCol="0" anchor="ctr"/>
          <a:lstStyle/>
          <a:p>
            <a:endParaRPr lang="en-AD" sz="2400"/>
          </a:p>
        </p:txBody>
      </p:sp>
      <p:sp>
        <p:nvSpPr>
          <p:cNvPr id="320" name="Freeform 319">
            <a:extLst>
              <a:ext uri="{FF2B5EF4-FFF2-40B4-BE49-F238E27FC236}">
                <a16:creationId xmlns:a16="http://schemas.microsoft.com/office/drawing/2014/main" id="{E4AE84B8-8A78-EB8F-FF9D-41F060EAF8FC}"/>
              </a:ext>
            </a:extLst>
          </p:cNvPr>
          <p:cNvSpPr/>
          <p:nvPr/>
        </p:nvSpPr>
        <p:spPr>
          <a:xfrm>
            <a:off x="0" y="5898050"/>
            <a:ext cx="12222179" cy="959951"/>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solidFill>
            <a:srgbClr val="1D4966"/>
          </a:solidFill>
          <a:ln w="0" cap="flat">
            <a:noFill/>
            <a:prstDash val="solid"/>
            <a:miter/>
          </a:ln>
        </p:spPr>
        <p:txBody>
          <a:bodyPr rtlCol="0" anchor="ctr"/>
          <a:lstStyle/>
          <a:p>
            <a:endParaRPr lang="en-AD" sz="2400"/>
          </a:p>
        </p:txBody>
      </p:sp>
      <p:grpSp>
        <p:nvGrpSpPr>
          <p:cNvPr id="637" name="Group 636">
            <a:extLst>
              <a:ext uri="{FF2B5EF4-FFF2-40B4-BE49-F238E27FC236}">
                <a16:creationId xmlns:a16="http://schemas.microsoft.com/office/drawing/2014/main" id="{0405645B-C84A-B523-66C2-CD9CDAB10D02}"/>
              </a:ext>
            </a:extLst>
          </p:cNvPr>
          <p:cNvGrpSpPr/>
          <p:nvPr userDrawn="1"/>
        </p:nvGrpSpPr>
        <p:grpSpPr>
          <a:xfrm>
            <a:off x="2667509" y="1319107"/>
            <a:ext cx="2725884" cy="549316"/>
            <a:chOff x="2000631" y="989330"/>
            <a:chExt cx="2044413" cy="411987"/>
          </a:xfrm>
        </p:grpSpPr>
        <p:sp>
          <p:nvSpPr>
            <p:cNvPr id="321" name="Freeform 320">
              <a:extLst>
                <a:ext uri="{FF2B5EF4-FFF2-40B4-BE49-F238E27FC236}">
                  <a16:creationId xmlns:a16="http://schemas.microsoft.com/office/drawing/2014/main" id="{11E11E00-37F3-0F5B-6A9F-629E446F5E50}"/>
                </a:ext>
              </a:extLst>
            </p:cNvPr>
            <p:cNvSpPr/>
            <p:nvPr/>
          </p:nvSpPr>
          <p:spPr>
            <a:xfrm>
              <a:off x="2000631" y="996441"/>
              <a:ext cx="365137" cy="397763"/>
            </a:xfrm>
            <a:custGeom>
              <a:avLst/>
              <a:gdLst>
                <a:gd name="connsiteX0" fmla="*/ 148831 w 365137"/>
                <a:gd name="connsiteY0" fmla="*/ 397764 h 397763"/>
                <a:gd name="connsiteX1" fmla="*/ 0 w 365137"/>
                <a:gd name="connsiteY1" fmla="*/ 0 h 397763"/>
                <a:gd name="connsiteX2" fmla="*/ 59838 w 365137"/>
                <a:gd name="connsiteY2" fmla="*/ 0 h 397763"/>
                <a:gd name="connsiteX3" fmla="*/ 162199 w 365137"/>
                <a:gd name="connsiteY3" fmla="*/ 281813 h 397763"/>
                <a:gd name="connsiteX4" fmla="*/ 169201 w 365137"/>
                <a:gd name="connsiteY4" fmla="*/ 300355 h 397763"/>
                <a:gd name="connsiteX5" fmla="*/ 176203 w 365137"/>
                <a:gd name="connsiteY5" fmla="*/ 320675 h 397763"/>
                <a:gd name="connsiteX6" fmla="*/ 182569 w 365137"/>
                <a:gd name="connsiteY6" fmla="*/ 338074 h 397763"/>
                <a:gd name="connsiteX7" fmla="*/ 186006 w 365137"/>
                <a:gd name="connsiteY7" fmla="*/ 338074 h 397763"/>
                <a:gd name="connsiteX8" fmla="*/ 191863 w 365137"/>
                <a:gd name="connsiteY8" fmla="*/ 321310 h 397763"/>
                <a:gd name="connsiteX9" fmla="*/ 198865 w 365137"/>
                <a:gd name="connsiteY9" fmla="*/ 301244 h 397763"/>
                <a:gd name="connsiteX10" fmla="*/ 205867 w 365137"/>
                <a:gd name="connsiteY10" fmla="*/ 281813 h 397763"/>
                <a:gd name="connsiteX11" fmla="*/ 306955 w 365137"/>
                <a:gd name="connsiteY11" fmla="*/ 0 h 397763"/>
                <a:gd name="connsiteX12" fmla="*/ 365138 w 365137"/>
                <a:gd name="connsiteY12" fmla="*/ 0 h 397763"/>
                <a:gd name="connsiteX13" fmla="*/ 215798 w 365137"/>
                <a:gd name="connsiteY13" fmla="*/ 397764 h 397763"/>
                <a:gd name="connsiteX14" fmla="*/ 148958 w 365137"/>
                <a:gd name="connsiteY14"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137" h="397763">
                  <a:moveTo>
                    <a:pt x="148831" y="397764"/>
                  </a:moveTo>
                  <a:lnTo>
                    <a:pt x="0" y="0"/>
                  </a:lnTo>
                  <a:lnTo>
                    <a:pt x="59838" y="0"/>
                  </a:lnTo>
                  <a:lnTo>
                    <a:pt x="162199" y="281813"/>
                  </a:lnTo>
                  <a:cubicBezTo>
                    <a:pt x="164490" y="287274"/>
                    <a:pt x="166909" y="293370"/>
                    <a:pt x="169201" y="300355"/>
                  </a:cubicBezTo>
                  <a:cubicBezTo>
                    <a:pt x="171492" y="307340"/>
                    <a:pt x="173911" y="314071"/>
                    <a:pt x="176203" y="320675"/>
                  </a:cubicBezTo>
                  <a:cubicBezTo>
                    <a:pt x="178495" y="327279"/>
                    <a:pt x="180659" y="332994"/>
                    <a:pt x="182569" y="338074"/>
                  </a:cubicBezTo>
                  <a:lnTo>
                    <a:pt x="186006" y="338074"/>
                  </a:lnTo>
                  <a:cubicBezTo>
                    <a:pt x="187534" y="333375"/>
                    <a:pt x="189444" y="327787"/>
                    <a:pt x="191863" y="321310"/>
                  </a:cubicBezTo>
                  <a:cubicBezTo>
                    <a:pt x="194154" y="314706"/>
                    <a:pt x="196573" y="308102"/>
                    <a:pt x="198865" y="301244"/>
                  </a:cubicBezTo>
                  <a:cubicBezTo>
                    <a:pt x="201157" y="294513"/>
                    <a:pt x="203576" y="288036"/>
                    <a:pt x="205867" y="281813"/>
                  </a:cubicBezTo>
                  <a:lnTo>
                    <a:pt x="306955" y="0"/>
                  </a:lnTo>
                  <a:lnTo>
                    <a:pt x="365138" y="0"/>
                  </a:lnTo>
                  <a:lnTo>
                    <a:pt x="215798" y="397764"/>
                  </a:lnTo>
                  <a:lnTo>
                    <a:pt x="148958" y="397764"/>
                  </a:lnTo>
                  <a:close/>
                </a:path>
              </a:pathLst>
            </a:custGeom>
            <a:solidFill>
              <a:srgbClr val="1D4966"/>
            </a:solidFill>
            <a:ln w="0" cap="flat">
              <a:noFill/>
              <a:prstDash val="solid"/>
              <a:miter/>
            </a:ln>
          </p:spPr>
          <p:txBody>
            <a:bodyPr rtlCol="0" anchor="ctr"/>
            <a:lstStyle/>
            <a:p>
              <a:endParaRPr lang="en-AD" sz="2400"/>
            </a:p>
          </p:txBody>
        </p:sp>
        <p:sp>
          <p:nvSpPr>
            <p:cNvPr id="322" name="Freeform 321">
              <a:extLst>
                <a:ext uri="{FF2B5EF4-FFF2-40B4-BE49-F238E27FC236}">
                  <a16:creationId xmlns:a16="http://schemas.microsoft.com/office/drawing/2014/main" id="{F0145789-4E60-3D86-E1EE-8D33F8317FB5}"/>
                </a:ext>
              </a:extLst>
            </p:cNvPr>
            <p:cNvSpPr/>
            <p:nvPr/>
          </p:nvSpPr>
          <p:spPr>
            <a:xfrm>
              <a:off x="2425607" y="996441"/>
              <a:ext cx="55254" cy="397763"/>
            </a:xfrm>
            <a:custGeom>
              <a:avLst/>
              <a:gdLst>
                <a:gd name="connsiteX0" fmla="*/ 0 w 55254"/>
                <a:gd name="connsiteY0" fmla="*/ 397764 h 397763"/>
                <a:gd name="connsiteX1" fmla="*/ 0 w 55254"/>
                <a:gd name="connsiteY1" fmla="*/ 0 h 397763"/>
                <a:gd name="connsiteX2" fmla="*/ 55254 w 55254"/>
                <a:gd name="connsiteY2" fmla="*/ 0 h 397763"/>
                <a:gd name="connsiteX3" fmla="*/ 55254 w 55254"/>
                <a:gd name="connsiteY3" fmla="*/ 397764 h 397763"/>
                <a:gd name="connsiteX4" fmla="*/ 0 w 55254"/>
                <a:gd name="connsiteY4" fmla="*/ 397764 h 397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54" h="397763">
                  <a:moveTo>
                    <a:pt x="0" y="397764"/>
                  </a:moveTo>
                  <a:lnTo>
                    <a:pt x="0" y="0"/>
                  </a:lnTo>
                  <a:lnTo>
                    <a:pt x="55254" y="0"/>
                  </a:lnTo>
                  <a:lnTo>
                    <a:pt x="55254" y="397764"/>
                  </a:lnTo>
                  <a:lnTo>
                    <a:pt x="0" y="397764"/>
                  </a:lnTo>
                  <a:close/>
                </a:path>
              </a:pathLst>
            </a:custGeom>
            <a:solidFill>
              <a:srgbClr val="1D4966"/>
            </a:solidFill>
            <a:ln w="0" cap="flat">
              <a:noFill/>
              <a:prstDash val="solid"/>
              <a:miter/>
            </a:ln>
          </p:spPr>
          <p:txBody>
            <a:bodyPr rtlCol="0" anchor="ctr"/>
            <a:lstStyle/>
            <a:p>
              <a:endParaRPr lang="en-AD" sz="2400"/>
            </a:p>
          </p:txBody>
        </p:sp>
        <p:sp>
          <p:nvSpPr>
            <p:cNvPr id="323" name="Freeform 322">
              <a:extLst>
                <a:ext uri="{FF2B5EF4-FFF2-40B4-BE49-F238E27FC236}">
                  <a16:creationId xmlns:a16="http://schemas.microsoft.com/office/drawing/2014/main" id="{F71CBF64-D313-4F5D-8C15-2634FE9E6325}"/>
                </a:ext>
              </a:extLst>
            </p:cNvPr>
            <p:cNvSpPr/>
            <p:nvPr/>
          </p:nvSpPr>
          <p:spPr>
            <a:xfrm>
              <a:off x="2556231" y="989457"/>
              <a:ext cx="366156" cy="411860"/>
            </a:xfrm>
            <a:custGeom>
              <a:avLst/>
              <a:gdLst>
                <a:gd name="connsiteX0" fmla="*/ 190717 w 366156"/>
                <a:gd name="connsiteY0" fmla="*/ 411734 h 411860"/>
                <a:gd name="connsiteX1" fmla="*/ 87210 w 366156"/>
                <a:gd name="connsiteY1" fmla="*/ 389382 h 411860"/>
                <a:gd name="connsiteX2" fmla="*/ 22407 w 366156"/>
                <a:gd name="connsiteY2" fmla="*/ 321564 h 411860"/>
                <a:gd name="connsiteX3" fmla="*/ 0 w 366156"/>
                <a:gd name="connsiteY3" fmla="*/ 205867 h 411860"/>
                <a:gd name="connsiteX4" fmla="*/ 50544 w 366156"/>
                <a:gd name="connsiteY4" fmla="*/ 51054 h 411860"/>
                <a:gd name="connsiteX5" fmla="*/ 191226 w 366156"/>
                <a:gd name="connsiteY5" fmla="*/ 0 h 411860"/>
                <a:gd name="connsiteX6" fmla="*/ 281874 w 366156"/>
                <a:gd name="connsiteY6" fmla="*/ 16510 h 411860"/>
                <a:gd name="connsiteX7" fmla="*/ 343749 w 366156"/>
                <a:gd name="connsiteY7" fmla="*/ 66421 h 411860"/>
                <a:gd name="connsiteX8" fmla="*/ 366156 w 366156"/>
                <a:gd name="connsiteY8" fmla="*/ 150241 h 411860"/>
                <a:gd name="connsiteX9" fmla="*/ 310392 w 366156"/>
                <a:gd name="connsiteY9" fmla="*/ 150241 h 411860"/>
                <a:gd name="connsiteX10" fmla="*/ 295624 w 366156"/>
                <a:gd name="connsiteY10" fmla="*/ 92837 h 411860"/>
                <a:gd name="connsiteX11" fmla="*/ 254120 w 366156"/>
                <a:gd name="connsiteY11" fmla="*/ 58928 h 411860"/>
                <a:gd name="connsiteX12" fmla="*/ 191353 w 366156"/>
                <a:gd name="connsiteY12" fmla="*/ 47625 h 411860"/>
                <a:gd name="connsiteX13" fmla="*/ 119293 w 366156"/>
                <a:gd name="connsiteY13" fmla="*/ 63881 h 411860"/>
                <a:gd name="connsiteX14" fmla="*/ 73333 w 366156"/>
                <a:gd name="connsiteY14" fmla="*/ 114046 h 411860"/>
                <a:gd name="connsiteX15" fmla="*/ 57673 w 366156"/>
                <a:gd name="connsiteY15" fmla="*/ 201295 h 411860"/>
                <a:gd name="connsiteX16" fmla="*/ 57673 w 366156"/>
                <a:gd name="connsiteY16" fmla="*/ 213487 h 411860"/>
                <a:gd name="connsiteX17" fmla="*/ 73333 w 366156"/>
                <a:gd name="connsiteY17" fmla="*/ 299593 h 411860"/>
                <a:gd name="connsiteX18" fmla="*/ 118912 w 366156"/>
                <a:gd name="connsiteY18" fmla="*/ 348615 h 411860"/>
                <a:gd name="connsiteX19" fmla="*/ 191226 w 366156"/>
                <a:gd name="connsiteY19" fmla="*/ 364236 h 411860"/>
                <a:gd name="connsiteX20" fmla="*/ 255393 w 366156"/>
                <a:gd name="connsiteY20" fmla="*/ 353187 h 411860"/>
                <a:gd name="connsiteX21" fmla="*/ 297279 w 366156"/>
                <a:gd name="connsiteY21" fmla="*/ 319278 h 411860"/>
                <a:gd name="connsiteX22" fmla="*/ 312047 w 366156"/>
                <a:gd name="connsiteY22" fmla="*/ 261620 h 411860"/>
                <a:gd name="connsiteX23" fmla="*/ 366156 w 366156"/>
                <a:gd name="connsiteY23" fmla="*/ 261620 h 411860"/>
                <a:gd name="connsiteX24" fmla="*/ 343240 w 366156"/>
                <a:gd name="connsiteY24" fmla="*/ 346329 h 411860"/>
                <a:gd name="connsiteX25" fmla="*/ 280728 w 366156"/>
                <a:gd name="connsiteY25" fmla="*/ 395605 h 411860"/>
                <a:gd name="connsiteX26" fmla="*/ 190590 w 366156"/>
                <a:gd name="connsiteY26" fmla="*/ 411861 h 41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6156" h="411860">
                  <a:moveTo>
                    <a:pt x="190717" y="411734"/>
                  </a:moveTo>
                  <a:cubicBezTo>
                    <a:pt x="149976" y="411734"/>
                    <a:pt x="115474" y="404241"/>
                    <a:pt x="87210" y="389382"/>
                  </a:cubicBezTo>
                  <a:cubicBezTo>
                    <a:pt x="58947" y="374523"/>
                    <a:pt x="37303" y="351917"/>
                    <a:pt x="22407" y="321564"/>
                  </a:cubicBezTo>
                  <a:cubicBezTo>
                    <a:pt x="7512" y="291211"/>
                    <a:pt x="0" y="252603"/>
                    <a:pt x="0" y="205867"/>
                  </a:cubicBezTo>
                  <a:cubicBezTo>
                    <a:pt x="0" y="136652"/>
                    <a:pt x="16806" y="85090"/>
                    <a:pt x="50544" y="51054"/>
                  </a:cubicBezTo>
                  <a:cubicBezTo>
                    <a:pt x="84282" y="17018"/>
                    <a:pt x="131134" y="0"/>
                    <a:pt x="191226" y="0"/>
                  </a:cubicBezTo>
                  <a:cubicBezTo>
                    <a:pt x="225346" y="0"/>
                    <a:pt x="255520" y="5461"/>
                    <a:pt x="281874" y="16510"/>
                  </a:cubicBezTo>
                  <a:cubicBezTo>
                    <a:pt x="308228" y="27559"/>
                    <a:pt x="328853" y="44196"/>
                    <a:pt x="343749" y="66421"/>
                  </a:cubicBezTo>
                  <a:cubicBezTo>
                    <a:pt x="358645" y="88646"/>
                    <a:pt x="366156" y="116586"/>
                    <a:pt x="366156" y="150241"/>
                  </a:cubicBezTo>
                  <a:lnTo>
                    <a:pt x="310392" y="150241"/>
                  </a:lnTo>
                  <a:cubicBezTo>
                    <a:pt x="310392" y="127000"/>
                    <a:pt x="305427" y="107950"/>
                    <a:pt x="295624" y="92837"/>
                  </a:cubicBezTo>
                  <a:cubicBezTo>
                    <a:pt x="285821" y="77724"/>
                    <a:pt x="271943" y="66421"/>
                    <a:pt x="254120" y="58928"/>
                  </a:cubicBezTo>
                  <a:cubicBezTo>
                    <a:pt x="236295" y="51435"/>
                    <a:pt x="215416" y="47625"/>
                    <a:pt x="191353" y="47625"/>
                  </a:cubicBezTo>
                  <a:cubicBezTo>
                    <a:pt x="163472" y="47625"/>
                    <a:pt x="139409" y="53086"/>
                    <a:pt x="119293" y="63881"/>
                  </a:cubicBezTo>
                  <a:cubicBezTo>
                    <a:pt x="99178" y="74676"/>
                    <a:pt x="83773" y="91440"/>
                    <a:pt x="73333" y="114046"/>
                  </a:cubicBezTo>
                  <a:cubicBezTo>
                    <a:pt x="62893" y="136652"/>
                    <a:pt x="57673" y="165735"/>
                    <a:pt x="57673" y="201295"/>
                  </a:cubicBezTo>
                  <a:lnTo>
                    <a:pt x="57673" y="213487"/>
                  </a:lnTo>
                  <a:cubicBezTo>
                    <a:pt x="57673" y="248666"/>
                    <a:pt x="62893" y="277368"/>
                    <a:pt x="73333" y="299593"/>
                  </a:cubicBezTo>
                  <a:cubicBezTo>
                    <a:pt x="83773" y="321818"/>
                    <a:pt x="99051" y="338201"/>
                    <a:pt x="118912" y="348615"/>
                  </a:cubicBezTo>
                  <a:cubicBezTo>
                    <a:pt x="138900" y="359029"/>
                    <a:pt x="162962" y="364236"/>
                    <a:pt x="191226" y="364236"/>
                  </a:cubicBezTo>
                  <a:cubicBezTo>
                    <a:pt x="216052" y="364236"/>
                    <a:pt x="237441" y="360553"/>
                    <a:pt x="255393" y="353187"/>
                  </a:cubicBezTo>
                  <a:cubicBezTo>
                    <a:pt x="273471" y="345821"/>
                    <a:pt x="287349" y="334518"/>
                    <a:pt x="297279" y="319278"/>
                  </a:cubicBezTo>
                  <a:cubicBezTo>
                    <a:pt x="307210" y="304038"/>
                    <a:pt x="312047" y="284734"/>
                    <a:pt x="312047" y="261620"/>
                  </a:cubicBezTo>
                  <a:lnTo>
                    <a:pt x="366156" y="261620"/>
                  </a:lnTo>
                  <a:cubicBezTo>
                    <a:pt x="366156" y="296037"/>
                    <a:pt x="358517" y="324231"/>
                    <a:pt x="343240" y="346329"/>
                  </a:cubicBezTo>
                  <a:cubicBezTo>
                    <a:pt x="327962" y="368300"/>
                    <a:pt x="307082" y="384810"/>
                    <a:pt x="280728" y="395605"/>
                  </a:cubicBezTo>
                  <a:cubicBezTo>
                    <a:pt x="254374" y="406400"/>
                    <a:pt x="224328" y="411861"/>
                    <a:pt x="190590" y="411861"/>
                  </a:cubicBezTo>
                  <a:close/>
                </a:path>
              </a:pathLst>
            </a:custGeom>
            <a:solidFill>
              <a:srgbClr val="1D4966"/>
            </a:solidFill>
            <a:ln w="0" cap="flat">
              <a:noFill/>
              <a:prstDash val="solid"/>
              <a:miter/>
            </a:ln>
          </p:spPr>
          <p:txBody>
            <a:bodyPr rtlCol="0" anchor="ctr"/>
            <a:lstStyle/>
            <a:p>
              <a:endParaRPr lang="en-AD" sz="2400"/>
            </a:p>
          </p:txBody>
        </p:sp>
        <p:sp>
          <p:nvSpPr>
            <p:cNvPr id="324" name="Freeform 323">
              <a:extLst>
                <a:ext uri="{FF2B5EF4-FFF2-40B4-BE49-F238E27FC236}">
                  <a16:creationId xmlns:a16="http://schemas.microsoft.com/office/drawing/2014/main" id="{5803A0C8-28B3-A8E8-6710-76474733F821}"/>
                </a:ext>
              </a:extLst>
            </p:cNvPr>
            <p:cNvSpPr/>
            <p:nvPr/>
          </p:nvSpPr>
          <p:spPr>
            <a:xfrm>
              <a:off x="2949251" y="996441"/>
              <a:ext cx="329616" cy="397763"/>
            </a:xfrm>
            <a:custGeom>
              <a:avLst/>
              <a:gdLst>
                <a:gd name="connsiteX0" fmla="*/ 136608 w 329616"/>
                <a:gd name="connsiteY0" fmla="*/ 397764 h 397763"/>
                <a:gd name="connsiteX1" fmla="*/ 136608 w 329616"/>
                <a:gd name="connsiteY1" fmla="*/ 48133 h 397763"/>
                <a:gd name="connsiteX2" fmla="*/ 0 w 329616"/>
                <a:gd name="connsiteY2" fmla="*/ 48133 h 397763"/>
                <a:gd name="connsiteX3" fmla="*/ 0 w 329616"/>
                <a:gd name="connsiteY3" fmla="*/ 0 h 397763"/>
                <a:gd name="connsiteX4" fmla="*/ 329617 w 329616"/>
                <a:gd name="connsiteY4" fmla="*/ 0 h 397763"/>
                <a:gd name="connsiteX5" fmla="*/ 329617 w 329616"/>
                <a:gd name="connsiteY5" fmla="*/ 48133 h 397763"/>
                <a:gd name="connsiteX6" fmla="*/ 191863 w 329616"/>
                <a:gd name="connsiteY6" fmla="*/ 48133 h 397763"/>
                <a:gd name="connsiteX7" fmla="*/ 191863 w 329616"/>
                <a:gd name="connsiteY7" fmla="*/ 397764 h 397763"/>
                <a:gd name="connsiteX8" fmla="*/ 136608 w 329616"/>
                <a:gd name="connsiteY8"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616" h="397763">
                  <a:moveTo>
                    <a:pt x="136608" y="397764"/>
                  </a:moveTo>
                  <a:lnTo>
                    <a:pt x="136608" y="48133"/>
                  </a:lnTo>
                  <a:lnTo>
                    <a:pt x="0" y="48133"/>
                  </a:lnTo>
                  <a:lnTo>
                    <a:pt x="0" y="0"/>
                  </a:lnTo>
                  <a:lnTo>
                    <a:pt x="329617" y="0"/>
                  </a:lnTo>
                  <a:lnTo>
                    <a:pt x="329617" y="48133"/>
                  </a:lnTo>
                  <a:lnTo>
                    <a:pt x="191863" y="48133"/>
                  </a:lnTo>
                  <a:lnTo>
                    <a:pt x="191863" y="397764"/>
                  </a:lnTo>
                  <a:lnTo>
                    <a:pt x="136608" y="397764"/>
                  </a:lnTo>
                  <a:close/>
                </a:path>
              </a:pathLst>
            </a:custGeom>
            <a:solidFill>
              <a:srgbClr val="1D4966"/>
            </a:solidFill>
            <a:ln w="0" cap="flat">
              <a:noFill/>
              <a:prstDash val="solid"/>
              <a:miter/>
            </a:ln>
          </p:spPr>
          <p:txBody>
            <a:bodyPr rtlCol="0" anchor="ctr"/>
            <a:lstStyle/>
            <a:p>
              <a:endParaRPr lang="en-AD" sz="2400"/>
            </a:p>
          </p:txBody>
        </p:sp>
        <p:sp>
          <p:nvSpPr>
            <p:cNvPr id="325" name="Freeform 324">
              <a:extLst>
                <a:ext uri="{FF2B5EF4-FFF2-40B4-BE49-F238E27FC236}">
                  <a16:creationId xmlns:a16="http://schemas.microsoft.com/office/drawing/2014/main" id="{18DBE8C7-492E-0402-D8C3-404C2127CC26}"/>
                </a:ext>
              </a:extLst>
            </p:cNvPr>
            <p:cNvSpPr/>
            <p:nvPr/>
          </p:nvSpPr>
          <p:spPr>
            <a:xfrm>
              <a:off x="3316043" y="989330"/>
              <a:ext cx="294478" cy="411861"/>
            </a:xfrm>
            <a:custGeom>
              <a:avLst/>
              <a:gdLst>
                <a:gd name="connsiteX0" fmla="*/ 148831 w 294478"/>
                <a:gd name="connsiteY0" fmla="*/ 411861 h 411861"/>
                <a:gd name="connsiteX1" fmla="*/ 66840 w 294478"/>
                <a:gd name="connsiteY1" fmla="*/ 396748 h 411861"/>
                <a:gd name="connsiteX2" fmla="*/ 16806 w 294478"/>
                <a:gd name="connsiteY2" fmla="*/ 354965 h 411861"/>
                <a:gd name="connsiteX3" fmla="*/ 0 w 294478"/>
                <a:gd name="connsiteY3" fmla="*/ 293497 h 411861"/>
                <a:gd name="connsiteX4" fmla="*/ 0 w 294478"/>
                <a:gd name="connsiteY4" fmla="*/ 283591 h 411861"/>
                <a:gd name="connsiteX5" fmla="*/ 78426 w 294478"/>
                <a:gd name="connsiteY5" fmla="*/ 283591 h 411861"/>
                <a:gd name="connsiteX6" fmla="*/ 78426 w 294478"/>
                <a:gd name="connsiteY6" fmla="*/ 294640 h 411861"/>
                <a:gd name="connsiteX7" fmla="*/ 95613 w 294478"/>
                <a:gd name="connsiteY7" fmla="*/ 334645 h 411861"/>
                <a:gd name="connsiteX8" fmla="*/ 145266 w 294478"/>
                <a:gd name="connsiteY8" fmla="*/ 349123 h 411861"/>
                <a:gd name="connsiteX9" fmla="*/ 194154 w 294478"/>
                <a:gd name="connsiteY9" fmla="*/ 334645 h 411861"/>
                <a:gd name="connsiteX10" fmla="*/ 211596 w 294478"/>
                <a:gd name="connsiteY10" fmla="*/ 289941 h 411861"/>
                <a:gd name="connsiteX11" fmla="*/ 202302 w 294478"/>
                <a:gd name="connsiteY11" fmla="*/ 255143 h 411861"/>
                <a:gd name="connsiteX12" fmla="*/ 178240 w 294478"/>
                <a:gd name="connsiteY12" fmla="*/ 237744 h 411861"/>
                <a:gd name="connsiteX13" fmla="*/ 146030 w 294478"/>
                <a:gd name="connsiteY13" fmla="*/ 232537 h 411861"/>
                <a:gd name="connsiteX14" fmla="*/ 110636 w 294478"/>
                <a:gd name="connsiteY14" fmla="*/ 232537 h 411861"/>
                <a:gd name="connsiteX15" fmla="*/ 110636 w 294478"/>
                <a:gd name="connsiteY15" fmla="*/ 171704 h 411861"/>
                <a:gd name="connsiteX16" fmla="*/ 145520 w 294478"/>
                <a:gd name="connsiteY16" fmla="*/ 171704 h 411861"/>
                <a:gd name="connsiteX17" fmla="*/ 174930 w 294478"/>
                <a:gd name="connsiteY17" fmla="*/ 165608 h 411861"/>
                <a:gd name="connsiteX18" fmla="*/ 195810 w 294478"/>
                <a:gd name="connsiteY18" fmla="*/ 147320 h 411861"/>
                <a:gd name="connsiteX19" fmla="*/ 203703 w 294478"/>
                <a:gd name="connsiteY19" fmla="*/ 115951 h 411861"/>
                <a:gd name="connsiteX20" fmla="*/ 196446 w 294478"/>
                <a:gd name="connsiteY20" fmla="*/ 86106 h 411861"/>
                <a:gd name="connsiteX21" fmla="*/ 176076 w 294478"/>
                <a:gd name="connsiteY21" fmla="*/ 68453 h 411861"/>
                <a:gd name="connsiteX22" fmla="*/ 146157 w 294478"/>
                <a:gd name="connsiteY22" fmla="*/ 62611 h 411861"/>
                <a:gd name="connsiteX23" fmla="*/ 115601 w 294478"/>
                <a:gd name="connsiteY23" fmla="*/ 68453 h 411861"/>
                <a:gd name="connsiteX24" fmla="*/ 94340 w 294478"/>
                <a:gd name="connsiteY24" fmla="*/ 85852 h 411861"/>
                <a:gd name="connsiteX25" fmla="*/ 86828 w 294478"/>
                <a:gd name="connsiteY25" fmla="*/ 114808 h 411861"/>
                <a:gd name="connsiteX26" fmla="*/ 86828 w 294478"/>
                <a:gd name="connsiteY26" fmla="*/ 123444 h 411861"/>
                <a:gd name="connsiteX27" fmla="*/ 9549 w 294478"/>
                <a:gd name="connsiteY27" fmla="*/ 123444 h 411861"/>
                <a:gd name="connsiteX28" fmla="*/ 9549 w 294478"/>
                <a:gd name="connsiteY28" fmla="*/ 108966 h 411861"/>
                <a:gd name="connsiteX29" fmla="*/ 26736 w 294478"/>
                <a:gd name="connsiteY29" fmla="*/ 51816 h 411861"/>
                <a:gd name="connsiteX30" fmla="*/ 75243 w 294478"/>
                <a:gd name="connsiteY30" fmla="*/ 13589 h 411861"/>
                <a:gd name="connsiteX31" fmla="*/ 147939 w 294478"/>
                <a:gd name="connsiteY31" fmla="*/ 0 h 411861"/>
                <a:gd name="connsiteX32" fmla="*/ 220254 w 294478"/>
                <a:gd name="connsiteY32" fmla="*/ 12700 h 411861"/>
                <a:gd name="connsiteX33" fmla="*/ 268506 w 294478"/>
                <a:gd name="connsiteY33" fmla="*/ 50038 h 411861"/>
                <a:gd name="connsiteX34" fmla="*/ 285693 w 294478"/>
                <a:gd name="connsiteY34" fmla="*/ 108331 h 411861"/>
                <a:gd name="connsiteX35" fmla="*/ 277291 w 294478"/>
                <a:gd name="connsiteY35" fmla="*/ 148336 h 411861"/>
                <a:gd name="connsiteX36" fmla="*/ 254883 w 294478"/>
                <a:gd name="connsiteY36" fmla="*/ 177673 h 411861"/>
                <a:gd name="connsiteX37" fmla="*/ 222927 w 294478"/>
                <a:gd name="connsiteY37" fmla="*/ 197739 h 411861"/>
                <a:gd name="connsiteX38" fmla="*/ 222927 w 294478"/>
                <a:gd name="connsiteY38" fmla="*/ 200025 h 411861"/>
                <a:gd name="connsiteX39" fmla="*/ 274362 w 294478"/>
                <a:gd name="connsiteY39" fmla="*/ 233934 h 411861"/>
                <a:gd name="connsiteX40" fmla="*/ 294478 w 294478"/>
                <a:gd name="connsiteY40" fmla="*/ 297434 h 411861"/>
                <a:gd name="connsiteX41" fmla="*/ 276145 w 294478"/>
                <a:gd name="connsiteY41" fmla="*/ 357759 h 411861"/>
                <a:gd name="connsiteX42" fmla="*/ 225856 w 294478"/>
                <a:gd name="connsiteY42" fmla="*/ 397510 h 411861"/>
                <a:gd name="connsiteX43" fmla="*/ 149085 w 294478"/>
                <a:gd name="connsiteY43" fmla="*/ 411734 h 41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94478" h="411861">
                  <a:moveTo>
                    <a:pt x="148831" y="411861"/>
                  </a:moveTo>
                  <a:cubicBezTo>
                    <a:pt x="116238" y="411861"/>
                    <a:pt x="88993" y="406781"/>
                    <a:pt x="66840" y="396748"/>
                  </a:cubicBezTo>
                  <a:cubicBezTo>
                    <a:pt x="44687" y="386715"/>
                    <a:pt x="28136" y="372745"/>
                    <a:pt x="16806" y="354965"/>
                  </a:cubicBezTo>
                  <a:cubicBezTo>
                    <a:pt x="5602" y="337185"/>
                    <a:pt x="0" y="316738"/>
                    <a:pt x="0" y="293497"/>
                  </a:cubicBezTo>
                  <a:lnTo>
                    <a:pt x="0" y="283591"/>
                  </a:lnTo>
                  <a:lnTo>
                    <a:pt x="78426" y="283591"/>
                  </a:lnTo>
                  <a:lnTo>
                    <a:pt x="78426" y="294640"/>
                  </a:lnTo>
                  <a:cubicBezTo>
                    <a:pt x="78426" y="311658"/>
                    <a:pt x="84155" y="324993"/>
                    <a:pt x="95613" y="334645"/>
                  </a:cubicBezTo>
                  <a:cubicBezTo>
                    <a:pt x="107071" y="344297"/>
                    <a:pt x="123622" y="349123"/>
                    <a:pt x="145266" y="349123"/>
                  </a:cubicBezTo>
                  <a:cubicBezTo>
                    <a:pt x="166909" y="349123"/>
                    <a:pt x="182441" y="344297"/>
                    <a:pt x="194154" y="334645"/>
                  </a:cubicBezTo>
                  <a:cubicBezTo>
                    <a:pt x="205740" y="324993"/>
                    <a:pt x="211596" y="310134"/>
                    <a:pt x="211596" y="289941"/>
                  </a:cubicBezTo>
                  <a:cubicBezTo>
                    <a:pt x="211596" y="274828"/>
                    <a:pt x="208541" y="263271"/>
                    <a:pt x="202302" y="255143"/>
                  </a:cubicBezTo>
                  <a:cubicBezTo>
                    <a:pt x="196064" y="247015"/>
                    <a:pt x="188043" y="241173"/>
                    <a:pt x="178240" y="237744"/>
                  </a:cubicBezTo>
                  <a:cubicBezTo>
                    <a:pt x="168310" y="234315"/>
                    <a:pt x="157615" y="232537"/>
                    <a:pt x="146030" y="232537"/>
                  </a:cubicBezTo>
                  <a:lnTo>
                    <a:pt x="110636" y="232537"/>
                  </a:lnTo>
                  <a:lnTo>
                    <a:pt x="110636" y="171704"/>
                  </a:lnTo>
                  <a:lnTo>
                    <a:pt x="145520" y="171704"/>
                  </a:lnTo>
                  <a:cubicBezTo>
                    <a:pt x="156342" y="171704"/>
                    <a:pt x="166145" y="169672"/>
                    <a:pt x="174930" y="165608"/>
                  </a:cubicBezTo>
                  <a:cubicBezTo>
                    <a:pt x="183715" y="161544"/>
                    <a:pt x="190590" y="155448"/>
                    <a:pt x="195810" y="147320"/>
                  </a:cubicBezTo>
                  <a:cubicBezTo>
                    <a:pt x="201029" y="139192"/>
                    <a:pt x="203703" y="128778"/>
                    <a:pt x="203703" y="115951"/>
                  </a:cubicBezTo>
                  <a:cubicBezTo>
                    <a:pt x="203703" y="104013"/>
                    <a:pt x="201284" y="93980"/>
                    <a:pt x="196446" y="86106"/>
                  </a:cubicBezTo>
                  <a:cubicBezTo>
                    <a:pt x="191608" y="78232"/>
                    <a:pt x="184860" y="72263"/>
                    <a:pt x="176076" y="68453"/>
                  </a:cubicBezTo>
                  <a:cubicBezTo>
                    <a:pt x="167291" y="64643"/>
                    <a:pt x="157360" y="62611"/>
                    <a:pt x="146157" y="62611"/>
                  </a:cubicBezTo>
                  <a:cubicBezTo>
                    <a:pt x="134953" y="62611"/>
                    <a:pt x="124768" y="64516"/>
                    <a:pt x="115601" y="68453"/>
                  </a:cubicBezTo>
                  <a:cubicBezTo>
                    <a:pt x="106435" y="72263"/>
                    <a:pt x="99432" y="78105"/>
                    <a:pt x="94340" y="85852"/>
                  </a:cubicBezTo>
                  <a:cubicBezTo>
                    <a:pt x="89247" y="93599"/>
                    <a:pt x="86828" y="103251"/>
                    <a:pt x="86828" y="114808"/>
                  </a:cubicBezTo>
                  <a:lnTo>
                    <a:pt x="86828" y="123444"/>
                  </a:lnTo>
                  <a:lnTo>
                    <a:pt x="9549" y="123444"/>
                  </a:lnTo>
                  <a:lnTo>
                    <a:pt x="9549" y="108966"/>
                  </a:lnTo>
                  <a:cubicBezTo>
                    <a:pt x="9549" y="87376"/>
                    <a:pt x="15277" y="68326"/>
                    <a:pt x="26736" y="51816"/>
                  </a:cubicBezTo>
                  <a:cubicBezTo>
                    <a:pt x="38194" y="35433"/>
                    <a:pt x="54363" y="22606"/>
                    <a:pt x="75243" y="13589"/>
                  </a:cubicBezTo>
                  <a:cubicBezTo>
                    <a:pt x="96122" y="4572"/>
                    <a:pt x="120439" y="0"/>
                    <a:pt x="147939" y="0"/>
                  </a:cubicBezTo>
                  <a:cubicBezTo>
                    <a:pt x="175439" y="0"/>
                    <a:pt x="199629" y="4318"/>
                    <a:pt x="220254" y="12700"/>
                  </a:cubicBezTo>
                  <a:cubicBezTo>
                    <a:pt x="241006" y="21209"/>
                    <a:pt x="257048" y="33655"/>
                    <a:pt x="268506" y="50038"/>
                  </a:cubicBezTo>
                  <a:cubicBezTo>
                    <a:pt x="279964" y="66421"/>
                    <a:pt x="285693" y="85852"/>
                    <a:pt x="285693" y="108331"/>
                  </a:cubicBezTo>
                  <a:cubicBezTo>
                    <a:pt x="285693" y="123444"/>
                    <a:pt x="282893" y="136779"/>
                    <a:pt x="277291" y="148336"/>
                  </a:cubicBezTo>
                  <a:cubicBezTo>
                    <a:pt x="271689" y="159893"/>
                    <a:pt x="264177" y="169672"/>
                    <a:pt x="254883" y="177673"/>
                  </a:cubicBezTo>
                  <a:cubicBezTo>
                    <a:pt x="245590" y="185547"/>
                    <a:pt x="234895" y="192278"/>
                    <a:pt x="222927" y="197739"/>
                  </a:cubicBezTo>
                  <a:lnTo>
                    <a:pt x="222927" y="200025"/>
                  </a:lnTo>
                  <a:cubicBezTo>
                    <a:pt x="243807" y="206248"/>
                    <a:pt x="260994" y="217551"/>
                    <a:pt x="274362" y="233934"/>
                  </a:cubicBezTo>
                  <a:cubicBezTo>
                    <a:pt x="287731" y="250317"/>
                    <a:pt x="294478" y="271526"/>
                    <a:pt x="294478" y="297434"/>
                  </a:cubicBezTo>
                  <a:cubicBezTo>
                    <a:pt x="294096" y="320675"/>
                    <a:pt x="287985" y="340741"/>
                    <a:pt x="276145" y="357759"/>
                  </a:cubicBezTo>
                  <a:cubicBezTo>
                    <a:pt x="264304" y="374777"/>
                    <a:pt x="247626" y="387985"/>
                    <a:pt x="225856" y="397510"/>
                  </a:cubicBezTo>
                  <a:cubicBezTo>
                    <a:pt x="204085" y="407035"/>
                    <a:pt x="178622" y="411734"/>
                    <a:pt x="149085" y="411734"/>
                  </a:cubicBezTo>
                  <a:close/>
                </a:path>
              </a:pathLst>
            </a:custGeom>
            <a:solidFill>
              <a:srgbClr val="E5834B"/>
            </a:solidFill>
            <a:ln w="0" cap="flat">
              <a:noFill/>
              <a:prstDash val="solid"/>
              <a:miter/>
            </a:ln>
          </p:spPr>
          <p:txBody>
            <a:bodyPr rtlCol="0" anchor="ctr"/>
            <a:lstStyle/>
            <a:p>
              <a:endParaRPr lang="en-AD" sz="2400"/>
            </a:p>
          </p:txBody>
        </p:sp>
        <p:sp>
          <p:nvSpPr>
            <p:cNvPr id="326" name="Freeform 325">
              <a:extLst>
                <a:ext uri="{FF2B5EF4-FFF2-40B4-BE49-F238E27FC236}">
                  <a16:creationId xmlns:a16="http://schemas.microsoft.com/office/drawing/2014/main" id="{B40BD685-1775-9B86-AC5B-176AE2A5979C}"/>
                </a:ext>
              </a:extLst>
            </p:cNvPr>
            <p:cNvSpPr/>
            <p:nvPr/>
          </p:nvSpPr>
          <p:spPr>
            <a:xfrm>
              <a:off x="3681053" y="996441"/>
              <a:ext cx="363991" cy="397763"/>
            </a:xfrm>
            <a:custGeom>
              <a:avLst/>
              <a:gdLst>
                <a:gd name="connsiteX0" fmla="*/ 0 w 363991"/>
                <a:gd name="connsiteY0" fmla="*/ 397764 h 397763"/>
                <a:gd name="connsiteX1" fmla="*/ 0 w 363991"/>
                <a:gd name="connsiteY1" fmla="*/ 0 h 397763"/>
                <a:gd name="connsiteX2" fmla="*/ 218599 w 363991"/>
                <a:gd name="connsiteY2" fmla="*/ 0 h 397763"/>
                <a:gd name="connsiteX3" fmla="*/ 292187 w 363991"/>
                <a:gd name="connsiteY3" fmla="*/ 15621 h 397763"/>
                <a:gd name="connsiteX4" fmla="*/ 336110 w 363991"/>
                <a:gd name="connsiteY4" fmla="*/ 59436 h 397763"/>
                <a:gd name="connsiteX5" fmla="*/ 350624 w 363991"/>
                <a:gd name="connsiteY5" fmla="*/ 124079 h 397763"/>
                <a:gd name="connsiteX6" fmla="*/ 333182 w 363991"/>
                <a:gd name="connsiteY6" fmla="*/ 192786 h 397763"/>
                <a:gd name="connsiteX7" fmla="*/ 282638 w 363991"/>
                <a:gd name="connsiteY7" fmla="*/ 238252 h 397763"/>
                <a:gd name="connsiteX8" fmla="*/ 363992 w 363991"/>
                <a:gd name="connsiteY8" fmla="*/ 397764 h 397763"/>
                <a:gd name="connsiteX9" fmla="*/ 268124 w 363991"/>
                <a:gd name="connsiteY9" fmla="*/ 397764 h 397763"/>
                <a:gd name="connsiteX10" fmla="*/ 197847 w 363991"/>
                <a:gd name="connsiteY10" fmla="*/ 252857 h 397763"/>
                <a:gd name="connsiteX11" fmla="*/ 86828 w 363991"/>
                <a:gd name="connsiteY11" fmla="*/ 252857 h 397763"/>
                <a:gd name="connsiteX12" fmla="*/ 86828 w 363991"/>
                <a:gd name="connsiteY12" fmla="*/ 397764 h 397763"/>
                <a:gd name="connsiteX13" fmla="*/ 255 w 363991"/>
                <a:gd name="connsiteY13" fmla="*/ 397764 h 397763"/>
                <a:gd name="connsiteX14" fmla="*/ 86701 w 363991"/>
                <a:gd name="connsiteY14" fmla="*/ 184404 h 397763"/>
                <a:gd name="connsiteX15" fmla="*/ 207013 w 363991"/>
                <a:gd name="connsiteY15" fmla="*/ 184404 h 397763"/>
                <a:gd name="connsiteX16" fmla="*/ 247754 w 363991"/>
                <a:gd name="connsiteY16" fmla="*/ 168402 h 397763"/>
                <a:gd name="connsiteX17" fmla="*/ 262268 w 363991"/>
                <a:gd name="connsiteY17" fmla="*/ 125222 h 397763"/>
                <a:gd name="connsiteX18" fmla="*/ 255902 w 363991"/>
                <a:gd name="connsiteY18" fmla="*/ 95377 h 397763"/>
                <a:gd name="connsiteX19" fmla="*/ 237314 w 363991"/>
                <a:gd name="connsiteY19" fmla="*/ 76581 h 397763"/>
                <a:gd name="connsiteX20" fmla="*/ 207141 w 363991"/>
                <a:gd name="connsiteY20" fmla="*/ 70231 h 397763"/>
                <a:gd name="connsiteX21" fmla="*/ 86828 w 363991"/>
                <a:gd name="connsiteY21" fmla="*/ 70231 h 397763"/>
                <a:gd name="connsiteX22" fmla="*/ 86828 w 363991"/>
                <a:gd name="connsiteY22" fmla="*/ 18440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3991" h="397763">
                  <a:moveTo>
                    <a:pt x="0" y="397764"/>
                  </a:moveTo>
                  <a:lnTo>
                    <a:pt x="0" y="0"/>
                  </a:lnTo>
                  <a:lnTo>
                    <a:pt x="218599" y="0"/>
                  </a:lnTo>
                  <a:cubicBezTo>
                    <a:pt x="248009" y="0"/>
                    <a:pt x="272580" y="5207"/>
                    <a:pt x="292187" y="15621"/>
                  </a:cubicBezTo>
                  <a:cubicBezTo>
                    <a:pt x="311793" y="26035"/>
                    <a:pt x="326434" y="40640"/>
                    <a:pt x="336110" y="59436"/>
                  </a:cubicBezTo>
                  <a:cubicBezTo>
                    <a:pt x="345786" y="78232"/>
                    <a:pt x="350624" y="99695"/>
                    <a:pt x="350624" y="124079"/>
                  </a:cubicBezTo>
                  <a:cubicBezTo>
                    <a:pt x="350624" y="149987"/>
                    <a:pt x="344768" y="172847"/>
                    <a:pt x="333182" y="192786"/>
                  </a:cubicBezTo>
                  <a:cubicBezTo>
                    <a:pt x="321596" y="212725"/>
                    <a:pt x="304664" y="227838"/>
                    <a:pt x="282638" y="238252"/>
                  </a:cubicBezTo>
                  <a:lnTo>
                    <a:pt x="363992" y="397764"/>
                  </a:lnTo>
                  <a:lnTo>
                    <a:pt x="268124" y="397764"/>
                  </a:lnTo>
                  <a:lnTo>
                    <a:pt x="197847" y="252857"/>
                  </a:lnTo>
                  <a:lnTo>
                    <a:pt x="86828" y="252857"/>
                  </a:lnTo>
                  <a:lnTo>
                    <a:pt x="86828" y="397764"/>
                  </a:lnTo>
                  <a:lnTo>
                    <a:pt x="255" y="397764"/>
                  </a:lnTo>
                  <a:close/>
                  <a:moveTo>
                    <a:pt x="86701" y="184404"/>
                  </a:moveTo>
                  <a:lnTo>
                    <a:pt x="207013" y="184404"/>
                  </a:lnTo>
                  <a:cubicBezTo>
                    <a:pt x="224455" y="184404"/>
                    <a:pt x="237951" y="179070"/>
                    <a:pt x="247754" y="168402"/>
                  </a:cubicBezTo>
                  <a:cubicBezTo>
                    <a:pt x="257430" y="157734"/>
                    <a:pt x="262268" y="143383"/>
                    <a:pt x="262268" y="125222"/>
                  </a:cubicBezTo>
                  <a:cubicBezTo>
                    <a:pt x="262268" y="113665"/>
                    <a:pt x="260104" y="103632"/>
                    <a:pt x="255902" y="95377"/>
                  </a:cubicBezTo>
                  <a:cubicBezTo>
                    <a:pt x="251573" y="87122"/>
                    <a:pt x="245462" y="80772"/>
                    <a:pt x="237314" y="76581"/>
                  </a:cubicBezTo>
                  <a:cubicBezTo>
                    <a:pt x="229166" y="72390"/>
                    <a:pt x="219108" y="70231"/>
                    <a:pt x="207141" y="70231"/>
                  </a:cubicBezTo>
                  <a:lnTo>
                    <a:pt x="86828" y="70231"/>
                  </a:lnTo>
                  <a:lnTo>
                    <a:pt x="86828" y="184404"/>
                  </a:lnTo>
                  <a:close/>
                </a:path>
              </a:pathLst>
            </a:custGeom>
            <a:solidFill>
              <a:srgbClr val="E5834B"/>
            </a:solidFill>
            <a:ln w="0" cap="flat">
              <a:noFill/>
              <a:prstDash val="solid"/>
              <a:miter/>
            </a:ln>
          </p:spPr>
          <p:txBody>
            <a:bodyPr rtlCol="0" anchor="ctr"/>
            <a:lstStyle/>
            <a:p>
              <a:endParaRPr lang="en-AD" sz="2400"/>
            </a:p>
          </p:txBody>
        </p:sp>
      </p:grpSp>
      <p:grpSp>
        <p:nvGrpSpPr>
          <p:cNvPr id="636" name="Group 635">
            <a:extLst>
              <a:ext uri="{FF2B5EF4-FFF2-40B4-BE49-F238E27FC236}">
                <a16:creationId xmlns:a16="http://schemas.microsoft.com/office/drawing/2014/main" id="{81019B17-8E4F-2D71-A678-DFE86AE47909}"/>
              </a:ext>
            </a:extLst>
          </p:cNvPr>
          <p:cNvGrpSpPr/>
          <p:nvPr userDrawn="1"/>
        </p:nvGrpSpPr>
        <p:grpSpPr>
          <a:xfrm>
            <a:off x="1335119" y="1182792"/>
            <a:ext cx="1085908" cy="821904"/>
            <a:chOff x="1001339" y="887094"/>
            <a:chExt cx="814431" cy="616428"/>
          </a:xfrm>
        </p:grpSpPr>
        <p:sp>
          <p:nvSpPr>
            <p:cNvPr id="327" name="Freeform 326">
              <a:extLst>
                <a:ext uri="{FF2B5EF4-FFF2-40B4-BE49-F238E27FC236}">
                  <a16:creationId xmlns:a16="http://schemas.microsoft.com/office/drawing/2014/main" id="{3AF7600D-93E6-D227-CE90-CDF1A878CEFC}"/>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28" name="Freeform 327">
              <a:extLst>
                <a:ext uri="{FF2B5EF4-FFF2-40B4-BE49-F238E27FC236}">
                  <a16:creationId xmlns:a16="http://schemas.microsoft.com/office/drawing/2014/main" id="{CF2B917A-3DB1-30D3-6162-F71967C023B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9" name="Freeform 328">
              <a:extLst>
                <a:ext uri="{FF2B5EF4-FFF2-40B4-BE49-F238E27FC236}">
                  <a16:creationId xmlns:a16="http://schemas.microsoft.com/office/drawing/2014/main" id="{28E90941-F8A1-8792-9B99-DB0C1F37303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412" name="Freeform 411">
            <a:extLst>
              <a:ext uri="{FF2B5EF4-FFF2-40B4-BE49-F238E27FC236}">
                <a16:creationId xmlns:a16="http://schemas.microsoft.com/office/drawing/2014/main" id="{AA5B924F-15C1-0727-97B6-4EF1E3819CAA}"/>
              </a:ext>
            </a:extLst>
          </p:cNvPr>
          <p:cNvSpPr/>
          <p:nvPr/>
        </p:nvSpPr>
        <p:spPr>
          <a:xfrm>
            <a:off x="8011331" y="6078024"/>
            <a:ext cx="16975" cy="600000"/>
          </a:xfrm>
          <a:custGeom>
            <a:avLst/>
            <a:gdLst>
              <a:gd name="connsiteX0" fmla="*/ 0 w 12731"/>
              <a:gd name="connsiteY0" fmla="*/ 0 h 360044"/>
              <a:gd name="connsiteX1" fmla="*/ 0 w 12731"/>
              <a:gd name="connsiteY1" fmla="*/ 360045 h 360044"/>
            </a:gdLst>
            <a:ahLst/>
            <a:cxnLst>
              <a:cxn ang="0">
                <a:pos x="connsiteX0" y="connsiteY0"/>
              </a:cxn>
              <a:cxn ang="0">
                <a:pos x="connsiteX1" y="connsiteY1"/>
              </a:cxn>
            </a:cxnLst>
            <a:rect l="l" t="t" r="r" b="b"/>
            <a:pathLst>
              <a:path w="12731" h="360044">
                <a:moveTo>
                  <a:pt x="0" y="0"/>
                </a:moveTo>
                <a:lnTo>
                  <a:pt x="0" y="360045"/>
                </a:lnTo>
              </a:path>
            </a:pathLst>
          </a:custGeom>
          <a:ln w="6350" cap="flat">
            <a:solidFill>
              <a:srgbClr val="FFFFFF"/>
            </a:solidFill>
            <a:prstDash val="solid"/>
            <a:miter/>
          </a:ln>
        </p:spPr>
        <p:txBody>
          <a:bodyPr rtlCol="0" anchor="ctr"/>
          <a:lstStyle/>
          <a:p>
            <a:endParaRPr lang="en-AD" sz="2400"/>
          </a:p>
        </p:txBody>
      </p:sp>
      <p:sp>
        <p:nvSpPr>
          <p:cNvPr id="2" name="Title 1"/>
          <p:cNvSpPr>
            <a:spLocks noGrp="1"/>
          </p:cNvSpPr>
          <p:nvPr userDrawn="1">
            <p:ph type="ctrTitle" hasCustomPrompt="1"/>
          </p:nvPr>
        </p:nvSpPr>
        <p:spPr>
          <a:xfrm>
            <a:off x="2770211" y="2447712"/>
            <a:ext cx="8849279" cy="1165427"/>
          </a:xfrm>
        </p:spPr>
        <p:txBody>
          <a:bodyPr anchor="b" anchorCtr="0">
            <a:normAutofit/>
          </a:bodyPr>
          <a:lstStyle>
            <a:lvl1pPr algn="l" fontAlgn="base">
              <a:defRPr sz="3733">
                <a:solidFill>
                  <a:schemeClr val="tx1"/>
                </a:solidFill>
              </a:defRPr>
            </a:lvl1pPr>
          </a:lstStyle>
          <a:p>
            <a:r>
              <a:rPr lang="en-GB"/>
              <a:t>Click to edit Presentation title</a:t>
            </a:r>
            <a:endParaRPr lang="en-US"/>
          </a:p>
        </p:txBody>
      </p:sp>
      <p:sp>
        <p:nvSpPr>
          <p:cNvPr id="3" name="Subtitle 2"/>
          <p:cNvSpPr>
            <a:spLocks noGrp="1"/>
          </p:cNvSpPr>
          <p:nvPr userDrawn="1">
            <p:ph type="subTitle" idx="1" hasCustomPrompt="1"/>
          </p:nvPr>
        </p:nvSpPr>
        <p:spPr>
          <a:xfrm>
            <a:off x="2762401" y="3835057"/>
            <a:ext cx="8849279" cy="1326843"/>
          </a:xfrm>
          <a:prstGeom prst="rect">
            <a:avLst/>
          </a:prstGeom>
        </p:spPr>
        <p:txBody>
          <a:bodyPr>
            <a:normAutofit/>
          </a:bodyPr>
          <a:lstStyle>
            <a:lvl1pPr marL="0" indent="0" algn="l">
              <a:buNone/>
              <a:defRPr sz="2133">
                <a:solidFill>
                  <a:schemeClr val="accent4"/>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Presentation subtitle</a:t>
            </a:r>
            <a:endParaRPr lang="en-US"/>
          </a:p>
        </p:txBody>
      </p:sp>
      <p:sp>
        <p:nvSpPr>
          <p:cNvPr id="10" name="TextBox 9">
            <a:extLst>
              <a:ext uri="{FF2B5EF4-FFF2-40B4-BE49-F238E27FC236}">
                <a16:creationId xmlns:a16="http://schemas.microsoft.com/office/drawing/2014/main" id="{00B32663-0535-EC43-8487-0DC5A6ABF8DA}"/>
              </a:ext>
            </a:extLst>
          </p:cNvPr>
          <p:cNvSpPr txBox="1"/>
          <p:nvPr userDrawn="1"/>
        </p:nvSpPr>
        <p:spPr>
          <a:xfrm>
            <a:off x="8146275" y="6066223"/>
            <a:ext cx="3553967" cy="607923"/>
          </a:xfrm>
          <a:prstGeom prst="rect">
            <a:avLst/>
          </a:prstGeom>
          <a:noFill/>
        </p:spPr>
        <p:txBody>
          <a:bodyPr wrap="square" lIns="0" tIns="0" rIns="0" bIns="0" rtlCol="0">
            <a:spAutoFit/>
          </a:bodyPr>
          <a:lstStyle/>
          <a:p>
            <a:pPr>
              <a:lnSpc>
                <a:spcPts val="800"/>
              </a:lnSpc>
            </a:pPr>
            <a:r>
              <a:rPr lang="en-AD" sz="533"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 The JU receives support from the European Union’s Horizon Europe research and innovation programme and COCIR, EFPIA, Europa Bío, MedTech Europe, and Vaccines Europe and Instem Scientific Limited.</a:t>
            </a:r>
          </a:p>
          <a:p>
            <a:pPr>
              <a:lnSpc>
                <a:spcPts val="800"/>
              </a:lnSpc>
            </a:pPr>
            <a:r>
              <a:rPr lang="en-GB" sz="533" cap="none" baseline="0">
                <a:solidFill>
                  <a:schemeClr val="bg1"/>
                </a:solidFill>
                <a:effectLst/>
                <a:latin typeface="+mn-lt"/>
                <a:ea typeface="Times New Roman" panose="02020603050405020304" pitchFamily="18" charset="0"/>
                <a:cs typeface="Archivo Regular (Body)" pitchFamily="2" charset="77"/>
              </a:rPr>
              <a:t>Funded by the European Union, the private members, and those contributing partners of the IHI JU. Views and opinions expressed are however those of the author(s) only and do not necessarily reflect those of the aforementioned parties. Neither of the aforementioned parties can be held responsible for them.</a:t>
            </a:r>
            <a:endParaRPr lang="en-AD" sz="533" cap="none" baseline="0">
              <a:solidFill>
                <a:schemeClr val="bg1"/>
              </a:solidFill>
              <a:effectLst/>
              <a:latin typeface="+mn-lt"/>
              <a:ea typeface="Times New Roman" panose="02020603050405020304" pitchFamily="18" charset="0"/>
              <a:cs typeface="Archivo Regular (Body)" pitchFamily="2" charset="77"/>
            </a:endParaRPr>
          </a:p>
        </p:txBody>
      </p:sp>
      <p:grpSp>
        <p:nvGrpSpPr>
          <p:cNvPr id="638" name="Group 637">
            <a:extLst>
              <a:ext uri="{FF2B5EF4-FFF2-40B4-BE49-F238E27FC236}">
                <a16:creationId xmlns:a16="http://schemas.microsoft.com/office/drawing/2014/main" id="{141C27D4-C447-86C3-9217-F83FC83FFBE1}"/>
              </a:ext>
            </a:extLst>
          </p:cNvPr>
          <p:cNvGrpSpPr/>
          <p:nvPr userDrawn="1"/>
        </p:nvGrpSpPr>
        <p:grpSpPr>
          <a:xfrm>
            <a:off x="2762401" y="1976119"/>
            <a:ext cx="2643895" cy="239944"/>
            <a:chOff x="2071800" y="1482089"/>
            <a:chExt cx="1982921" cy="179958"/>
          </a:xfrm>
        </p:grpSpPr>
        <p:sp>
          <p:nvSpPr>
            <p:cNvPr id="330" name="Freeform 329">
              <a:extLst>
                <a:ext uri="{FF2B5EF4-FFF2-40B4-BE49-F238E27FC236}">
                  <a16:creationId xmlns:a16="http://schemas.microsoft.com/office/drawing/2014/main" id="{370EF5D5-5E08-EBDB-20E5-98B7B88C6035}"/>
                </a:ext>
              </a:extLst>
            </p:cNvPr>
            <p:cNvSpPr/>
            <p:nvPr/>
          </p:nvSpPr>
          <p:spPr>
            <a:xfrm>
              <a:off x="2077657" y="1485264"/>
              <a:ext cx="51562" cy="59182"/>
            </a:xfrm>
            <a:custGeom>
              <a:avLst/>
              <a:gdLst>
                <a:gd name="connsiteX0" fmla="*/ 0 w 51562"/>
                <a:gd name="connsiteY0" fmla="*/ 59182 h 59182"/>
                <a:gd name="connsiteX1" fmla="*/ 0 w 51562"/>
                <a:gd name="connsiteY1" fmla="*/ 0 h 59182"/>
                <a:gd name="connsiteX2" fmla="*/ 22153 w 51562"/>
                <a:gd name="connsiteY2" fmla="*/ 0 h 59182"/>
                <a:gd name="connsiteX3" fmla="*/ 38067 w 51562"/>
                <a:gd name="connsiteY3" fmla="*/ 3048 h 59182"/>
                <a:gd name="connsiteX4" fmla="*/ 48125 w 51562"/>
                <a:gd name="connsiteY4" fmla="*/ 12700 h 59182"/>
                <a:gd name="connsiteX5" fmla="*/ 51562 w 51562"/>
                <a:gd name="connsiteY5" fmla="*/ 29591 h 59182"/>
                <a:gd name="connsiteX6" fmla="*/ 48125 w 51562"/>
                <a:gd name="connsiteY6" fmla="*/ 46355 h 59182"/>
                <a:gd name="connsiteX7" fmla="*/ 38067 w 51562"/>
                <a:gd name="connsiteY7" fmla="*/ 56007 h 59182"/>
                <a:gd name="connsiteX8" fmla="*/ 22153 w 51562"/>
                <a:gd name="connsiteY8" fmla="*/ 59182 h 59182"/>
                <a:gd name="connsiteX9" fmla="*/ 0 w 51562"/>
                <a:gd name="connsiteY9" fmla="*/ 59182 h 59182"/>
                <a:gd name="connsiteX10" fmla="*/ 8148 w 51562"/>
                <a:gd name="connsiteY10" fmla="*/ 52070 h 59182"/>
                <a:gd name="connsiteX11" fmla="*/ 21898 w 51562"/>
                <a:gd name="connsiteY11" fmla="*/ 52070 h 59182"/>
                <a:gd name="connsiteX12" fmla="*/ 30683 w 51562"/>
                <a:gd name="connsiteY12" fmla="*/ 50800 h 59182"/>
                <a:gd name="connsiteX13" fmla="*/ 37303 w 51562"/>
                <a:gd name="connsiteY13" fmla="*/ 46990 h 59182"/>
                <a:gd name="connsiteX14" fmla="*/ 41504 w 51562"/>
                <a:gd name="connsiteY14" fmla="*/ 40259 h 59182"/>
                <a:gd name="connsiteX15" fmla="*/ 42905 w 51562"/>
                <a:gd name="connsiteY15" fmla="*/ 30480 h 59182"/>
                <a:gd name="connsiteX16" fmla="*/ 42905 w 51562"/>
                <a:gd name="connsiteY16" fmla="*/ 28702 h 59182"/>
                <a:gd name="connsiteX17" fmla="*/ 41504 w 51562"/>
                <a:gd name="connsiteY17" fmla="*/ 18796 h 59182"/>
                <a:gd name="connsiteX18" fmla="*/ 37303 w 51562"/>
                <a:gd name="connsiteY18" fmla="*/ 12065 h 59182"/>
                <a:gd name="connsiteX19" fmla="*/ 30683 w 51562"/>
                <a:gd name="connsiteY19" fmla="*/ 8255 h 59182"/>
                <a:gd name="connsiteX20" fmla="*/ 21771 w 51562"/>
                <a:gd name="connsiteY20" fmla="*/ 6985 h 59182"/>
                <a:gd name="connsiteX21" fmla="*/ 8021 w 51562"/>
                <a:gd name="connsiteY21" fmla="*/ 6985 h 59182"/>
                <a:gd name="connsiteX22" fmla="*/ 8021 w 51562"/>
                <a:gd name="connsiteY22" fmla="*/ 51943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62" h="59182">
                  <a:moveTo>
                    <a:pt x="0" y="59182"/>
                  </a:moveTo>
                  <a:lnTo>
                    <a:pt x="0" y="0"/>
                  </a:lnTo>
                  <a:lnTo>
                    <a:pt x="22153" y="0"/>
                  </a:lnTo>
                  <a:cubicBezTo>
                    <a:pt x="28391" y="0"/>
                    <a:pt x="33611" y="1016"/>
                    <a:pt x="38067" y="3048"/>
                  </a:cubicBezTo>
                  <a:cubicBezTo>
                    <a:pt x="42396" y="5080"/>
                    <a:pt x="45833" y="8382"/>
                    <a:pt x="48125" y="12700"/>
                  </a:cubicBezTo>
                  <a:cubicBezTo>
                    <a:pt x="50416" y="17018"/>
                    <a:pt x="51562" y="22606"/>
                    <a:pt x="51562" y="29591"/>
                  </a:cubicBezTo>
                  <a:cubicBezTo>
                    <a:pt x="51562" y="36576"/>
                    <a:pt x="50416" y="41910"/>
                    <a:pt x="48125" y="46355"/>
                  </a:cubicBezTo>
                  <a:cubicBezTo>
                    <a:pt x="45833" y="50673"/>
                    <a:pt x="42396" y="53975"/>
                    <a:pt x="38067" y="56007"/>
                  </a:cubicBezTo>
                  <a:cubicBezTo>
                    <a:pt x="33738" y="58166"/>
                    <a:pt x="28391" y="59182"/>
                    <a:pt x="22153" y="59182"/>
                  </a:cubicBezTo>
                  <a:lnTo>
                    <a:pt x="0" y="59182"/>
                  </a:lnTo>
                  <a:close/>
                  <a:moveTo>
                    <a:pt x="8148" y="52070"/>
                  </a:moveTo>
                  <a:lnTo>
                    <a:pt x="21898" y="52070"/>
                  </a:lnTo>
                  <a:cubicBezTo>
                    <a:pt x="25208" y="52070"/>
                    <a:pt x="28136" y="51689"/>
                    <a:pt x="30683" y="50800"/>
                  </a:cubicBezTo>
                  <a:cubicBezTo>
                    <a:pt x="33229" y="49911"/>
                    <a:pt x="35521" y="48641"/>
                    <a:pt x="37303" y="46990"/>
                  </a:cubicBezTo>
                  <a:cubicBezTo>
                    <a:pt x="39085" y="45212"/>
                    <a:pt x="40486" y="43053"/>
                    <a:pt x="41504" y="40259"/>
                  </a:cubicBezTo>
                  <a:cubicBezTo>
                    <a:pt x="42396" y="37592"/>
                    <a:pt x="42905" y="34290"/>
                    <a:pt x="42905" y="30480"/>
                  </a:cubicBezTo>
                  <a:lnTo>
                    <a:pt x="42905" y="28702"/>
                  </a:lnTo>
                  <a:cubicBezTo>
                    <a:pt x="42905" y="24765"/>
                    <a:pt x="42396" y="21463"/>
                    <a:pt x="41504" y="18796"/>
                  </a:cubicBezTo>
                  <a:cubicBezTo>
                    <a:pt x="40613" y="16129"/>
                    <a:pt x="39213" y="13843"/>
                    <a:pt x="37303" y="12065"/>
                  </a:cubicBezTo>
                  <a:cubicBezTo>
                    <a:pt x="35521" y="10287"/>
                    <a:pt x="33229" y="9017"/>
                    <a:pt x="30683" y="8255"/>
                  </a:cubicBezTo>
                  <a:cubicBezTo>
                    <a:pt x="28136" y="7366"/>
                    <a:pt x="25081" y="6985"/>
                    <a:pt x="21771" y="6985"/>
                  </a:cubicBezTo>
                  <a:lnTo>
                    <a:pt x="8021" y="6985"/>
                  </a:lnTo>
                  <a:lnTo>
                    <a:pt x="8021" y="51943"/>
                  </a:lnTo>
                  <a:close/>
                </a:path>
              </a:pathLst>
            </a:custGeom>
            <a:solidFill>
              <a:srgbClr val="1D4966"/>
            </a:solidFill>
            <a:ln w="0" cap="flat">
              <a:noFill/>
              <a:prstDash val="solid"/>
              <a:miter/>
            </a:ln>
          </p:spPr>
          <p:txBody>
            <a:bodyPr rtlCol="0" anchor="ctr"/>
            <a:lstStyle/>
            <a:p>
              <a:endParaRPr lang="en-AD" sz="2400"/>
            </a:p>
          </p:txBody>
        </p:sp>
        <p:sp>
          <p:nvSpPr>
            <p:cNvPr id="331" name="Freeform 330">
              <a:extLst>
                <a:ext uri="{FF2B5EF4-FFF2-40B4-BE49-F238E27FC236}">
                  <a16:creationId xmlns:a16="http://schemas.microsoft.com/office/drawing/2014/main" id="{81720270-23FE-CE9C-ABCF-8203A9F2F1CC}"/>
                </a:ext>
              </a:extLst>
            </p:cNvPr>
            <p:cNvSpPr/>
            <p:nvPr/>
          </p:nvSpPr>
          <p:spPr>
            <a:xfrm>
              <a:off x="213673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5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5"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32" name="Freeform 331">
              <a:extLst>
                <a:ext uri="{FF2B5EF4-FFF2-40B4-BE49-F238E27FC236}">
                  <a16:creationId xmlns:a16="http://schemas.microsoft.com/office/drawing/2014/main" id="{3070F1F8-4723-FFCD-88F3-84E1686D7315}"/>
                </a:ext>
              </a:extLst>
            </p:cNvPr>
            <p:cNvSpPr/>
            <p:nvPr/>
          </p:nvSpPr>
          <p:spPr>
            <a:xfrm>
              <a:off x="2180399" y="1499108"/>
              <a:ext cx="41249" cy="45338"/>
            </a:xfrm>
            <a:custGeom>
              <a:avLst/>
              <a:gdLst>
                <a:gd name="connsiteX0" fmla="*/ 16806 w 41249"/>
                <a:gd name="connsiteY0" fmla="*/ 45339 h 45338"/>
                <a:gd name="connsiteX1" fmla="*/ 0 w 41249"/>
                <a:gd name="connsiteY1" fmla="*/ 0 h 45338"/>
                <a:gd name="connsiteX2" fmla="*/ 7894 w 41249"/>
                <a:gd name="connsiteY2" fmla="*/ 0 h 45338"/>
                <a:gd name="connsiteX3" fmla="*/ 16169 w 41249"/>
                <a:gd name="connsiteY3" fmla="*/ 22733 h 45338"/>
                <a:gd name="connsiteX4" fmla="*/ 17569 w 41249"/>
                <a:gd name="connsiteY4" fmla="*/ 26797 h 45338"/>
                <a:gd name="connsiteX5" fmla="*/ 19225 w 41249"/>
                <a:gd name="connsiteY5" fmla="*/ 31750 h 45338"/>
                <a:gd name="connsiteX6" fmla="*/ 20625 w 41249"/>
                <a:gd name="connsiteY6" fmla="*/ 36322 h 45338"/>
                <a:gd name="connsiteX7" fmla="*/ 21007 w 41249"/>
                <a:gd name="connsiteY7" fmla="*/ 36322 h 45338"/>
                <a:gd name="connsiteX8" fmla="*/ 22407 w 41249"/>
                <a:gd name="connsiteY8" fmla="*/ 31877 h 45338"/>
                <a:gd name="connsiteX9" fmla="*/ 24062 w 41249"/>
                <a:gd name="connsiteY9" fmla="*/ 26924 h 45338"/>
                <a:gd name="connsiteX10" fmla="*/ 25463 w 41249"/>
                <a:gd name="connsiteY10" fmla="*/ 22733 h 45338"/>
                <a:gd name="connsiteX11" fmla="*/ 33611 w 41249"/>
                <a:gd name="connsiteY11" fmla="*/ 0 h 45338"/>
                <a:gd name="connsiteX12" fmla="*/ 41250 w 41249"/>
                <a:gd name="connsiteY12" fmla="*/ 0 h 45338"/>
                <a:gd name="connsiteX13" fmla="*/ 24445 w 41249"/>
                <a:gd name="connsiteY13" fmla="*/ 45339 h 45338"/>
                <a:gd name="connsiteX14" fmla="*/ 16806 w 41249"/>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49" h="45338">
                  <a:moveTo>
                    <a:pt x="16806" y="45339"/>
                  </a:moveTo>
                  <a:lnTo>
                    <a:pt x="0" y="0"/>
                  </a:lnTo>
                  <a:lnTo>
                    <a:pt x="7894" y="0"/>
                  </a:lnTo>
                  <a:lnTo>
                    <a:pt x="16169" y="22733"/>
                  </a:lnTo>
                  <a:cubicBezTo>
                    <a:pt x="16551" y="23876"/>
                    <a:pt x="17060" y="25146"/>
                    <a:pt x="17569" y="26797"/>
                  </a:cubicBezTo>
                  <a:cubicBezTo>
                    <a:pt x="18079" y="28448"/>
                    <a:pt x="18588" y="30099"/>
                    <a:pt x="19225" y="31750"/>
                  </a:cubicBezTo>
                  <a:cubicBezTo>
                    <a:pt x="19734" y="33401"/>
                    <a:pt x="20243" y="34925"/>
                    <a:pt x="20625" y="36322"/>
                  </a:cubicBezTo>
                  <a:lnTo>
                    <a:pt x="21007" y="36322"/>
                  </a:lnTo>
                  <a:cubicBezTo>
                    <a:pt x="21389" y="35052"/>
                    <a:pt x="21898" y="33528"/>
                    <a:pt x="22407" y="31877"/>
                  </a:cubicBezTo>
                  <a:cubicBezTo>
                    <a:pt x="22917" y="30226"/>
                    <a:pt x="23426" y="28575"/>
                    <a:pt x="24062" y="26924"/>
                  </a:cubicBezTo>
                  <a:cubicBezTo>
                    <a:pt x="24572" y="25273"/>
                    <a:pt x="25081" y="23876"/>
                    <a:pt x="25463" y="22733"/>
                  </a:cubicBezTo>
                  <a:lnTo>
                    <a:pt x="33611" y="0"/>
                  </a:lnTo>
                  <a:lnTo>
                    <a:pt x="41250" y="0"/>
                  </a:lnTo>
                  <a:lnTo>
                    <a:pt x="24445" y="45339"/>
                  </a:lnTo>
                  <a:lnTo>
                    <a:pt x="16806" y="45339"/>
                  </a:lnTo>
                  <a:close/>
                </a:path>
              </a:pathLst>
            </a:custGeom>
            <a:solidFill>
              <a:srgbClr val="1D4966"/>
            </a:solidFill>
            <a:ln w="0" cap="flat">
              <a:noFill/>
              <a:prstDash val="solid"/>
              <a:miter/>
            </a:ln>
          </p:spPr>
          <p:txBody>
            <a:bodyPr rtlCol="0" anchor="ctr"/>
            <a:lstStyle/>
            <a:p>
              <a:endParaRPr lang="en-AD" sz="2400"/>
            </a:p>
          </p:txBody>
        </p:sp>
        <p:sp>
          <p:nvSpPr>
            <p:cNvPr id="333" name="Freeform 332">
              <a:extLst>
                <a:ext uri="{FF2B5EF4-FFF2-40B4-BE49-F238E27FC236}">
                  <a16:creationId xmlns:a16="http://schemas.microsoft.com/office/drawing/2014/main" id="{CB7C2314-DB86-A362-C8E1-7E4180EACD61}"/>
                </a:ext>
              </a:extLst>
            </p:cNvPr>
            <p:cNvSpPr/>
            <p:nvPr/>
          </p:nvSpPr>
          <p:spPr>
            <a:xfrm>
              <a:off x="222445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34" name="Freeform 333">
              <a:extLst>
                <a:ext uri="{FF2B5EF4-FFF2-40B4-BE49-F238E27FC236}">
                  <a16:creationId xmlns:a16="http://schemas.microsoft.com/office/drawing/2014/main" id="{2FB57CE8-DFB7-D119-DA15-71565705D9A5}"/>
                </a:ext>
              </a:extLst>
            </p:cNvPr>
            <p:cNvSpPr/>
            <p:nvPr/>
          </p:nvSpPr>
          <p:spPr>
            <a:xfrm>
              <a:off x="2273975"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5" name="Freeform 334">
              <a:extLst>
                <a:ext uri="{FF2B5EF4-FFF2-40B4-BE49-F238E27FC236}">
                  <a16:creationId xmlns:a16="http://schemas.microsoft.com/office/drawing/2014/main" id="{F9567A0C-10A4-CD95-0FD9-0892B3364009}"/>
                </a:ext>
              </a:extLst>
            </p:cNvPr>
            <p:cNvSpPr/>
            <p:nvPr/>
          </p:nvSpPr>
          <p:spPr>
            <a:xfrm>
              <a:off x="2290272"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36" name="Freeform 335">
              <a:extLst>
                <a:ext uri="{FF2B5EF4-FFF2-40B4-BE49-F238E27FC236}">
                  <a16:creationId xmlns:a16="http://schemas.microsoft.com/office/drawing/2014/main" id="{A8C1548D-73ED-E2CE-FAD4-4F29436AD8E7}"/>
                </a:ext>
              </a:extLst>
            </p:cNvPr>
            <p:cNvSpPr/>
            <p:nvPr/>
          </p:nvSpPr>
          <p:spPr>
            <a:xfrm>
              <a:off x="2341070"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8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8"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37" name="Freeform 336">
              <a:extLst>
                <a:ext uri="{FF2B5EF4-FFF2-40B4-BE49-F238E27FC236}">
                  <a16:creationId xmlns:a16="http://schemas.microsoft.com/office/drawing/2014/main" id="{0CD92699-E656-CB9F-B6D1-5AB7190EA08E}"/>
                </a:ext>
              </a:extLst>
            </p:cNvPr>
            <p:cNvSpPr/>
            <p:nvPr/>
          </p:nvSpPr>
          <p:spPr>
            <a:xfrm>
              <a:off x="2389577"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8" name="Freeform 337">
              <a:extLst>
                <a:ext uri="{FF2B5EF4-FFF2-40B4-BE49-F238E27FC236}">
                  <a16:creationId xmlns:a16="http://schemas.microsoft.com/office/drawing/2014/main" id="{DC79AEE8-25C4-3920-6EC1-B8013A4F3390}"/>
                </a:ext>
              </a:extLst>
            </p:cNvPr>
            <p:cNvSpPr/>
            <p:nvPr/>
          </p:nvSpPr>
          <p:spPr>
            <a:xfrm>
              <a:off x="2407528"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7"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7"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39" name="Freeform 338">
              <a:extLst>
                <a:ext uri="{FF2B5EF4-FFF2-40B4-BE49-F238E27FC236}">
                  <a16:creationId xmlns:a16="http://schemas.microsoft.com/office/drawing/2014/main" id="{F8F5FE41-8571-C645-8083-670B7129E1BC}"/>
                </a:ext>
              </a:extLst>
            </p:cNvPr>
            <p:cNvSpPr/>
            <p:nvPr/>
          </p:nvSpPr>
          <p:spPr>
            <a:xfrm>
              <a:off x="2451070"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3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6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6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3"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865"/>
                  </a:moveTo>
                  <a:lnTo>
                    <a:pt x="30683" y="62865"/>
                  </a:lnTo>
                  <a:cubicBezTo>
                    <a:pt x="31956" y="62865"/>
                    <a:pt x="33229" y="62611"/>
                    <a:pt x="34375" y="62103"/>
                  </a:cubicBezTo>
                  <a:cubicBezTo>
                    <a:pt x="35521" y="61595"/>
                    <a:pt x="36284"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5" y="53340"/>
                    <a:pt x="7639" y="54864"/>
                    <a:pt x="7639" y="56642"/>
                  </a:cubicBezTo>
                  <a:cubicBezTo>
                    <a:pt x="7639" y="58547"/>
                    <a:pt x="8275"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40" name="Freeform 339">
              <a:extLst>
                <a:ext uri="{FF2B5EF4-FFF2-40B4-BE49-F238E27FC236}">
                  <a16:creationId xmlns:a16="http://schemas.microsoft.com/office/drawing/2014/main" id="{0A43B855-37C4-0F6D-CD26-C44E9FB7D298}"/>
                </a:ext>
              </a:extLst>
            </p:cNvPr>
            <p:cNvSpPr/>
            <p:nvPr/>
          </p:nvSpPr>
          <p:spPr>
            <a:xfrm>
              <a:off x="2519310" y="1497964"/>
              <a:ext cx="43668" cy="47498"/>
            </a:xfrm>
            <a:custGeom>
              <a:avLst/>
              <a:gdLst>
                <a:gd name="connsiteX0" fmla="*/ 14386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4 w 43668"/>
                <a:gd name="connsiteY17" fmla="*/ 14478 h 47498"/>
                <a:gd name="connsiteX18" fmla="*/ 2164 w 43668"/>
                <a:gd name="connsiteY18" fmla="*/ 13589 h 47498"/>
                <a:gd name="connsiteX19" fmla="*/ 2164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6 w 43668"/>
                <a:gd name="connsiteY39" fmla="*/ 47371 h 47498"/>
                <a:gd name="connsiteX40" fmla="*/ 16296 w 43668"/>
                <a:gd name="connsiteY40" fmla="*/ 41148 h 47498"/>
                <a:gd name="connsiteX41" fmla="*/ 21516 w 43668"/>
                <a:gd name="connsiteY41" fmla="*/ 40259 h 47498"/>
                <a:gd name="connsiteX42" fmla="*/ 25845 w 43668"/>
                <a:gd name="connsiteY42" fmla="*/ 37846 h 47498"/>
                <a:gd name="connsiteX43" fmla="*/ 28900 w 43668"/>
                <a:gd name="connsiteY43" fmla="*/ 34036 h 47498"/>
                <a:gd name="connsiteX44" fmla="*/ 30046 w 43668"/>
                <a:gd name="connsiteY44" fmla="*/ 29083 h 47498"/>
                <a:gd name="connsiteX45" fmla="*/ 30046 w 43668"/>
                <a:gd name="connsiteY45" fmla="*/ 25273 h 47498"/>
                <a:gd name="connsiteX46" fmla="*/ 18079 w 43668"/>
                <a:gd name="connsiteY46" fmla="*/ 26035 h 47498"/>
                <a:gd name="connsiteX47" fmla="*/ 10567 w 43668"/>
                <a:gd name="connsiteY47" fmla="*/ 28829 h 47498"/>
                <a:gd name="connsiteX48" fmla="*/ 7893 w 43668"/>
                <a:gd name="connsiteY48" fmla="*/ 34417 h 47498"/>
                <a:gd name="connsiteX49" fmla="*/ 8912 w 43668"/>
                <a:gd name="connsiteY49" fmla="*/ 38227 h 47498"/>
                <a:gd name="connsiteX50" fmla="*/ 11840 w 43668"/>
                <a:gd name="connsiteY50" fmla="*/ 40386 h 47498"/>
                <a:gd name="connsiteX51" fmla="*/ 16296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6"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6"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7"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8"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2" y="47117"/>
                    <a:pt x="16678" y="47371"/>
                    <a:pt x="14386" y="47371"/>
                  </a:cubicBezTo>
                  <a:close/>
                  <a:moveTo>
                    <a:pt x="16296" y="41148"/>
                  </a:moveTo>
                  <a:cubicBezTo>
                    <a:pt x="18079"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9" y="26035"/>
                  </a:cubicBezTo>
                  <a:cubicBezTo>
                    <a:pt x="14768"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41" name="Freeform 340">
              <a:extLst>
                <a:ext uri="{FF2B5EF4-FFF2-40B4-BE49-F238E27FC236}">
                  <a16:creationId xmlns:a16="http://schemas.microsoft.com/office/drawing/2014/main" id="{4547883F-A57F-5822-132C-AA193B2FA8C6}"/>
                </a:ext>
              </a:extLst>
            </p:cNvPr>
            <p:cNvSpPr/>
            <p:nvPr/>
          </p:nvSpPr>
          <p:spPr>
            <a:xfrm>
              <a:off x="2568835"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2" name="Freeform 341">
              <a:extLst>
                <a:ext uri="{FF2B5EF4-FFF2-40B4-BE49-F238E27FC236}">
                  <a16:creationId xmlns:a16="http://schemas.microsoft.com/office/drawing/2014/main" id="{D719BE82-6B7A-B269-A874-B7D3DCC4C3CA}"/>
                </a:ext>
              </a:extLst>
            </p:cNvPr>
            <p:cNvSpPr/>
            <p:nvPr/>
          </p:nvSpPr>
          <p:spPr>
            <a:xfrm>
              <a:off x="2614668" y="1482089"/>
              <a:ext cx="39722" cy="63373"/>
            </a:xfrm>
            <a:custGeom>
              <a:avLst/>
              <a:gdLst>
                <a:gd name="connsiteX0" fmla="*/ 18079 w 39722"/>
                <a:gd name="connsiteY0" fmla="*/ 63373 h 63373"/>
                <a:gd name="connsiteX1" fmla="*/ 8403 w 39722"/>
                <a:gd name="connsiteY1" fmla="*/ 60833 h 63373"/>
                <a:gd name="connsiteX2" fmla="*/ 2164 w 39722"/>
                <a:gd name="connsiteY2" fmla="*/ 53086 h 63373"/>
                <a:gd name="connsiteX3" fmla="*/ 0 w 39722"/>
                <a:gd name="connsiteY3" fmla="*/ 39370 h 63373"/>
                <a:gd name="connsiteX4" fmla="*/ 2292 w 39722"/>
                <a:gd name="connsiteY4" fmla="*/ 26162 h 63373"/>
                <a:gd name="connsiteX5" fmla="*/ 8530 w 39722"/>
                <a:gd name="connsiteY5" fmla="*/ 18542 h 63373"/>
                <a:gd name="connsiteX6" fmla="*/ 17824 w 39722"/>
                <a:gd name="connsiteY6" fmla="*/ 16002 h 63373"/>
                <a:gd name="connsiteX7" fmla="*/ 23426 w 39722"/>
                <a:gd name="connsiteY7" fmla="*/ 16637 h 63373"/>
                <a:gd name="connsiteX8" fmla="*/ 28009 w 39722"/>
                <a:gd name="connsiteY8" fmla="*/ 18796 h 63373"/>
                <a:gd name="connsiteX9" fmla="*/ 31574 w 39722"/>
                <a:gd name="connsiteY9" fmla="*/ 22733 h 63373"/>
                <a:gd name="connsiteX10" fmla="*/ 32083 w 39722"/>
                <a:gd name="connsiteY10" fmla="*/ 22733 h 63373"/>
                <a:gd name="connsiteX11" fmla="*/ 32083 w 39722"/>
                <a:gd name="connsiteY11" fmla="*/ 0 h 63373"/>
                <a:gd name="connsiteX12" fmla="*/ 39722 w 39722"/>
                <a:gd name="connsiteY12" fmla="*/ 0 h 63373"/>
                <a:gd name="connsiteX13" fmla="*/ 39722 w 39722"/>
                <a:gd name="connsiteY13" fmla="*/ 62357 h 63373"/>
                <a:gd name="connsiteX14" fmla="*/ 33611 w 39722"/>
                <a:gd name="connsiteY14" fmla="*/ 62357 h 63373"/>
                <a:gd name="connsiteX15" fmla="*/ 32975 w 39722"/>
                <a:gd name="connsiteY15" fmla="*/ 55880 h 63373"/>
                <a:gd name="connsiteX16" fmla="*/ 32338 w 39722"/>
                <a:gd name="connsiteY16" fmla="*/ 55880 h 63373"/>
                <a:gd name="connsiteX17" fmla="*/ 26227 w 39722"/>
                <a:gd name="connsiteY17" fmla="*/ 61468 h 63373"/>
                <a:gd name="connsiteX18" fmla="*/ 18079 w 39722"/>
                <a:gd name="connsiteY18" fmla="*/ 63373 h 63373"/>
                <a:gd name="connsiteX19" fmla="*/ 19861 w 39722"/>
                <a:gd name="connsiteY19" fmla="*/ 56769 h 63373"/>
                <a:gd name="connsiteX20" fmla="*/ 26863 w 39722"/>
                <a:gd name="connsiteY20" fmla="*/ 54864 h 63373"/>
                <a:gd name="connsiteX21" fmla="*/ 30810 w 39722"/>
                <a:gd name="connsiteY21" fmla="*/ 49403 h 63373"/>
                <a:gd name="connsiteX22" fmla="*/ 32083 w 39722"/>
                <a:gd name="connsiteY22" fmla="*/ 40386 h 63373"/>
                <a:gd name="connsiteX23" fmla="*/ 32083 w 39722"/>
                <a:gd name="connsiteY23" fmla="*/ 38989 h 63373"/>
                <a:gd name="connsiteX24" fmla="*/ 31192 w 39722"/>
                <a:gd name="connsiteY24" fmla="*/ 31115 h 63373"/>
                <a:gd name="connsiteX25" fmla="*/ 28646 w 39722"/>
                <a:gd name="connsiteY25" fmla="*/ 26035 h 63373"/>
                <a:gd name="connsiteX26" fmla="*/ 24826 w 39722"/>
                <a:gd name="connsiteY26" fmla="*/ 23368 h 63373"/>
                <a:gd name="connsiteX27" fmla="*/ 20243 w 39722"/>
                <a:gd name="connsiteY27" fmla="*/ 22606 h 63373"/>
                <a:gd name="connsiteX28" fmla="*/ 13368 w 39722"/>
                <a:gd name="connsiteY28" fmla="*/ 24257 h 63373"/>
                <a:gd name="connsiteX29" fmla="*/ 9421 w 39722"/>
                <a:gd name="connsiteY29" fmla="*/ 29464 h 63373"/>
                <a:gd name="connsiteX30" fmla="*/ 8148 w 39722"/>
                <a:gd name="connsiteY30" fmla="*/ 38735 h 63373"/>
                <a:gd name="connsiteX31" fmla="*/ 8148 w 39722"/>
                <a:gd name="connsiteY31" fmla="*/ 40513 h 63373"/>
                <a:gd name="connsiteX32" fmla="*/ 9549 w 39722"/>
                <a:gd name="connsiteY32" fmla="*/ 49911 h 63373"/>
                <a:gd name="connsiteX33" fmla="*/ 13623 w 39722"/>
                <a:gd name="connsiteY33" fmla="*/ 54991 h 63373"/>
                <a:gd name="connsiteX34" fmla="*/ 20116 w 39722"/>
                <a:gd name="connsiteY34" fmla="*/ 56515 h 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3">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3"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43" name="Freeform 342">
              <a:extLst>
                <a:ext uri="{FF2B5EF4-FFF2-40B4-BE49-F238E27FC236}">
                  <a16:creationId xmlns:a16="http://schemas.microsoft.com/office/drawing/2014/main" id="{125D106E-7BC6-3A89-BB9A-D9F92343D6B7}"/>
                </a:ext>
              </a:extLst>
            </p:cNvPr>
            <p:cNvSpPr/>
            <p:nvPr/>
          </p:nvSpPr>
          <p:spPr>
            <a:xfrm>
              <a:off x="2684819"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4" name="Freeform 343">
              <a:extLst>
                <a:ext uri="{FF2B5EF4-FFF2-40B4-BE49-F238E27FC236}">
                  <a16:creationId xmlns:a16="http://schemas.microsoft.com/office/drawing/2014/main" id="{41693861-2BF5-249D-08C8-E4820BBAB89E}"/>
                </a:ext>
              </a:extLst>
            </p:cNvPr>
            <p:cNvSpPr/>
            <p:nvPr/>
          </p:nvSpPr>
          <p:spPr>
            <a:xfrm>
              <a:off x="2703152" y="1498219"/>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5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6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6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6" y="1270"/>
                    <a:pt x="16042" y="762"/>
                  </a:cubicBezTo>
                  <a:cubicBezTo>
                    <a:pt x="17824" y="254"/>
                    <a:pt x="19606" y="0"/>
                    <a:pt x="21643" y="0"/>
                  </a:cubicBezTo>
                  <a:cubicBezTo>
                    <a:pt x="24572" y="0"/>
                    <a:pt x="27118" y="635"/>
                    <a:pt x="29282" y="1778"/>
                  </a:cubicBezTo>
                  <a:cubicBezTo>
                    <a:pt x="31446"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5"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8" y="7366"/>
                    <a:pt x="49780" y="7112"/>
                  </a:cubicBezTo>
                  <a:cubicBezTo>
                    <a:pt x="48761" y="6858"/>
                    <a:pt x="47615" y="6731"/>
                    <a:pt x="46342" y="6731"/>
                  </a:cubicBezTo>
                  <a:cubicBezTo>
                    <a:pt x="44305" y="6731"/>
                    <a:pt x="42523" y="7239"/>
                    <a:pt x="40741" y="8255"/>
                  </a:cubicBezTo>
                  <a:cubicBezTo>
                    <a:pt x="39085" y="9271"/>
                    <a:pt x="37685" y="10795"/>
                    <a:pt x="36666"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5" y="9271"/>
                    <a:pt x="10185" y="10795"/>
                    <a:pt x="9166"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5" name="Freeform 344">
              <a:extLst>
                <a:ext uri="{FF2B5EF4-FFF2-40B4-BE49-F238E27FC236}">
                  <a16:creationId xmlns:a16="http://schemas.microsoft.com/office/drawing/2014/main" id="{521F23C8-5A3B-F276-3DDF-9120A14374E8}"/>
                </a:ext>
              </a:extLst>
            </p:cNvPr>
            <p:cNvSpPr/>
            <p:nvPr/>
          </p:nvSpPr>
          <p:spPr>
            <a:xfrm>
              <a:off x="2776485"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46" name="Freeform 345">
              <a:extLst>
                <a:ext uri="{FF2B5EF4-FFF2-40B4-BE49-F238E27FC236}">
                  <a16:creationId xmlns:a16="http://schemas.microsoft.com/office/drawing/2014/main" id="{FB5958B2-14D8-BF4F-D9C0-837E5ECE316B}"/>
                </a:ext>
              </a:extLst>
            </p:cNvPr>
            <p:cNvSpPr/>
            <p:nvPr/>
          </p:nvSpPr>
          <p:spPr>
            <a:xfrm>
              <a:off x="2824992"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7" name="Freeform 346">
              <a:extLst>
                <a:ext uri="{FF2B5EF4-FFF2-40B4-BE49-F238E27FC236}">
                  <a16:creationId xmlns:a16="http://schemas.microsoft.com/office/drawing/2014/main" id="{7B8DA1AD-947C-2B55-87BB-0FFCDCE3B2E8}"/>
                </a:ext>
              </a:extLst>
            </p:cNvPr>
            <p:cNvSpPr/>
            <p:nvPr/>
          </p:nvSpPr>
          <p:spPr>
            <a:xfrm>
              <a:off x="2841161"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4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4"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48" name="Freeform 347">
              <a:extLst>
                <a:ext uri="{FF2B5EF4-FFF2-40B4-BE49-F238E27FC236}">
                  <a16:creationId xmlns:a16="http://schemas.microsoft.com/office/drawing/2014/main" id="{FE22F075-112C-992D-D791-006CC0BEB2AD}"/>
                </a:ext>
              </a:extLst>
            </p:cNvPr>
            <p:cNvSpPr/>
            <p:nvPr/>
          </p:nvSpPr>
          <p:spPr>
            <a:xfrm>
              <a:off x="2890559" y="1498219"/>
              <a:ext cx="62766" cy="46355"/>
            </a:xfrm>
            <a:custGeom>
              <a:avLst/>
              <a:gdLst>
                <a:gd name="connsiteX0" fmla="*/ 0 w 62766"/>
                <a:gd name="connsiteY0" fmla="*/ 46228 h 46355"/>
                <a:gd name="connsiteX1" fmla="*/ 0 w 62766"/>
                <a:gd name="connsiteY1" fmla="*/ 889 h 46355"/>
                <a:gd name="connsiteX2" fmla="*/ 6111 w 62766"/>
                <a:gd name="connsiteY2" fmla="*/ 889 h 46355"/>
                <a:gd name="connsiteX3" fmla="*/ 6748 w 62766"/>
                <a:gd name="connsiteY3" fmla="*/ 7747 h 46355"/>
                <a:gd name="connsiteX4" fmla="*/ 7384 w 62766"/>
                <a:gd name="connsiteY4" fmla="*/ 7747 h 46355"/>
                <a:gd name="connsiteX5" fmla="*/ 11331 w 62766"/>
                <a:gd name="connsiteY5" fmla="*/ 3302 h 46355"/>
                <a:gd name="connsiteX6" fmla="*/ 16042 w 62766"/>
                <a:gd name="connsiteY6" fmla="*/ 762 h 46355"/>
                <a:gd name="connsiteX7" fmla="*/ 21644 w 62766"/>
                <a:gd name="connsiteY7" fmla="*/ 0 h 46355"/>
                <a:gd name="connsiteX8" fmla="*/ 29282 w 62766"/>
                <a:gd name="connsiteY8" fmla="*/ 1778 h 46355"/>
                <a:gd name="connsiteX9" fmla="*/ 33993 w 62766"/>
                <a:gd name="connsiteY9" fmla="*/ 7874 h 46355"/>
                <a:gd name="connsiteX10" fmla="*/ 34502 w 62766"/>
                <a:gd name="connsiteY10" fmla="*/ 7874 h 46355"/>
                <a:gd name="connsiteX11" fmla="*/ 38322 w 62766"/>
                <a:gd name="connsiteY11" fmla="*/ 3429 h 46355"/>
                <a:gd name="connsiteX12" fmla="*/ 43160 w 62766"/>
                <a:gd name="connsiteY12" fmla="*/ 889 h 46355"/>
                <a:gd name="connsiteX13" fmla="*/ 48889 w 62766"/>
                <a:gd name="connsiteY13" fmla="*/ 0 h 46355"/>
                <a:gd name="connsiteX14" fmla="*/ 56146 w 62766"/>
                <a:gd name="connsiteY14" fmla="*/ 1397 h 46355"/>
                <a:gd name="connsiteX15" fmla="*/ 60984 w 62766"/>
                <a:gd name="connsiteY15" fmla="*/ 6096 h 46355"/>
                <a:gd name="connsiteX16" fmla="*/ 62766 w 62766"/>
                <a:gd name="connsiteY16" fmla="*/ 14732 h 46355"/>
                <a:gd name="connsiteX17" fmla="*/ 62766 w 62766"/>
                <a:gd name="connsiteY17" fmla="*/ 46355 h 46355"/>
                <a:gd name="connsiteX18" fmla="*/ 55127 w 62766"/>
                <a:gd name="connsiteY18" fmla="*/ 46355 h 46355"/>
                <a:gd name="connsiteX19" fmla="*/ 55127 w 62766"/>
                <a:gd name="connsiteY19" fmla="*/ 15875 h 46355"/>
                <a:gd name="connsiteX20" fmla="*/ 54491 w 62766"/>
                <a:gd name="connsiteY20" fmla="*/ 11303 h 46355"/>
                <a:gd name="connsiteX21" fmla="*/ 52581 w 62766"/>
                <a:gd name="connsiteY21" fmla="*/ 8509 h 46355"/>
                <a:gd name="connsiteX22" fmla="*/ 49780 w 62766"/>
                <a:gd name="connsiteY22" fmla="*/ 7112 h 46355"/>
                <a:gd name="connsiteX23" fmla="*/ 46343 w 62766"/>
                <a:gd name="connsiteY23" fmla="*/ 6731 h 46355"/>
                <a:gd name="connsiteX24" fmla="*/ 40741 w 62766"/>
                <a:gd name="connsiteY24" fmla="*/ 8255 h 46355"/>
                <a:gd name="connsiteX25" fmla="*/ 36667 w 62766"/>
                <a:gd name="connsiteY25" fmla="*/ 12700 h 46355"/>
                <a:gd name="connsiteX26" fmla="*/ 35139 w 62766"/>
                <a:gd name="connsiteY26" fmla="*/ 19685 h 46355"/>
                <a:gd name="connsiteX27" fmla="*/ 35139 w 62766"/>
                <a:gd name="connsiteY27" fmla="*/ 46355 h 46355"/>
                <a:gd name="connsiteX28" fmla="*/ 27500 w 62766"/>
                <a:gd name="connsiteY28" fmla="*/ 46355 h 46355"/>
                <a:gd name="connsiteX29" fmla="*/ 27500 w 62766"/>
                <a:gd name="connsiteY29" fmla="*/ 15875 h 46355"/>
                <a:gd name="connsiteX30" fmla="*/ 26863 w 62766"/>
                <a:gd name="connsiteY30" fmla="*/ 11303 h 46355"/>
                <a:gd name="connsiteX31" fmla="*/ 25081 w 62766"/>
                <a:gd name="connsiteY31" fmla="*/ 8509 h 46355"/>
                <a:gd name="connsiteX32" fmla="*/ 22407 w 62766"/>
                <a:gd name="connsiteY32" fmla="*/ 7112 h 46355"/>
                <a:gd name="connsiteX33" fmla="*/ 19097 w 62766"/>
                <a:gd name="connsiteY33" fmla="*/ 6731 h 46355"/>
                <a:gd name="connsiteX34" fmla="*/ 13368 w 62766"/>
                <a:gd name="connsiteY34" fmla="*/ 8255 h 46355"/>
                <a:gd name="connsiteX35" fmla="*/ 9167 w 62766"/>
                <a:gd name="connsiteY35" fmla="*/ 12700 h 46355"/>
                <a:gd name="connsiteX36" fmla="*/ 7639 w 62766"/>
                <a:gd name="connsiteY36" fmla="*/ 19685 h 46355"/>
                <a:gd name="connsiteX37" fmla="*/ 7639 w 62766"/>
                <a:gd name="connsiteY37" fmla="*/ 46355 h 46355"/>
                <a:gd name="connsiteX38" fmla="*/ 0 w 62766"/>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6"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7" y="0"/>
                    <a:pt x="21644" y="0"/>
                  </a:cubicBezTo>
                  <a:cubicBezTo>
                    <a:pt x="24572" y="0"/>
                    <a:pt x="27118" y="635"/>
                    <a:pt x="29282" y="1778"/>
                  </a:cubicBezTo>
                  <a:cubicBezTo>
                    <a:pt x="31447" y="2921"/>
                    <a:pt x="32975"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4" y="6096"/>
                  </a:cubicBezTo>
                  <a:cubicBezTo>
                    <a:pt x="62129" y="8255"/>
                    <a:pt x="62766" y="11176"/>
                    <a:pt x="62766" y="14732"/>
                  </a:cubicBezTo>
                  <a:lnTo>
                    <a:pt x="62766" y="46355"/>
                  </a:lnTo>
                  <a:lnTo>
                    <a:pt x="55127" y="46355"/>
                  </a:lnTo>
                  <a:lnTo>
                    <a:pt x="55127" y="15875"/>
                  </a:lnTo>
                  <a:cubicBezTo>
                    <a:pt x="55127" y="14097"/>
                    <a:pt x="54873" y="12573"/>
                    <a:pt x="54491" y="11303"/>
                  </a:cubicBezTo>
                  <a:cubicBezTo>
                    <a:pt x="54109" y="10033"/>
                    <a:pt x="53472" y="9144"/>
                    <a:pt x="52581" y="8509"/>
                  </a:cubicBezTo>
                  <a:cubicBezTo>
                    <a:pt x="51817" y="7874"/>
                    <a:pt x="50799" y="7366"/>
                    <a:pt x="49780" y="7112"/>
                  </a:cubicBezTo>
                  <a:cubicBezTo>
                    <a:pt x="48761" y="6858"/>
                    <a:pt x="47616" y="6731"/>
                    <a:pt x="46343" y="6731"/>
                  </a:cubicBezTo>
                  <a:cubicBezTo>
                    <a:pt x="44306"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9" name="Freeform 348">
              <a:extLst>
                <a:ext uri="{FF2B5EF4-FFF2-40B4-BE49-F238E27FC236}">
                  <a16:creationId xmlns:a16="http://schemas.microsoft.com/office/drawing/2014/main" id="{E42BA946-8ECF-774F-E262-20A0FE34C4EE}"/>
                </a:ext>
              </a:extLst>
            </p:cNvPr>
            <p:cNvSpPr/>
            <p:nvPr/>
          </p:nvSpPr>
          <p:spPr>
            <a:xfrm>
              <a:off x="2961473"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50" name="Freeform 349">
              <a:extLst>
                <a:ext uri="{FF2B5EF4-FFF2-40B4-BE49-F238E27FC236}">
                  <a16:creationId xmlns:a16="http://schemas.microsoft.com/office/drawing/2014/main" id="{85259F3C-5ED0-EEB9-9DD0-59356D9E3927}"/>
                </a:ext>
              </a:extLst>
            </p:cNvPr>
            <p:cNvSpPr/>
            <p:nvPr/>
          </p:nvSpPr>
          <p:spPr>
            <a:xfrm>
              <a:off x="3010616"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1" name="Freeform 350">
              <a:extLst>
                <a:ext uri="{FF2B5EF4-FFF2-40B4-BE49-F238E27FC236}">
                  <a16:creationId xmlns:a16="http://schemas.microsoft.com/office/drawing/2014/main" id="{A8A916EC-EF07-E270-88B0-FE0140DDE130}"/>
                </a:ext>
              </a:extLst>
            </p:cNvPr>
            <p:cNvSpPr/>
            <p:nvPr/>
          </p:nvSpPr>
          <p:spPr>
            <a:xfrm>
              <a:off x="3054667"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6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7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6" y="51562"/>
                  </a:cubicBezTo>
                  <a:cubicBezTo>
                    <a:pt x="14896" y="52324"/>
                    <a:pt x="15914" y="52578"/>
                    <a:pt x="17315" y="52578"/>
                  </a:cubicBezTo>
                  <a:lnTo>
                    <a:pt x="22153" y="52578"/>
                  </a:lnTo>
                  <a:lnTo>
                    <a:pt x="22153" y="57531"/>
                  </a:lnTo>
                  <a:cubicBezTo>
                    <a:pt x="22153" y="57531"/>
                    <a:pt x="20880" y="58039"/>
                    <a:pt x="20115" y="58166"/>
                  </a:cubicBezTo>
                  <a:cubicBezTo>
                    <a:pt x="19352" y="58293"/>
                    <a:pt x="18461" y="58547"/>
                    <a:pt x="17697" y="58674"/>
                  </a:cubicBezTo>
                  <a:cubicBezTo>
                    <a:pt x="16805"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2" name="Freeform 351">
              <a:extLst>
                <a:ext uri="{FF2B5EF4-FFF2-40B4-BE49-F238E27FC236}">
                  <a16:creationId xmlns:a16="http://schemas.microsoft.com/office/drawing/2014/main" id="{5ABDEA47-3AA1-F00E-769A-68790429305B}"/>
                </a:ext>
              </a:extLst>
            </p:cNvPr>
            <p:cNvSpPr/>
            <p:nvPr/>
          </p:nvSpPr>
          <p:spPr>
            <a:xfrm>
              <a:off x="3084331"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3" name="Freeform 352">
              <a:extLst>
                <a:ext uri="{FF2B5EF4-FFF2-40B4-BE49-F238E27FC236}">
                  <a16:creationId xmlns:a16="http://schemas.microsoft.com/office/drawing/2014/main" id="{9C896356-8647-67A6-A79D-B56FD68FA3E8}"/>
                </a:ext>
              </a:extLst>
            </p:cNvPr>
            <p:cNvSpPr/>
            <p:nvPr/>
          </p:nvSpPr>
          <p:spPr>
            <a:xfrm>
              <a:off x="3102282"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4" name="Freeform 353">
              <a:extLst>
                <a:ext uri="{FF2B5EF4-FFF2-40B4-BE49-F238E27FC236}">
                  <a16:creationId xmlns:a16="http://schemas.microsoft.com/office/drawing/2014/main" id="{EAAAFA38-A7B9-1E25-832C-4C1992624E34}"/>
                </a:ext>
              </a:extLst>
            </p:cNvPr>
            <p:cNvSpPr/>
            <p:nvPr/>
          </p:nvSpPr>
          <p:spPr>
            <a:xfrm>
              <a:off x="3145824"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4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7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7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7" y="46736"/>
                    <a:pt x="4711" y="45720"/>
                    <a:pt x="3947" y="44450"/>
                  </a:cubicBezTo>
                  <a:cubicBezTo>
                    <a:pt x="3183" y="43180"/>
                    <a:pt x="2674" y="41910"/>
                    <a:pt x="2674" y="40386"/>
                  </a:cubicBezTo>
                  <a:cubicBezTo>
                    <a:pt x="2674" y="38354"/>
                    <a:pt x="3438" y="36703"/>
                    <a:pt x="4838" y="35306"/>
                  </a:cubicBezTo>
                  <a:cubicBezTo>
                    <a:pt x="6366" y="33909"/>
                    <a:pt x="8148" y="33020"/>
                    <a:pt x="10185" y="32512"/>
                  </a:cubicBezTo>
                  <a:cubicBezTo>
                    <a:pt x="8276"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4"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4" y="35052"/>
                    <a:pt x="26736" y="35687"/>
                    <a:pt x="22662" y="35687"/>
                  </a:cubicBezTo>
                  <a:lnTo>
                    <a:pt x="15532" y="35687"/>
                  </a:lnTo>
                  <a:cubicBezTo>
                    <a:pt x="14005" y="35687"/>
                    <a:pt x="12731" y="35941"/>
                    <a:pt x="11713" y="36576"/>
                  </a:cubicBezTo>
                  <a:cubicBezTo>
                    <a:pt x="10695" y="37211"/>
                    <a:pt x="10185" y="38100"/>
                    <a:pt x="10185" y="39497"/>
                  </a:cubicBezTo>
                  <a:cubicBezTo>
                    <a:pt x="10185" y="40640"/>
                    <a:pt x="10695" y="41529"/>
                    <a:pt x="11713" y="42291"/>
                  </a:cubicBezTo>
                  <a:cubicBezTo>
                    <a:pt x="12731" y="43053"/>
                    <a:pt x="14005" y="43307"/>
                    <a:pt x="15532" y="43307"/>
                  </a:cubicBezTo>
                  <a:lnTo>
                    <a:pt x="33993" y="43307"/>
                  </a:lnTo>
                  <a:cubicBezTo>
                    <a:pt x="37303" y="43307"/>
                    <a:pt x="40104" y="44450"/>
                    <a:pt x="42141" y="46609"/>
                  </a:cubicBezTo>
                  <a:cubicBezTo>
                    <a:pt x="44306"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7" y="62865"/>
                  </a:moveTo>
                  <a:lnTo>
                    <a:pt x="30683" y="62865"/>
                  </a:lnTo>
                  <a:cubicBezTo>
                    <a:pt x="31956" y="62865"/>
                    <a:pt x="33229" y="62611"/>
                    <a:pt x="34375" y="62103"/>
                  </a:cubicBezTo>
                  <a:cubicBezTo>
                    <a:pt x="35521" y="61595"/>
                    <a:pt x="36285"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6" y="53340"/>
                    <a:pt x="7639" y="54864"/>
                    <a:pt x="7639" y="56642"/>
                  </a:cubicBezTo>
                  <a:cubicBezTo>
                    <a:pt x="7639" y="58547"/>
                    <a:pt x="8276"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7"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55" name="Freeform 354">
              <a:extLst>
                <a:ext uri="{FF2B5EF4-FFF2-40B4-BE49-F238E27FC236}">
                  <a16:creationId xmlns:a16="http://schemas.microsoft.com/office/drawing/2014/main" id="{C7AFFC1F-A8F7-EAB0-1DF3-1AD746A9BBD9}"/>
                </a:ext>
              </a:extLst>
            </p:cNvPr>
            <p:cNvSpPr/>
            <p:nvPr/>
          </p:nvSpPr>
          <p:spPr>
            <a:xfrm>
              <a:off x="3211900" y="1485264"/>
              <a:ext cx="54108" cy="59182"/>
            </a:xfrm>
            <a:custGeom>
              <a:avLst/>
              <a:gdLst>
                <a:gd name="connsiteX0" fmla="*/ 22153 w 54108"/>
                <a:gd name="connsiteY0" fmla="*/ 59182 h 59182"/>
                <a:gd name="connsiteX1" fmla="*/ 0 w 54108"/>
                <a:gd name="connsiteY1" fmla="*/ 0 h 59182"/>
                <a:gd name="connsiteX2" fmla="*/ 8912 w 54108"/>
                <a:gd name="connsiteY2" fmla="*/ 0 h 59182"/>
                <a:gd name="connsiteX3" fmla="*/ 24062 w 54108"/>
                <a:gd name="connsiteY3" fmla="*/ 41910 h 59182"/>
                <a:gd name="connsiteX4" fmla="*/ 25081 w 54108"/>
                <a:gd name="connsiteY4" fmla="*/ 44704 h 59182"/>
                <a:gd name="connsiteX5" fmla="*/ 26099 w 54108"/>
                <a:gd name="connsiteY5" fmla="*/ 47752 h 59182"/>
                <a:gd name="connsiteX6" fmla="*/ 26991 w 54108"/>
                <a:gd name="connsiteY6" fmla="*/ 50292 h 59182"/>
                <a:gd name="connsiteX7" fmla="*/ 27500 w 54108"/>
                <a:gd name="connsiteY7" fmla="*/ 50292 h 59182"/>
                <a:gd name="connsiteX8" fmla="*/ 28391 w 54108"/>
                <a:gd name="connsiteY8" fmla="*/ 47752 h 59182"/>
                <a:gd name="connsiteX9" fmla="*/ 29410 w 54108"/>
                <a:gd name="connsiteY9" fmla="*/ 44831 h 59182"/>
                <a:gd name="connsiteX10" fmla="*/ 30428 w 54108"/>
                <a:gd name="connsiteY10" fmla="*/ 41910 h 59182"/>
                <a:gd name="connsiteX11" fmla="*/ 45451 w 54108"/>
                <a:gd name="connsiteY11" fmla="*/ 0 h 59182"/>
                <a:gd name="connsiteX12" fmla="*/ 54109 w 54108"/>
                <a:gd name="connsiteY12" fmla="*/ 0 h 59182"/>
                <a:gd name="connsiteX13" fmla="*/ 31956 w 54108"/>
                <a:gd name="connsiteY13" fmla="*/ 59182 h 59182"/>
                <a:gd name="connsiteX14" fmla="*/ 22025 w 54108"/>
                <a:gd name="connsiteY14" fmla="*/ 59182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108" h="59182">
                  <a:moveTo>
                    <a:pt x="22153" y="59182"/>
                  </a:moveTo>
                  <a:lnTo>
                    <a:pt x="0" y="0"/>
                  </a:lnTo>
                  <a:lnTo>
                    <a:pt x="8912" y="0"/>
                  </a:lnTo>
                  <a:lnTo>
                    <a:pt x="24062" y="41910"/>
                  </a:lnTo>
                  <a:cubicBezTo>
                    <a:pt x="24444" y="42672"/>
                    <a:pt x="24699" y="43688"/>
                    <a:pt x="25081" y="44704"/>
                  </a:cubicBezTo>
                  <a:cubicBezTo>
                    <a:pt x="25463" y="45720"/>
                    <a:pt x="25718" y="46736"/>
                    <a:pt x="26099" y="47752"/>
                  </a:cubicBezTo>
                  <a:cubicBezTo>
                    <a:pt x="26481" y="48768"/>
                    <a:pt x="26736" y="49530"/>
                    <a:pt x="26991" y="50292"/>
                  </a:cubicBezTo>
                  <a:lnTo>
                    <a:pt x="27500" y="50292"/>
                  </a:lnTo>
                  <a:cubicBezTo>
                    <a:pt x="27755" y="49657"/>
                    <a:pt x="28009" y="48768"/>
                    <a:pt x="28391" y="47752"/>
                  </a:cubicBezTo>
                  <a:cubicBezTo>
                    <a:pt x="28773" y="46736"/>
                    <a:pt x="29028" y="45847"/>
                    <a:pt x="29410" y="44831"/>
                  </a:cubicBezTo>
                  <a:cubicBezTo>
                    <a:pt x="29792" y="43815"/>
                    <a:pt x="30046" y="42926"/>
                    <a:pt x="30428" y="41910"/>
                  </a:cubicBezTo>
                  <a:lnTo>
                    <a:pt x="45451" y="0"/>
                  </a:lnTo>
                  <a:lnTo>
                    <a:pt x="54109" y="0"/>
                  </a:lnTo>
                  <a:lnTo>
                    <a:pt x="31956" y="59182"/>
                  </a:lnTo>
                  <a:lnTo>
                    <a:pt x="22025" y="59182"/>
                  </a:lnTo>
                  <a:close/>
                </a:path>
              </a:pathLst>
            </a:custGeom>
            <a:solidFill>
              <a:srgbClr val="1D4966"/>
            </a:solidFill>
            <a:ln w="0" cap="flat">
              <a:noFill/>
              <a:prstDash val="solid"/>
              <a:miter/>
            </a:ln>
          </p:spPr>
          <p:txBody>
            <a:bodyPr rtlCol="0" anchor="ctr"/>
            <a:lstStyle/>
            <a:p>
              <a:endParaRPr lang="en-AD" sz="2400"/>
            </a:p>
          </p:txBody>
        </p:sp>
        <p:sp>
          <p:nvSpPr>
            <p:cNvPr id="356" name="Freeform 355">
              <a:extLst>
                <a:ext uri="{FF2B5EF4-FFF2-40B4-BE49-F238E27FC236}">
                  <a16:creationId xmlns:a16="http://schemas.microsoft.com/office/drawing/2014/main" id="{D6524127-6464-1E91-E1DA-B80D84C58771}"/>
                </a:ext>
              </a:extLst>
            </p:cNvPr>
            <p:cNvSpPr/>
            <p:nvPr/>
          </p:nvSpPr>
          <p:spPr>
            <a:xfrm>
              <a:off x="3272884"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7" name="Freeform 356">
              <a:extLst>
                <a:ext uri="{FF2B5EF4-FFF2-40B4-BE49-F238E27FC236}">
                  <a16:creationId xmlns:a16="http://schemas.microsoft.com/office/drawing/2014/main" id="{35BD3DF8-65B0-7DEC-F91E-D1133BA9DFA9}"/>
                </a:ext>
              </a:extLst>
            </p:cNvPr>
            <p:cNvSpPr/>
            <p:nvPr/>
          </p:nvSpPr>
          <p:spPr>
            <a:xfrm>
              <a:off x="3291217"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58" name="Freeform 357">
              <a:extLst>
                <a:ext uri="{FF2B5EF4-FFF2-40B4-BE49-F238E27FC236}">
                  <a16:creationId xmlns:a16="http://schemas.microsoft.com/office/drawing/2014/main" id="{D172E70B-BCC3-14EE-2777-3A3CD03941C0}"/>
                </a:ext>
              </a:extLst>
            </p:cNvPr>
            <p:cNvSpPr/>
            <p:nvPr/>
          </p:nvSpPr>
          <p:spPr>
            <a:xfrm>
              <a:off x="3317571"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1" y="58547"/>
                    <a:pt x="17696"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9" name="Freeform 358">
              <a:extLst>
                <a:ext uri="{FF2B5EF4-FFF2-40B4-BE49-F238E27FC236}">
                  <a16:creationId xmlns:a16="http://schemas.microsoft.com/office/drawing/2014/main" id="{ECB0BB03-50B6-B47E-A499-23D3DF93DBDC}"/>
                </a:ext>
              </a:extLst>
            </p:cNvPr>
            <p:cNvSpPr/>
            <p:nvPr/>
          </p:nvSpPr>
          <p:spPr>
            <a:xfrm>
              <a:off x="3346344"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7 w 37303"/>
                <a:gd name="connsiteY9" fmla="*/ 39751 h 46355"/>
                <a:gd name="connsiteX10" fmla="*/ 23298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3" y="38481"/>
                    <a:pt x="12222" y="38989"/>
                    <a:pt x="13368" y="39370"/>
                  </a:cubicBezTo>
                  <a:cubicBezTo>
                    <a:pt x="14514" y="39624"/>
                    <a:pt x="15787" y="39751"/>
                    <a:pt x="17187" y="39751"/>
                  </a:cubicBezTo>
                  <a:cubicBezTo>
                    <a:pt x="19352" y="39751"/>
                    <a:pt x="21389" y="39243"/>
                    <a:pt x="23298"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60" name="Freeform 359">
              <a:extLst>
                <a:ext uri="{FF2B5EF4-FFF2-40B4-BE49-F238E27FC236}">
                  <a16:creationId xmlns:a16="http://schemas.microsoft.com/office/drawing/2014/main" id="{58C67394-478D-853E-BFFA-CF3D6E010EAA}"/>
                </a:ext>
              </a:extLst>
            </p:cNvPr>
            <p:cNvSpPr/>
            <p:nvPr/>
          </p:nvSpPr>
          <p:spPr>
            <a:xfrm>
              <a:off x="3391541" y="1497964"/>
              <a:ext cx="43668" cy="47498"/>
            </a:xfrm>
            <a:custGeom>
              <a:avLst/>
              <a:gdLst>
                <a:gd name="connsiteX0" fmla="*/ 14387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5 w 43668"/>
                <a:gd name="connsiteY17" fmla="*/ 14478 h 47498"/>
                <a:gd name="connsiteX18" fmla="*/ 2165 w 43668"/>
                <a:gd name="connsiteY18" fmla="*/ 13589 h 47498"/>
                <a:gd name="connsiteX19" fmla="*/ 2165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7 w 43668"/>
                <a:gd name="connsiteY39" fmla="*/ 47371 h 47498"/>
                <a:gd name="connsiteX40" fmla="*/ 16169 w 43668"/>
                <a:gd name="connsiteY40" fmla="*/ 41148 h 47498"/>
                <a:gd name="connsiteX41" fmla="*/ 21389 w 43668"/>
                <a:gd name="connsiteY41" fmla="*/ 40259 h 47498"/>
                <a:gd name="connsiteX42" fmla="*/ 25717 w 43668"/>
                <a:gd name="connsiteY42" fmla="*/ 37846 h 47498"/>
                <a:gd name="connsiteX43" fmla="*/ 28773 w 43668"/>
                <a:gd name="connsiteY43" fmla="*/ 34036 h 47498"/>
                <a:gd name="connsiteX44" fmla="*/ 29919 w 43668"/>
                <a:gd name="connsiteY44" fmla="*/ 29083 h 47498"/>
                <a:gd name="connsiteX45" fmla="*/ 29919 w 43668"/>
                <a:gd name="connsiteY45" fmla="*/ 25273 h 47498"/>
                <a:gd name="connsiteX46" fmla="*/ 17951 w 43668"/>
                <a:gd name="connsiteY46" fmla="*/ 26035 h 47498"/>
                <a:gd name="connsiteX47" fmla="*/ 10440 w 43668"/>
                <a:gd name="connsiteY47" fmla="*/ 28829 h 47498"/>
                <a:gd name="connsiteX48" fmla="*/ 7766 w 43668"/>
                <a:gd name="connsiteY48" fmla="*/ 34417 h 47498"/>
                <a:gd name="connsiteX49" fmla="*/ 8785 w 43668"/>
                <a:gd name="connsiteY49" fmla="*/ 38227 h 47498"/>
                <a:gd name="connsiteX50" fmla="*/ 11713 w 43668"/>
                <a:gd name="connsiteY50" fmla="*/ 40386 h 47498"/>
                <a:gd name="connsiteX51" fmla="*/ 16169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169" y="41148"/>
                  </a:moveTo>
                  <a:cubicBezTo>
                    <a:pt x="17951" y="41148"/>
                    <a:pt x="19734" y="40894"/>
                    <a:pt x="21389" y="40259"/>
                  </a:cubicBezTo>
                  <a:cubicBezTo>
                    <a:pt x="23044" y="39624"/>
                    <a:pt x="24445" y="38862"/>
                    <a:pt x="25717" y="37846"/>
                  </a:cubicBezTo>
                  <a:cubicBezTo>
                    <a:pt x="26991" y="36830"/>
                    <a:pt x="28009" y="35560"/>
                    <a:pt x="28773" y="34036"/>
                  </a:cubicBezTo>
                  <a:cubicBezTo>
                    <a:pt x="29537" y="32512"/>
                    <a:pt x="29919" y="30861"/>
                    <a:pt x="29919" y="29083"/>
                  </a:cubicBezTo>
                  <a:lnTo>
                    <a:pt x="29919" y="25273"/>
                  </a:lnTo>
                  <a:cubicBezTo>
                    <a:pt x="25208" y="25273"/>
                    <a:pt x="21262" y="25527"/>
                    <a:pt x="17951" y="26035"/>
                  </a:cubicBezTo>
                  <a:cubicBezTo>
                    <a:pt x="14641" y="26543"/>
                    <a:pt x="12095" y="27432"/>
                    <a:pt x="10440" y="28829"/>
                  </a:cubicBezTo>
                  <a:cubicBezTo>
                    <a:pt x="8657" y="30099"/>
                    <a:pt x="7766" y="32004"/>
                    <a:pt x="7766" y="34417"/>
                  </a:cubicBezTo>
                  <a:cubicBezTo>
                    <a:pt x="7766" y="35941"/>
                    <a:pt x="8148" y="37211"/>
                    <a:pt x="8785" y="38227"/>
                  </a:cubicBezTo>
                  <a:cubicBezTo>
                    <a:pt x="9421" y="39243"/>
                    <a:pt x="10440" y="39878"/>
                    <a:pt x="11713" y="40386"/>
                  </a:cubicBezTo>
                  <a:cubicBezTo>
                    <a:pt x="12986" y="40894"/>
                    <a:pt x="14387" y="41148"/>
                    <a:pt x="16169" y="41148"/>
                  </a:cubicBezTo>
                  <a:close/>
                </a:path>
              </a:pathLst>
            </a:custGeom>
            <a:solidFill>
              <a:srgbClr val="1D4966"/>
            </a:solidFill>
            <a:ln w="0" cap="flat">
              <a:noFill/>
              <a:prstDash val="solid"/>
              <a:miter/>
            </a:ln>
          </p:spPr>
          <p:txBody>
            <a:bodyPr rtlCol="0" anchor="ctr"/>
            <a:lstStyle/>
            <a:p>
              <a:endParaRPr lang="en-AD" sz="2400"/>
            </a:p>
          </p:txBody>
        </p:sp>
        <p:sp>
          <p:nvSpPr>
            <p:cNvPr id="361" name="Freeform 360">
              <a:extLst>
                <a:ext uri="{FF2B5EF4-FFF2-40B4-BE49-F238E27FC236}">
                  <a16:creationId xmlns:a16="http://schemas.microsoft.com/office/drawing/2014/main" id="{5D54F685-B630-D69D-2BF8-E8813AE3F6E3}"/>
                </a:ext>
              </a:extLst>
            </p:cNvPr>
            <p:cNvSpPr/>
            <p:nvPr/>
          </p:nvSpPr>
          <p:spPr>
            <a:xfrm>
              <a:off x="3441448"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2" name="Freeform 361">
              <a:extLst>
                <a:ext uri="{FF2B5EF4-FFF2-40B4-BE49-F238E27FC236}">
                  <a16:creationId xmlns:a16="http://schemas.microsoft.com/office/drawing/2014/main" id="{96CA9B3F-8E44-150F-1862-6AC0DDA4AE93}"/>
                </a:ext>
              </a:extLst>
            </p:cNvPr>
            <p:cNvSpPr/>
            <p:nvPr/>
          </p:nvSpPr>
          <p:spPr>
            <a:xfrm>
              <a:off x="3477860" y="1484375"/>
              <a:ext cx="54363" cy="61087"/>
            </a:xfrm>
            <a:custGeom>
              <a:avLst/>
              <a:gdLst>
                <a:gd name="connsiteX0" fmla="*/ 28391 w 54363"/>
                <a:gd name="connsiteY0" fmla="*/ 61087 h 61087"/>
                <a:gd name="connsiteX1" fmla="*/ 12986 w 54363"/>
                <a:gd name="connsiteY1" fmla="*/ 57785 h 61087"/>
                <a:gd name="connsiteX2" fmla="*/ 3310 w 54363"/>
                <a:gd name="connsiteY2" fmla="*/ 47752 h 61087"/>
                <a:gd name="connsiteX3" fmla="*/ 0 w 54363"/>
                <a:gd name="connsiteY3" fmla="*/ 30607 h 61087"/>
                <a:gd name="connsiteX4" fmla="*/ 7512 w 54363"/>
                <a:gd name="connsiteY4" fmla="*/ 7620 h 61087"/>
                <a:gd name="connsiteX5" fmla="*/ 28391 w 54363"/>
                <a:gd name="connsiteY5" fmla="*/ 0 h 61087"/>
                <a:gd name="connsiteX6" fmla="*/ 41887 w 54363"/>
                <a:gd name="connsiteY6" fmla="*/ 2413 h 61087"/>
                <a:gd name="connsiteX7" fmla="*/ 51053 w 54363"/>
                <a:gd name="connsiteY7" fmla="*/ 9779 h 61087"/>
                <a:gd name="connsiteX8" fmla="*/ 54363 w 54363"/>
                <a:gd name="connsiteY8" fmla="*/ 22225 h 61087"/>
                <a:gd name="connsiteX9" fmla="*/ 46088 w 54363"/>
                <a:gd name="connsiteY9" fmla="*/ 22225 h 61087"/>
                <a:gd name="connsiteX10" fmla="*/ 43924 w 54363"/>
                <a:gd name="connsiteY10" fmla="*/ 13716 h 61087"/>
                <a:gd name="connsiteX11" fmla="*/ 37685 w 54363"/>
                <a:gd name="connsiteY11" fmla="*/ 8636 h 61087"/>
                <a:gd name="connsiteX12" fmla="*/ 28391 w 54363"/>
                <a:gd name="connsiteY12" fmla="*/ 6985 h 61087"/>
                <a:gd name="connsiteX13" fmla="*/ 17697 w 54363"/>
                <a:gd name="connsiteY13" fmla="*/ 9398 h 61087"/>
                <a:gd name="connsiteX14" fmla="*/ 10822 w 54363"/>
                <a:gd name="connsiteY14" fmla="*/ 16891 h 61087"/>
                <a:gd name="connsiteX15" fmla="*/ 8530 w 54363"/>
                <a:gd name="connsiteY15" fmla="*/ 29845 h 61087"/>
                <a:gd name="connsiteX16" fmla="*/ 8530 w 54363"/>
                <a:gd name="connsiteY16" fmla="*/ 31623 h 61087"/>
                <a:gd name="connsiteX17" fmla="*/ 10822 w 54363"/>
                <a:gd name="connsiteY17" fmla="*/ 44450 h 61087"/>
                <a:gd name="connsiteX18" fmla="*/ 17569 w 54363"/>
                <a:gd name="connsiteY18" fmla="*/ 51689 h 61087"/>
                <a:gd name="connsiteX19" fmla="*/ 28391 w 54363"/>
                <a:gd name="connsiteY19" fmla="*/ 53975 h 61087"/>
                <a:gd name="connsiteX20" fmla="*/ 37940 w 54363"/>
                <a:gd name="connsiteY20" fmla="*/ 52324 h 61087"/>
                <a:gd name="connsiteX21" fmla="*/ 44178 w 54363"/>
                <a:gd name="connsiteY21" fmla="*/ 47244 h 61087"/>
                <a:gd name="connsiteX22" fmla="*/ 46343 w 54363"/>
                <a:gd name="connsiteY22" fmla="*/ 38608 h 61087"/>
                <a:gd name="connsiteX23" fmla="*/ 54363 w 54363"/>
                <a:gd name="connsiteY23" fmla="*/ 38608 h 61087"/>
                <a:gd name="connsiteX24" fmla="*/ 50926 w 54363"/>
                <a:gd name="connsiteY24" fmla="*/ 51181 h 61087"/>
                <a:gd name="connsiteX25" fmla="*/ 41632 w 54363"/>
                <a:gd name="connsiteY25" fmla="*/ 58547 h 61087"/>
                <a:gd name="connsiteX26" fmla="*/ 28264 w 54363"/>
                <a:gd name="connsiteY26" fmla="*/ 60960 h 6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63" h="61087">
                  <a:moveTo>
                    <a:pt x="28391" y="61087"/>
                  </a:moveTo>
                  <a:cubicBezTo>
                    <a:pt x="22280" y="61087"/>
                    <a:pt x="17188" y="59944"/>
                    <a:pt x="12986" y="57785"/>
                  </a:cubicBezTo>
                  <a:cubicBezTo>
                    <a:pt x="8785" y="55626"/>
                    <a:pt x="5602" y="52197"/>
                    <a:pt x="3310" y="47752"/>
                  </a:cubicBezTo>
                  <a:cubicBezTo>
                    <a:pt x="1146" y="43180"/>
                    <a:pt x="0" y="37465"/>
                    <a:pt x="0" y="30607"/>
                  </a:cubicBezTo>
                  <a:cubicBezTo>
                    <a:pt x="0" y="20320"/>
                    <a:pt x="2546" y="12700"/>
                    <a:pt x="7512" y="7620"/>
                  </a:cubicBezTo>
                  <a:cubicBezTo>
                    <a:pt x="12477" y="2540"/>
                    <a:pt x="19479" y="0"/>
                    <a:pt x="28391" y="0"/>
                  </a:cubicBezTo>
                  <a:cubicBezTo>
                    <a:pt x="33484" y="0"/>
                    <a:pt x="37940" y="762"/>
                    <a:pt x="41887" y="2413"/>
                  </a:cubicBezTo>
                  <a:cubicBezTo>
                    <a:pt x="45833" y="4064"/>
                    <a:pt x="48889" y="6477"/>
                    <a:pt x="51053" y="9779"/>
                  </a:cubicBezTo>
                  <a:cubicBezTo>
                    <a:pt x="53217" y="13081"/>
                    <a:pt x="54363" y="17272"/>
                    <a:pt x="54363" y="22225"/>
                  </a:cubicBezTo>
                  <a:lnTo>
                    <a:pt x="46088" y="22225"/>
                  </a:lnTo>
                  <a:cubicBezTo>
                    <a:pt x="46088" y="18796"/>
                    <a:pt x="45324" y="15875"/>
                    <a:pt x="43924" y="13716"/>
                  </a:cubicBezTo>
                  <a:cubicBezTo>
                    <a:pt x="42396" y="11430"/>
                    <a:pt x="40359" y="9779"/>
                    <a:pt x="37685" y="8636"/>
                  </a:cubicBezTo>
                  <a:cubicBezTo>
                    <a:pt x="35011" y="7493"/>
                    <a:pt x="31956" y="6985"/>
                    <a:pt x="28391" y="6985"/>
                  </a:cubicBezTo>
                  <a:cubicBezTo>
                    <a:pt x="24190" y="6985"/>
                    <a:pt x="20625" y="7747"/>
                    <a:pt x="17697" y="9398"/>
                  </a:cubicBezTo>
                  <a:cubicBezTo>
                    <a:pt x="14641" y="11049"/>
                    <a:pt x="12477" y="13462"/>
                    <a:pt x="10822" y="16891"/>
                  </a:cubicBezTo>
                  <a:cubicBezTo>
                    <a:pt x="9294" y="20193"/>
                    <a:pt x="8530" y="24638"/>
                    <a:pt x="8530" y="29845"/>
                  </a:cubicBezTo>
                  <a:lnTo>
                    <a:pt x="8530" y="31623"/>
                  </a:lnTo>
                  <a:cubicBezTo>
                    <a:pt x="8530" y="36830"/>
                    <a:pt x="9294" y="41148"/>
                    <a:pt x="10822" y="44450"/>
                  </a:cubicBezTo>
                  <a:cubicBezTo>
                    <a:pt x="12350" y="47752"/>
                    <a:pt x="14641" y="50165"/>
                    <a:pt x="17569" y="51689"/>
                  </a:cubicBezTo>
                  <a:cubicBezTo>
                    <a:pt x="20498" y="53213"/>
                    <a:pt x="24063" y="53975"/>
                    <a:pt x="28391" y="53975"/>
                  </a:cubicBezTo>
                  <a:cubicBezTo>
                    <a:pt x="32083" y="53975"/>
                    <a:pt x="35266" y="53467"/>
                    <a:pt x="37940" y="52324"/>
                  </a:cubicBezTo>
                  <a:cubicBezTo>
                    <a:pt x="40613" y="51181"/>
                    <a:pt x="42650" y="49530"/>
                    <a:pt x="44178" y="47244"/>
                  </a:cubicBezTo>
                  <a:cubicBezTo>
                    <a:pt x="45706" y="44958"/>
                    <a:pt x="46343" y="42164"/>
                    <a:pt x="46343" y="38608"/>
                  </a:cubicBezTo>
                  <a:lnTo>
                    <a:pt x="54363" y="38608"/>
                  </a:lnTo>
                  <a:cubicBezTo>
                    <a:pt x="54363" y="43688"/>
                    <a:pt x="53217" y="47879"/>
                    <a:pt x="50926" y="51181"/>
                  </a:cubicBezTo>
                  <a:cubicBezTo>
                    <a:pt x="48634" y="54483"/>
                    <a:pt x="45579" y="56896"/>
                    <a:pt x="41632" y="58547"/>
                  </a:cubicBezTo>
                  <a:cubicBezTo>
                    <a:pt x="37685" y="60198"/>
                    <a:pt x="33229" y="60960"/>
                    <a:pt x="28264" y="60960"/>
                  </a:cubicBezTo>
                  <a:close/>
                </a:path>
              </a:pathLst>
            </a:custGeom>
            <a:solidFill>
              <a:srgbClr val="1D4966"/>
            </a:solidFill>
            <a:ln w="0" cap="flat">
              <a:noFill/>
              <a:prstDash val="solid"/>
              <a:miter/>
            </a:ln>
          </p:spPr>
          <p:txBody>
            <a:bodyPr rtlCol="0" anchor="ctr"/>
            <a:lstStyle/>
            <a:p>
              <a:endParaRPr lang="en-AD" sz="2400"/>
            </a:p>
          </p:txBody>
        </p:sp>
        <p:sp>
          <p:nvSpPr>
            <p:cNvPr id="363" name="Freeform 362">
              <a:extLst>
                <a:ext uri="{FF2B5EF4-FFF2-40B4-BE49-F238E27FC236}">
                  <a16:creationId xmlns:a16="http://schemas.microsoft.com/office/drawing/2014/main" id="{47D36965-E16B-F98D-955D-CDB7A5D84668}"/>
                </a:ext>
              </a:extLst>
            </p:cNvPr>
            <p:cNvSpPr/>
            <p:nvPr/>
          </p:nvSpPr>
          <p:spPr>
            <a:xfrm>
              <a:off x="3539607"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4" name="Freeform 363">
              <a:extLst>
                <a:ext uri="{FF2B5EF4-FFF2-40B4-BE49-F238E27FC236}">
                  <a16:creationId xmlns:a16="http://schemas.microsoft.com/office/drawing/2014/main" id="{A7F92252-E08B-4EBB-78F8-AB56A6992939}"/>
                </a:ext>
              </a:extLst>
            </p:cNvPr>
            <p:cNvSpPr/>
            <p:nvPr/>
          </p:nvSpPr>
          <p:spPr>
            <a:xfrm>
              <a:off x="3590151"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65" name="Freeform 364">
              <a:extLst>
                <a:ext uri="{FF2B5EF4-FFF2-40B4-BE49-F238E27FC236}">
                  <a16:creationId xmlns:a16="http://schemas.microsoft.com/office/drawing/2014/main" id="{3CD47F60-914B-24AC-5819-6D64E22E2D8C}"/>
                </a:ext>
              </a:extLst>
            </p:cNvPr>
            <p:cNvSpPr/>
            <p:nvPr/>
          </p:nvSpPr>
          <p:spPr>
            <a:xfrm>
              <a:off x="3634329"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7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0" y="58547"/>
                    <a:pt x="17696" y="58674"/>
                  </a:cubicBezTo>
                  <a:cubicBezTo>
                    <a:pt x="16806" y="58801"/>
                    <a:pt x="16041" y="58928"/>
                    <a:pt x="15277" y="58928"/>
                  </a:cubicBezTo>
                  <a:close/>
                </a:path>
              </a:pathLst>
            </a:custGeom>
            <a:solidFill>
              <a:srgbClr val="1D4966"/>
            </a:solidFill>
            <a:ln w="0" cap="flat">
              <a:noFill/>
              <a:prstDash val="solid"/>
              <a:miter/>
            </a:ln>
          </p:spPr>
          <p:txBody>
            <a:bodyPr rtlCol="0" anchor="ctr"/>
            <a:lstStyle/>
            <a:p>
              <a:endParaRPr lang="en-AD" sz="2400"/>
            </a:p>
          </p:txBody>
        </p:sp>
        <p:sp>
          <p:nvSpPr>
            <p:cNvPr id="366" name="Freeform 365">
              <a:extLst>
                <a:ext uri="{FF2B5EF4-FFF2-40B4-BE49-F238E27FC236}">
                  <a16:creationId xmlns:a16="http://schemas.microsoft.com/office/drawing/2014/main" id="{FA75F968-719F-78C6-CDE6-54336E50A406}"/>
                </a:ext>
              </a:extLst>
            </p:cNvPr>
            <p:cNvSpPr/>
            <p:nvPr/>
          </p:nvSpPr>
          <p:spPr>
            <a:xfrm>
              <a:off x="366373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67" name="Freeform 366">
              <a:extLst>
                <a:ext uri="{FF2B5EF4-FFF2-40B4-BE49-F238E27FC236}">
                  <a16:creationId xmlns:a16="http://schemas.microsoft.com/office/drawing/2014/main" id="{CD6C5082-4DE4-C7BD-FE10-19A74C8BCC54}"/>
                </a:ext>
              </a:extLst>
            </p:cNvPr>
            <p:cNvSpPr/>
            <p:nvPr/>
          </p:nvSpPr>
          <p:spPr>
            <a:xfrm>
              <a:off x="368983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9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9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9"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9"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8" name="Freeform 367">
              <a:extLst>
                <a:ext uri="{FF2B5EF4-FFF2-40B4-BE49-F238E27FC236}">
                  <a16:creationId xmlns:a16="http://schemas.microsoft.com/office/drawing/2014/main" id="{35B34987-F17C-7A71-3CAB-0D57895034C5}"/>
                </a:ext>
              </a:extLst>
            </p:cNvPr>
            <p:cNvSpPr/>
            <p:nvPr/>
          </p:nvSpPr>
          <p:spPr>
            <a:xfrm>
              <a:off x="3740891"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9" name="Freeform 368">
              <a:extLst>
                <a:ext uri="{FF2B5EF4-FFF2-40B4-BE49-F238E27FC236}">
                  <a16:creationId xmlns:a16="http://schemas.microsoft.com/office/drawing/2014/main" id="{D3B4D5F9-19E6-73E4-C1A1-B3ADF768F5AC}"/>
                </a:ext>
              </a:extLst>
            </p:cNvPr>
            <p:cNvSpPr/>
            <p:nvPr/>
          </p:nvSpPr>
          <p:spPr>
            <a:xfrm>
              <a:off x="3777812" y="1484249"/>
              <a:ext cx="56909" cy="61340"/>
            </a:xfrm>
            <a:custGeom>
              <a:avLst/>
              <a:gdLst>
                <a:gd name="connsiteX0" fmla="*/ 29283 w 56909"/>
                <a:gd name="connsiteY0" fmla="*/ 61214 h 61340"/>
                <a:gd name="connsiteX1" fmla="*/ 7512 w 56909"/>
                <a:gd name="connsiteY1" fmla="*/ 53721 h 61340"/>
                <a:gd name="connsiteX2" fmla="*/ 0 w 56909"/>
                <a:gd name="connsiteY2" fmla="*/ 30607 h 61340"/>
                <a:gd name="connsiteX3" fmla="*/ 3438 w 56909"/>
                <a:gd name="connsiteY3" fmla="*/ 13589 h 61340"/>
                <a:gd name="connsiteX4" fmla="*/ 13623 w 56909"/>
                <a:gd name="connsiteY4" fmla="*/ 3429 h 61340"/>
                <a:gd name="connsiteX5" fmla="*/ 30046 w 56909"/>
                <a:gd name="connsiteY5" fmla="*/ 0 h 61340"/>
                <a:gd name="connsiteX6" fmla="*/ 40995 w 56909"/>
                <a:gd name="connsiteY6" fmla="*/ 1270 h 61340"/>
                <a:gd name="connsiteX7" fmla="*/ 49525 w 56909"/>
                <a:gd name="connsiteY7" fmla="*/ 5207 h 61340"/>
                <a:gd name="connsiteX8" fmla="*/ 55000 w 56909"/>
                <a:gd name="connsiteY8" fmla="*/ 11811 h 61340"/>
                <a:gd name="connsiteX9" fmla="*/ 56910 w 56909"/>
                <a:gd name="connsiteY9" fmla="*/ 21209 h 61340"/>
                <a:gd name="connsiteX10" fmla="*/ 48507 w 56909"/>
                <a:gd name="connsiteY10" fmla="*/ 21209 h 61340"/>
                <a:gd name="connsiteX11" fmla="*/ 47106 w 56909"/>
                <a:gd name="connsiteY11" fmla="*/ 14732 h 61340"/>
                <a:gd name="connsiteX12" fmla="*/ 43160 w 56909"/>
                <a:gd name="connsiteY12" fmla="*/ 10287 h 61340"/>
                <a:gd name="connsiteX13" fmla="*/ 37303 w 56909"/>
                <a:gd name="connsiteY13" fmla="*/ 7874 h 61340"/>
                <a:gd name="connsiteX14" fmla="*/ 30173 w 56909"/>
                <a:gd name="connsiteY14" fmla="*/ 7112 h 61340"/>
                <a:gd name="connsiteX15" fmla="*/ 20880 w 56909"/>
                <a:gd name="connsiteY15" fmla="*/ 8382 h 61340"/>
                <a:gd name="connsiteX16" fmla="*/ 14005 w 56909"/>
                <a:gd name="connsiteY16" fmla="*/ 12446 h 61340"/>
                <a:gd name="connsiteX17" fmla="*/ 9803 w 56909"/>
                <a:gd name="connsiteY17" fmla="*/ 19558 h 61340"/>
                <a:gd name="connsiteX18" fmla="*/ 8275 w 56909"/>
                <a:gd name="connsiteY18" fmla="*/ 29845 h 61340"/>
                <a:gd name="connsiteX19" fmla="*/ 8275 w 56909"/>
                <a:gd name="connsiteY19" fmla="*/ 31623 h 61340"/>
                <a:gd name="connsiteX20" fmla="*/ 10694 w 56909"/>
                <a:gd name="connsiteY20" fmla="*/ 44577 h 61340"/>
                <a:gd name="connsiteX21" fmla="*/ 17824 w 56909"/>
                <a:gd name="connsiteY21" fmla="*/ 51816 h 61340"/>
                <a:gd name="connsiteX22" fmla="*/ 29028 w 56909"/>
                <a:gd name="connsiteY22" fmla="*/ 54102 h 61340"/>
                <a:gd name="connsiteX23" fmla="*/ 39977 w 56909"/>
                <a:gd name="connsiteY23" fmla="*/ 52197 h 61340"/>
                <a:gd name="connsiteX24" fmla="*/ 46470 w 56909"/>
                <a:gd name="connsiteY24" fmla="*/ 46609 h 61340"/>
                <a:gd name="connsiteX25" fmla="*/ 48634 w 56909"/>
                <a:gd name="connsiteY25" fmla="*/ 37084 h 61340"/>
                <a:gd name="connsiteX26" fmla="*/ 48634 w 56909"/>
                <a:gd name="connsiteY26" fmla="*/ 36068 h 61340"/>
                <a:gd name="connsiteX27" fmla="*/ 27754 w 56909"/>
                <a:gd name="connsiteY27" fmla="*/ 36068 h 61340"/>
                <a:gd name="connsiteX28" fmla="*/ 27754 w 56909"/>
                <a:gd name="connsiteY28" fmla="*/ 29083 h 61340"/>
                <a:gd name="connsiteX29" fmla="*/ 56910 w 56909"/>
                <a:gd name="connsiteY29" fmla="*/ 29083 h 61340"/>
                <a:gd name="connsiteX30" fmla="*/ 56910 w 56909"/>
                <a:gd name="connsiteY30" fmla="*/ 60198 h 61340"/>
                <a:gd name="connsiteX31" fmla="*/ 50671 w 56909"/>
                <a:gd name="connsiteY31" fmla="*/ 60198 h 61340"/>
                <a:gd name="connsiteX32" fmla="*/ 49780 w 56909"/>
                <a:gd name="connsiteY32" fmla="*/ 52705 h 61340"/>
                <a:gd name="connsiteX33" fmla="*/ 44306 w 56909"/>
                <a:gd name="connsiteY33" fmla="*/ 57658 h 61340"/>
                <a:gd name="connsiteX34" fmla="*/ 37303 w 56909"/>
                <a:gd name="connsiteY34" fmla="*/ 60452 h 61340"/>
                <a:gd name="connsiteX35" fmla="*/ 29155 w 56909"/>
                <a:gd name="connsiteY35" fmla="*/ 61341 h 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909" h="61340">
                  <a:moveTo>
                    <a:pt x="29283" y="61214"/>
                  </a:moveTo>
                  <a:cubicBezTo>
                    <a:pt x="19734" y="61214"/>
                    <a:pt x="12477" y="58674"/>
                    <a:pt x="7512" y="53721"/>
                  </a:cubicBezTo>
                  <a:cubicBezTo>
                    <a:pt x="2546" y="48768"/>
                    <a:pt x="0" y="41021"/>
                    <a:pt x="0" y="30607"/>
                  </a:cubicBezTo>
                  <a:cubicBezTo>
                    <a:pt x="0" y="23876"/>
                    <a:pt x="1146" y="18161"/>
                    <a:pt x="3438" y="13589"/>
                  </a:cubicBezTo>
                  <a:cubicBezTo>
                    <a:pt x="5729" y="9017"/>
                    <a:pt x="9167" y="5588"/>
                    <a:pt x="13623" y="3429"/>
                  </a:cubicBezTo>
                  <a:cubicBezTo>
                    <a:pt x="18079" y="1143"/>
                    <a:pt x="23553" y="0"/>
                    <a:pt x="30046" y="0"/>
                  </a:cubicBezTo>
                  <a:cubicBezTo>
                    <a:pt x="34120" y="0"/>
                    <a:pt x="37685" y="381"/>
                    <a:pt x="40995" y="1270"/>
                  </a:cubicBezTo>
                  <a:cubicBezTo>
                    <a:pt x="44306" y="2159"/>
                    <a:pt x="47106" y="3429"/>
                    <a:pt x="49525" y="5207"/>
                  </a:cubicBezTo>
                  <a:cubicBezTo>
                    <a:pt x="51944" y="6985"/>
                    <a:pt x="53727" y="9144"/>
                    <a:pt x="55000" y="11811"/>
                  </a:cubicBezTo>
                  <a:cubicBezTo>
                    <a:pt x="56273" y="14478"/>
                    <a:pt x="56910" y="17526"/>
                    <a:pt x="56910" y="21209"/>
                  </a:cubicBezTo>
                  <a:lnTo>
                    <a:pt x="48507" y="21209"/>
                  </a:lnTo>
                  <a:cubicBezTo>
                    <a:pt x="48507" y="18669"/>
                    <a:pt x="47998" y="16510"/>
                    <a:pt x="47106" y="14732"/>
                  </a:cubicBezTo>
                  <a:cubicBezTo>
                    <a:pt x="46215" y="12954"/>
                    <a:pt x="44815" y="11430"/>
                    <a:pt x="43160" y="10287"/>
                  </a:cubicBezTo>
                  <a:cubicBezTo>
                    <a:pt x="41505" y="9144"/>
                    <a:pt x="39468" y="8255"/>
                    <a:pt x="37303" y="7874"/>
                  </a:cubicBezTo>
                  <a:cubicBezTo>
                    <a:pt x="35011" y="7366"/>
                    <a:pt x="32720" y="7112"/>
                    <a:pt x="30173" y="7112"/>
                  </a:cubicBezTo>
                  <a:cubicBezTo>
                    <a:pt x="26736" y="7112"/>
                    <a:pt x="23681" y="7493"/>
                    <a:pt x="20880" y="8382"/>
                  </a:cubicBezTo>
                  <a:cubicBezTo>
                    <a:pt x="18206" y="9271"/>
                    <a:pt x="15914" y="10541"/>
                    <a:pt x="14005" y="12446"/>
                  </a:cubicBezTo>
                  <a:cubicBezTo>
                    <a:pt x="12222" y="14224"/>
                    <a:pt x="10694" y="16637"/>
                    <a:pt x="9803" y="19558"/>
                  </a:cubicBezTo>
                  <a:cubicBezTo>
                    <a:pt x="8785" y="22479"/>
                    <a:pt x="8275" y="25908"/>
                    <a:pt x="8275" y="29845"/>
                  </a:cubicBezTo>
                  <a:lnTo>
                    <a:pt x="8275" y="31623"/>
                  </a:lnTo>
                  <a:cubicBezTo>
                    <a:pt x="8275" y="36957"/>
                    <a:pt x="9039" y="41275"/>
                    <a:pt x="10694" y="44577"/>
                  </a:cubicBezTo>
                  <a:cubicBezTo>
                    <a:pt x="12350" y="47879"/>
                    <a:pt x="14769" y="50292"/>
                    <a:pt x="17824" y="51816"/>
                  </a:cubicBezTo>
                  <a:cubicBezTo>
                    <a:pt x="20880" y="53340"/>
                    <a:pt x="24699" y="54102"/>
                    <a:pt x="29028" y="54102"/>
                  </a:cubicBezTo>
                  <a:cubicBezTo>
                    <a:pt x="33356" y="54102"/>
                    <a:pt x="37176" y="53467"/>
                    <a:pt x="39977" y="52197"/>
                  </a:cubicBezTo>
                  <a:cubicBezTo>
                    <a:pt x="42905" y="50927"/>
                    <a:pt x="44942" y="49022"/>
                    <a:pt x="46470" y="46609"/>
                  </a:cubicBezTo>
                  <a:cubicBezTo>
                    <a:pt x="47870" y="44069"/>
                    <a:pt x="48634" y="40894"/>
                    <a:pt x="48634" y="37084"/>
                  </a:cubicBezTo>
                  <a:lnTo>
                    <a:pt x="48634" y="36068"/>
                  </a:lnTo>
                  <a:lnTo>
                    <a:pt x="27754" y="36068"/>
                  </a:lnTo>
                  <a:lnTo>
                    <a:pt x="27754" y="29083"/>
                  </a:lnTo>
                  <a:lnTo>
                    <a:pt x="56910" y="29083"/>
                  </a:lnTo>
                  <a:lnTo>
                    <a:pt x="56910" y="60198"/>
                  </a:lnTo>
                  <a:lnTo>
                    <a:pt x="50671" y="60198"/>
                  </a:lnTo>
                  <a:lnTo>
                    <a:pt x="49780" y="52705"/>
                  </a:lnTo>
                  <a:cubicBezTo>
                    <a:pt x="48252" y="54737"/>
                    <a:pt x="46343" y="56388"/>
                    <a:pt x="44306" y="57658"/>
                  </a:cubicBezTo>
                  <a:cubicBezTo>
                    <a:pt x="42141" y="58928"/>
                    <a:pt x="39849" y="59817"/>
                    <a:pt x="37303" y="60452"/>
                  </a:cubicBezTo>
                  <a:cubicBezTo>
                    <a:pt x="34757" y="61087"/>
                    <a:pt x="31956" y="61341"/>
                    <a:pt x="29155" y="61341"/>
                  </a:cubicBezTo>
                  <a:close/>
                </a:path>
              </a:pathLst>
            </a:custGeom>
            <a:solidFill>
              <a:srgbClr val="1D4966"/>
            </a:solidFill>
            <a:ln w="0" cap="flat">
              <a:noFill/>
              <a:prstDash val="solid"/>
              <a:miter/>
            </a:ln>
          </p:spPr>
          <p:txBody>
            <a:bodyPr rtlCol="0" anchor="ctr"/>
            <a:lstStyle/>
            <a:p>
              <a:endParaRPr lang="en-AD" sz="2400"/>
            </a:p>
          </p:txBody>
        </p:sp>
        <p:sp>
          <p:nvSpPr>
            <p:cNvPr id="370" name="Freeform 369">
              <a:extLst>
                <a:ext uri="{FF2B5EF4-FFF2-40B4-BE49-F238E27FC236}">
                  <a16:creationId xmlns:a16="http://schemas.microsoft.com/office/drawing/2014/main" id="{EE5C4300-151D-5EB0-FF1A-D449F674285D}"/>
                </a:ext>
              </a:extLst>
            </p:cNvPr>
            <p:cNvSpPr/>
            <p:nvPr/>
          </p:nvSpPr>
          <p:spPr>
            <a:xfrm>
              <a:off x="384719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59"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1" name="Freeform 370">
              <a:extLst>
                <a:ext uri="{FF2B5EF4-FFF2-40B4-BE49-F238E27FC236}">
                  <a16:creationId xmlns:a16="http://schemas.microsoft.com/office/drawing/2014/main" id="{EAB54CC3-277C-84A5-DF72-2C36DA10610A}"/>
                </a:ext>
              </a:extLst>
            </p:cNvPr>
            <p:cNvSpPr/>
            <p:nvPr/>
          </p:nvSpPr>
          <p:spPr>
            <a:xfrm>
              <a:off x="387329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2" name="Freeform 371">
              <a:extLst>
                <a:ext uri="{FF2B5EF4-FFF2-40B4-BE49-F238E27FC236}">
                  <a16:creationId xmlns:a16="http://schemas.microsoft.com/office/drawing/2014/main" id="{25A202AA-C337-03F0-6AAB-EE6CE126EE3D}"/>
                </a:ext>
              </a:extLst>
            </p:cNvPr>
            <p:cNvSpPr/>
            <p:nvPr/>
          </p:nvSpPr>
          <p:spPr>
            <a:xfrm>
              <a:off x="3923842"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8 w 37303"/>
                <a:gd name="connsiteY9" fmla="*/ 39751 h 46355"/>
                <a:gd name="connsiteX10" fmla="*/ 23299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3"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73" name="Freeform 372">
              <a:extLst>
                <a:ext uri="{FF2B5EF4-FFF2-40B4-BE49-F238E27FC236}">
                  <a16:creationId xmlns:a16="http://schemas.microsoft.com/office/drawing/2014/main" id="{72E9B226-2461-EFC6-1C17-056CCAB7DE0B}"/>
                </a:ext>
              </a:extLst>
            </p:cNvPr>
            <p:cNvSpPr/>
            <p:nvPr/>
          </p:nvSpPr>
          <p:spPr>
            <a:xfrm>
              <a:off x="3971712"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7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1"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5"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7"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6"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74" name="Freeform 373">
              <a:extLst>
                <a:ext uri="{FF2B5EF4-FFF2-40B4-BE49-F238E27FC236}">
                  <a16:creationId xmlns:a16="http://schemas.microsoft.com/office/drawing/2014/main" id="{623773B9-67F6-910C-358E-011DF3792017}"/>
                </a:ext>
              </a:extLst>
            </p:cNvPr>
            <p:cNvSpPr/>
            <p:nvPr/>
          </p:nvSpPr>
          <p:spPr>
            <a:xfrm>
              <a:off x="4017164" y="1498219"/>
              <a:ext cx="37557" cy="47625"/>
            </a:xfrm>
            <a:custGeom>
              <a:avLst/>
              <a:gdLst>
                <a:gd name="connsiteX0" fmla="*/ 18842 w 37557"/>
                <a:gd name="connsiteY0" fmla="*/ 47244 h 47625"/>
                <a:gd name="connsiteX1" fmla="*/ 10694 w 37557"/>
                <a:gd name="connsiteY1" fmla="*/ 46355 h 47625"/>
                <a:gd name="connsiteX2" fmla="*/ 4838 w 37557"/>
                <a:gd name="connsiteY2" fmla="*/ 43561 h 47625"/>
                <a:gd name="connsiteX3" fmla="*/ 1273 w 37557"/>
                <a:gd name="connsiteY3" fmla="*/ 39243 h 47625"/>
                <a:gd name="connsiteX4" fmla="*/ 0 w 37557"/>
                <a:gd name="connsiteY4" fmla="*/ 33528 h 47625"/>
                <a:gd name="connsiteX5" fmla="*/ 0 w 37557"/>
                <a:gd name="connsiteY5" fmla="*/ 32766 h 47625"/>
                <a:gd name="connsiteX6" fmla="*/ 0 w 37557"/>
                <a:gd name="connsiteY6" fmla="*/ 32131 h 47625"/>
                <a:gd name="connsiteX7" fmla="*/ 7512 w 37557"/>
                <a:gd name="connsiteY7" fmla="*/ 32131 h 47625"/>
                <a:gd name="connsiteX8" fmla="*/ 7512 w 37557"/>
                <a:gd name="connsiteY8" fmla="*/ 32766 h 47625"/>
                <a:gd name="connsiteX9" fmla="*/ 7512 w 37557"/>
                <a:gd name="connsiteY9" fmla="*/ 33274 h 47625"/>
                <a:gd name="connsiteX10" fmla="*/ 9167 w 37557"/>
                <a:gd name="connsiteY10" fmla="*/ 37973 h 47625"/>
                <a:gd name="connsiteX11" fmla="*/ 13368 w 37557"/>
                <a:gd name="connsiteY11" fmla="*/ 40386 h 47625"/>
                <a:gd name="connsiteX12" fmla="*/ 19352 w 37557"/>
                <a:gd name="connsiteY12" fmla="*/ 41021 h 47625"/>
                <a:gd name="connsiteX13" fmla="*/ 24572 w 37557"/>
                <a:gd name="connsiteY13" fmla="*/ 40259 h 47625"/>
                <a:gd name="connsiteX14" fmla="*/ 28391 w 37557"/>
                <a:gd name="connsiteY14" fmla="*/ 37973 h 47625"/>
                <a:gd name="connsiteX15" fmla="*/ 29792 w 37557"/>
                <a:gd name="connsiteY15" fmla="*/ 34163 h 47625"/>
                <a:gd name="connsiteX16" fmla="*/ 27881 w 37557"/>
                <a:gd name="connsiteY16" fmla="*/ 29845 h 47625"/>
                <a:gd name="connsiteX17" fmla="*/ 23044 w 37557"/>
                <a:gd name="connsiteY17" fmla="*/ 27432 h 47625"/>
                <a:gd name="connsiteX18" fmla="*/ 16678 w 37557"/>
                <a:gd name="connsiteY18" fmla="*/ 25654 h 47625"/>
                <a:gd name="connsiteX19" fmla="*/ 11203 w 37557"/>
                <a:gd name="connsiteY19" fmla="*/ 23876 h 47625"/>
                <a:gd name="connsiteX20" fmla="*/ 6238 w 37557"/>
                <a:gd name="connsiteY20" fmla="*/ 21590 h 47625"/>
                <a:gd name="connsiteX21" fmla="*/ 2673 w 37557"/>
                <a:gd name="connsiteY21" fmla="*/ 18034 h 47625"/>
                <a:gd name="connsiteX22" fmla="*/ 1273 w 37557"/>
                <a:gd name="connsiteY22" fmla="*/ 12446 h 47625"/>
                <a:gd name="connsiteX23" fmla="*/ 2546 w 37557"/>
                <a:gd name="connsiteY23" fmla="*/ 7112 h 47625"/>
                <a:gd name="connsiteX24" fmla="*/ 6111 w 37557"/>
                <a:gd name="connsiteY24" fmla="*/ 3175 h 47625"/>
                <a:gd name="connsiteX25" fmla="*/ 11713 w 37557"/>
                <a:gd name="connsiteY25" fmla="*/ 762 h 47625"/>
                <a:gd name="connsiteX26" fmla="*/ 19097 w 37557"/>
                <a:gd name="connsiteY26" fmla="*/ 0 h 47625"/>
                <a:gd name="connsiteX27" fmla="*/ 26609 w 37557"/>
                <a:gd name="connsiteY27" fmla="*/ 889 h 47625"/>
                <a:gd name="connsiteX28" fmla="*/ 31956 w 37557"/>
                <a:gd name="connsiteY28" fmla="*/ 3556 h 47625"/>
                <a:gd name="connsiteX29" fmla="*/ 35139 w 37557"/>
                <a:gd name="connsiteY29" fmla="*/ 7493 h 47625"/>
                <a:gd name="connsiteX30" fmla="*/ 36157 w 37557"/>
                <a:gd name="connsiteY30" fmla="*/ 12192 h 47625"/>
                <a:gd name="connsiteX31" fmla="*/ 36157 w 37557"/>
                <a:gd name="connsiteY31" fmla="*/ 13208 h 47625"/>
                <a:gd name="connsiteX32" fmla="*/ 36157 w 37557"/>
                <a:gd name="connsiteY32" fmla="*/ 13970 h 47625"/>
                <a:gd name="connsiteX33" fmla="*/ 28773 w 37557"/>
                <a:gd name="connsiteY33" fmla="*/ 13970 h 47625"/>
                <a:gd name="connsiteX34" fmla="*/ 28773 w 37557"/>
                <a:gd name="connsiteY34" fmla="*/ 13081 h 47625"/>
                <a:gd name="connsiteX35" fmla="*/ 27881 w 37557"/>
                <a:gd name="connsiteY35" fmla="*/ 9779 h 47625"/>
                <a:gd name="connsiteX36" fmla="*/ 24826 w 37557"/>
                <a:gd name="connsiteY36" fmla="*/ 7239 h 47625"/>
                <a:gd name="connsiteX37" fmla="*/ 18715 w 37557"/>
                <a:gd name="connsiteY37" fmla="*/ 6223 h 47625"/>
                <a:gd name="connsiteX38" fmla="*/ 14386 w 37557"/>
                <a:gd name="connsiteY38" fmla="*/ 6604 h 47625"/>
                <a:gd name="connsiteX39" fmla="*/ 11331 w 37557"/>
                <a:gd name="connsiteY39" fmla="*/ 7874 h 47625"/>
                <a:gd name="connsiteX40" fmla="*/ 9549 w 37557"/>
                <a:gd name="connsiteY40" fmla="*/ 9779 h 47625"/>
                <a:gd name="connsiteX41" fmla="*/ 8912 w 37557"/>
                <a:gd name="connsiteY41" fmla="*/ 12192 h 47625"/>
                <a:gd name="connsiteX42" fmla="*/ 10439 w 37557"/>
                <a:gd name="connsiteY42" fmla="*/ 15621 h 47625"/>
                <a:gd name="connsiteX43" fmla="*/ 14386 w 37557"/>
                <a:gd name="connsiteY43" fmla="*/ 17653 h 47625"/>
                <a:gd name="connsiteX44" fmla="*/ 19734 w 37557"/>
                <a:gd name="connsiteY44" fmla="*/ 19431 h 47625"/>
                <a:gd name="connsiteX45" fmla="*/ 25972 w 37557"/>
                <a:gd name="connsiteY45" fmla="*/ 21209 h 47625"/>
                <a:gd name="connsiteX46" fmla="*/ 31701 w 37557"/>
                <a:gd name="connsiteY46" fmla="*/ 23495 h 47625"/>
                <a:gd name="connsiteX47" fmla="*/ 35902 w 37557"/>
                <a:gd name="connsiteY47" fmla="*/ 27305 h 47625"/>
                <a:gd name="connsiteX48" fmla="*/ 37558 w 37557"/>
                <a:gd name="connsiteY48" fmla="*/ 33528 h 47625"/>
                <a:gd name="connsiteX49" fmla="*/ 36157 w 37557"/>
                <a:gd name="connsiteY49" fmla="*/ 39878 h 47625"/>
                <a:gd name="connsiteX50" fmla="*/ 32211 w 37557"/>
                <a:gd name="connsiteY50" fmla="*/ 44323 h 47625"/>
                <a:gd name="connsiteX51" fmla="*/ 26227 w 37557"/>
                <a:gd name="connsiteY51" fmla="*/ 46863 h 47625"/>
                <a:gd name="connsiteX52" fmla="*/ 18715 w 37557"/>
                <a:gd name="connsiteY52"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5">
                  <a:moveTo>
                    <a:pt x="18842" y="47244"/>
                  </a:moveTo>
                  <a:cubicBezTo>
                    <a:pt x="15787" y="47244"/>
                    <a:pt x="12986" y="46990"/>
                    <a:pt x="10694" y="46355"/>
                  </a:cubicBezTo>
                  <a:cubicBezTo>
                    <a:pt x="8275"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5" y="39878"/>
                    <a:pt x="13368" y="40386"/>
                  </a:cubicBezTo>
                  <a:cubicBezTo>
                    <a:pt x="15150" y="40894"/>
                    <a:pt x="17187"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1" y="29845"/>
                  </a:cubicBezTo>
                  <a:cubicBezTo>
                    <a:pt x="26609" y="28829"/>
                    <a:pt x="24954" y="28067"/>
                    <a:pt x="23044" y="27432"/>
                  </a:cubicBezTo>
                  <a:cubicBezTo>
                    <a:pt x="21007" y="26797"/>
                    <a:pt x="18970" y="26289"/>
                    <a:pt x="16678" y="25654"/>
                  </a:cubicBezTo>
                  <a:cubicBezTo>
                    <a:pt x="14896" y="25146"/>
                    <a:pt x="12986" y="24511"/>
                    <a:pt x="11203" y="23876"/>
                  </a:cubicBezTo>
                  <a:cubicBezTo>
                    <a:pt x="9421" y="23241"/>
                    <a:pt x="7766" y="22479"/>
                    <a:pt x="6238" y="21590"/>
                  </a:cubicBezTo>
                  <a:cubicBezTo>
                    <a:pt x="4711" y="20701"/>
                    <a:pt x="3565" y="19431"/>
                    <a:pt x="2673" y="18034"/>
                  </a:cubicBezTo>
                  <a:cubicBezTo>
                    <a:pt x="1782" y="16510"/>
                    <a:pt x="1273" y="14732"/>
                    <a:pt x="1273" y="12446"/>
                  </a:cubicBezTo>
                  <a:cubicBezTo>
                    <a:pt x="1273" y="10414"/>
                    <a:pt x="1655" y="8636"/>
                    <a:pt x="2546" y="7112"/>
                  </a:cubicBezTo>
                  <a:cubicBezTo>
                    <a:pt x="3437" y="5588"/>
                    <a:pt x="4583" y="4191"/>
                    <a:pt x="6111" y="3175"/>
                  </a:cubicBezTo>
                  <a:cubicBezTo>
                    <a:pt x="7639" y="2032"/>
                    <a:pt x="9549" y="1270"/>
                    <a:pt x="11713" y="762"/>
                  </a:cubicBezTo>
                  <a:cubicBezTo>
                    <a:pt x="13877" y="254"/>
                    <a:pt x="16423" y="0"/>
                    <a:pt x="19097" y="0"/>
                  </a:cubicBezTo>
                  <a:cubicBezTo>
                    <a:pt x="22025" y="0"/>
                    <a:pt x="24444"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1" y="9779"/>
                  </a:cubicBezTo>
                  <a:cubicBezTo>
                    <a:pt x="27245" y="8763"/>
                    <a:pt x="26227" y="7874"/>
                    <a:pt x="24826" y="7239"/>
                  </a:cubicBezTo>
                  <a:cubicBezTo>
                    <a:pt x="23298" y="6604"/>
                    <a:pt x="21389" y="6223"/>
                    <a:pt x="18715" y="6223"/>
                  </a:cubicBezTo>
                  <a:cubicBezTo>
                    <a:pt x="17060" y="6223"/>
                    <a:pt x="15659" y="6350"/>
                    <a:pt x="14386"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39" y="15621"/>
                  </a:cubicBezTo>
                  <a:cubicBezTo>
                    <a:pt x="11458" y="16383"/>
                    <a:pt x="12731" y="17145"/>
                    <a:pt x="14386" y="17653"/>
                  </a:cubicBezTo>
                  <a:cubicBezTo>
                    <a:pt x="16041" y="18161"/>
                    <a:pt x="17824" y="18796"/>
                    <a:pt x="19734" y="19431"/>
                  </a:cubicBezTo>
                  <a:cubicBezTo>
                    <a:pt x="21771" y="20066"/>
                    <a:pt x="23808" y="20574"/>
                    <a:pt x="25972" y="21209"/>
                  </a:cubicBezTo>
                  <a:cubicBezTo>
                    <a:pt x="28136" y="21844"/>
                    <a:pt x="30046" y="22606"/>
                    <a:pt x="31701" y="23495"/>
                  </a:cubicBezTo>
                  <a:cubicBezTo>
                    <a:pt x="33483" y="24384"/>
                    <a:pt x="34884" y="25654"/>
                    <a:pt x="35902" y="27305"/>
                  </a:cubicBezTo>
                  <a:cubicBezTo>
                    <a:pt x="36921" y="28829"/>
                    <a:pt x="37558" y="30988"/>
                    <a:pt x="37558" y="33528"/>
                  </a:cubicBezTo>
                  <a:cubicBezTo>
                    <a:pt x="37558" y="35941"/>
                    <a:pt x="37048" y="38100"/>
                    <a:pt x="36157" y="39878"/>
                  </a:cubicBezTo>
                  <a:cubicBezTo>
                    <a:pt x="35266" y="41656"/>
                    <a:pt x="33865"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75" name="Freeform 374">
              <a:extLst>
                <a:ext uri="{FF2B5EF4-FFF2-40B4-BE49-F238E27FC236}">
                  <a16:creationId xmlns:a16="http://schemas.microsoft.com/office/drawing/2014/main" id="{77EC2A99-7FA6-DFEE-1A59-3812ED878896}"/>
                </a:ext>
              </a:extLst>
            </p:cNvPr>
            <p:cNvSpPr/>
            <p:nvPr/>
          </p:nvSpPr>
          <p:spPr>
            <a:xfrm>
              <a:off x="2071800" y="1588008"/>
              <a:ext cx="22152" cy="59181"/>
            </a:xfrm>
            <a:custGeom>
              <a:avLst/>
              <a:gdLst>
                <a:gd name="connsiteX0" fmla="*/ 15023 w 22152"/>
                <a:gd name="connsiteY0" fmla="*/ 59182 h 59181"/>
                <a:gd name="connsiteX1" fmla="*/ 9549 w 22152"/>
                <a:gd name="connsiteY1" fmla="*/ 57785 h 59181"/>
                <a:gd name="connsiteX2" fmla="*/ 6748 w 22152"/>
                <a:gd name="connsiteY2" fmla="*/ 54229 h 59181"/>
                <a:gd name="connsiteX3" fmla="*/ 5857 w 22152"/>
                <a:gd name="connsiteY3" fmla="*/ 49530 h 59181"/>
                <a:gd name="connsiteX4" fmla="*/ 5857 w 22152"/>
                <a:gd name="connsiteY4" fmla="*/ 19050 h 59181"/>
                <a:gd name="connsiteX5" fmla="*/ 0 w 22152"/>
                <a:gd name="connsiteY5" fmla="*/ 19050 h 59181"/>
                <a:gd name="connsiteX6" fmla="*/ 0 w 22152"/>
                <a:gd name="connsiteY6" fmla="*/ 12700 h 59181"/>
                <a:gd name="connsiteX7" fmla="*/ 6111 w 22152"/>
                <a:gd name="connsiteY7" fmla="*/ 12700 h 59181"/>
                <a:gd name="connsiteX8" fmla="*/ 7512 w 22152"/>
                <a:gd name="connsiteY8" fmla="*/ 0 h 59181"/>
                <a:gd name="connsiteX9" fmla="*/ 13623 w 22152"/>
                <a:gd name="connsiteY9" fmla="*/ 0 h 59181"/>
                <a:gd name="connsiteX10" fmla="*/ 13623 w 22152"/>
                <a:gd name="connsiteY10" fmla="*/ 12700 h 59181"/>
                <a:gd name="connsiteX11" fmla="*/ 22153 w 22152"/>
                <a:gd name="connsiteY11" fmla="*/ 12700 h 59181"/>
                <a:gd name="connsiteX12" fmla="*/ 22153 w 22152"/>
                <a:gd name="connsiteY12" fmla="*/ 19050 h 59181"/>
                <a:gd name="connsiteX13" fmla="*/ 13623 w 22152"/>
                <a:gd name="connsiteY13" fmla="*/ 19050 h 59181"/>
                <a:gd name="connsiteX14" fmla="*/ 13623 w 22152"/>
                <a:gd name="connsiteY14" fmla="*/ 48387 h 59181"/>
                <a:gd name="connsiteX15" fmla="*/ 14387 w 22152"/>
                <a:gd name="connsiteY15" fmla="*/ 51562 h 59181"/>
                <a:gd name="connsiteX16" fmla="*/ 17315 w 22152"/>
                <a:gd name="connsiteY16" fmla="*/ 52578 h 59181"/>
                <a:gd name="connsiteX17" fmla="*/ 22153 w 22152"/>
                <a:gd name="connsiteY17" fmla="*/ 52578 h 59181"/>
                <a:gd name="connsiteX18" fmla="*/ 22153 w 22152"/>
                <a:gd name="connsiteY18" fmla="*/ 57531 h 59181"/>
                <a:gd name="connsiteX19" fmla="*/ 20116 w 22152"/>
                <a:gd name="connsiteY19" fmla="*/ 58166 h 59181"/>
                <a:gd name="connsiteX20" fmla="*/ 17697 w 22152"/>
                <a:gd name="connsiteY20" fmla="*/ 58674 h 59181"/>
                <a:gd name="connsiteX21" fmla="*/ 15278 w 22152"/>
                <a:gd name="connsiteY21" fmla="*/ 58928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1">
                  <a:moveTo>
                    <a:pt x="15023" y="59182"/>
                  </a:moveTo>
                  <a:cubicBezTo>
                    <a:pt x="12604" y="59182"/>
                    <a:pt x="10822" y="58674"/>
                    <a:pt x="9549" y="57785"/>
                  </a:cubicBezTo>
                  <a:cubicBezTo>
                    <a:pt x="8276" y="56896"/>
                    <a:pt x="7257" y="55753"/>
                    <a:pt x="6748" y="54229"/>
                  </a:cubicBezTo>
                  <a:cubicBezTo>
                    <a:pt x="6111" y="52705"/>
                    <a:pt x="5857" y="51181"/>
                    <a:pt x="5857" y="49530"/>
                  </a:cubicBezTo>
                  <a:lnTo>
                    <a:pt x="5857"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80" y="58039"/>
                    <a:pt x="20116" y="58166"/>
                  </a:cubicBezTo>
                  <a:cubicBezTo>
                    <a:pt x="19352" y="58293"/>
                    <a:pt x="18461" y="58547"/>
                    <a:pt x="17697"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76" name="Freeform 375">
              <a:extLst>
                <a:ext uri="{FF2B5EF4-FFF2-40B4-BE49-F238E27FC236}">
                  <a16:creationId xmlns:a16="http://schemas.microsoft.com/office/drawing/2014/main" id="{D163C64B-9B40-5F15-117B-4D5E994D9643}"/>
                </a:ext>
              </a:extLst>
            </p:cNvPr>
            <p:cNvSpPr/>
            <p:nvPr/>
          </p:nvSpPr>
          <p:spPr>
            <a:xfrm>
              <a:off x="2098409"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7" name="Freeform 376">
              <a:extLst>
                <a:ext uri="{FF2B5EF4-FFF2-40B4-BE49-F238E27FC236}">
                  <a16:creationId xmlns:a16="http://schemas.microsoft.com/office/drawing/2014/main" id="{21851F32-4A24-65F1-206B-5C6BA513A689}"/>
                </a:ext>
              </a:extLst>
            </p:cNvPr>
            <p:cNvSpPr/>
            <p:nvPr/>
          </p:nvSpPr>
          <p:spPr>
            <a:xfrm>
              <a:off x="2168686" y="1599819"/>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8" name="Freeform 377">
              <a:extLst>
                <a:ext uri="{FF2B5EF4-FFF2-40B4-BE49-F238E27FC236}">
                  <a16:creationId xmlns:a16="http://schemas.microsoft.com/office/drawing/2014/main" id="{FCE2CBC0-7808-D4AC-1324-5105F78D188F}"/>
                </a:ext>
              </a:extLst>
            </p:cNvPr>
            <p:cNvSpPr/>
            <p:nvPr/>
          </p:nvSpPr>
          <p:spPr>
            <a:xfrm>
              <a:off x="2194658"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79" name="Freeform 378">
              <a:extLst>
                <a:ext uri="{FF2B5EF4-FFF2-40B4-BE49-F238E27FC236}">
                  <a16:creationId xmlns:a16="http://schemas.microsoft.com/office/drawing/2014/main" id="{7EDA27CD-0AF6-1C26-ECD5-7F7A9452F57D}"/>
                </a:ext>
              </a:extLst>
            </p:cNvPr>
            <p:cNvSpPr/>
            <p:nvPr/>
          </p:nvSpPr>
          <p:spPr>
            <a:xfrm>
              <a:off x="2241892" y="1583816"/>
              <a:ext cx="39722" cy="63372"/>
            </a:xfrm>
            <a:custGeom>
              <a:avLst/>
              <a:gdLst>
                <a:gd name="connsiteX0" fmla="*/ 18079 w 39722"/>
                <a:gd name="connsiteY0" fmla="*/ 63373 h 63372"/>
                <a:gd name="connsiteX1" fmla="*/ 8403 w 39722"/>
                <a:gd name="connsiteY1" fmla="*/ 60833 h 63372"/>
                <a:gd name="connsiteX2" fmla="*/ 2164 w 39722"/>
                <a:gd name="connsiteY2" fmla="*/ 53086 h 63372"/>
                <a:gd name="connsiteX3" fmla="*/ 0 w 39722"/>
                <a:gd name="connsiteY3" fmla="*/ 39370 h 63372"/>
                <a:gd name="connsiteX4" fmla="*/ 2292 w 39722"/>
                <a:gd name="connsiteY4" fmla="*/ 26162 h 63372"/>
                <a:gd name="connsiteX5" fmla="*/ 8530 w 39722"/>
                <a:gd name="connsiteY5" fmla="*/ 18542 h 63372"/>
                <a:gd name="connsiteX6" fmla="*/ 17824 w 39722"/>
                <a:gd name="connsiteY6" fmla="*/ 16002 h 63372"/>
                <a:gd name="connsiteX7" fmla="*/ 23426 w 39722"/>
                <a:gd name="connsiteY7" fmla="*/ 16637 h 63372"/>
                <a:gd name="connsiteX8" fmla="*/ 28009 w 39722"/>
                <a:gd name="connsiteY8" fmla="*/ 18796 h 63372"/>
                <a:gd name="connsiteX9" fmla="*/ 31574 w 39722"/>
                <a:gd name="connsiteY9" fmla="*/ 22733 h 63372"/>
                <a:gd name="connsiteX10" fmla="*/ 32083 w 39722"/>
                <a:gd name="connsiteY10" fmla="*/ 22733 h 63372"/>
                <a:gd name="connsiteX11" fmla="*/ 32083 w 39722"/>
                <a:gd name="connsiteY11" fmla="*/ 0 h 63372"/>
                <a:gd name="connsiteX12" fmla="*/ 39722 w 39722"/>
                <a:gd name="connsiteY12" fmla="*/ 0 h 63372"/>
                <a:gd name="connsiteX13" fmla="*/ 39722 w 39722"/>
                <a:gd name="connsiteY13" fmla="*/ 62357 h 63372"/>
                <a:gd name="connsiteX14" fmla="*/ 33611 w 39722"/>
                <a:gd name="connsiteY14" fmla="*/ 62357 h 63372"/>
                <a:gd name="connsiteX15" fmla="*/ 32975 w 39722"/>
                <a:gd name="connsiteY15" fmla="*/ 55880 h 63372"/>
                <a:gd name="connsiteX16" fmla="*/ 32338 w 39722"/>
                <a:gd name="connsiteY16" fmla="*/ 55880 h 63372"/>
                <a:gd name="connsiteX17" fmla="*/ 26227 w 39722"/>
                <a:gd name="connsiteY17" fmla="*/ 61468 h 63372"/>
                <a:gd name="connsiteX18" fmla="*/ 18079 w 39722"/>
                <a:gd name="connsiteY18" fmla="*/ 63373 h 63372"/>
                <a:gd name="connsiteX19" fmla="*/ 19861 w 39722"/>
                <a:gd name="connsiteY19" fmla="*/ 56769 h 63372"/>
                <a:gd name="connsiteX20" fmla="*/ 26863 w 39722"/>
                <a:gd name="connsiteY20" fmla="*/ 54864 h 63372"/>
                <a:gd name="connsiteX21" fmla="*/ 30810 w 39722"/>
                <a:gd name="connsiteY21" fmla="*/ 49403 h 63372"/>
                <a:gd name="connsiteX22" fmla="*/ 32083 w 39722"/>
                <a:gd name="connsiteY22" fmla="*/ 40386 h 63372"/>
                <a:gd name="connsiteX23" fmla="*/ 32083 w 39722"/>
                <a:gd name="connsiteY23" fmla="*/ 38989 h 63372"/>
                <a:gd name="connsiteX24" fmla="*/ 31192 w 39722"/>
                <a:gd name="connsiteY24" fmla="*/ 31115 h 63372"/>
                <a:gd name="connsiteX25" fmla="*/ 28646 w 39722"/>
                <a:gd name="connsiteY25" fmla="*/ 26035 h 63372"/>
                <a:gd name="connsiteX26" fmla="*/ 24826 w 39722"/>
                <a:gd name="connsiteY26" fmla="*/ 23368 h 63372"/>
                <a:gd name="connsiteX27" fmla="*/ 20243 w 39722"/>
                <a:gd name="connsiteY27" fmla="*/ 22606 h 63372"/>
                <a:gd name="connsiteX28" fmla="*/ 13368 w 39722"/>
                <a:gd name="connsiteY28" fmla="*/ 24257 h 63372"/>
                <a:gd name="connsiteX29" fmla="*/ 9421 w 39722"/>
                <a:gd name="connsiteY29" fmla="*/ 29464 h 63372"/>
                <a:gd name="connsiteX30" fmla="*/ 8148 w 39722"/>
                <a:gd name="connsiteY30" fmla="*/ 38735 h 63372"/>
                <a:gd name="connsiteX31" fmla="*/ 8148 w 39722"/>
                <a:gd name="connsiteY31" fmla="*/ 40513 h 63372"/>
                <a:gd name="connsiteX32" fmla="*/ 9549 w 39722"/>
                <a:gd name="connsiteY32" fmla="*/ 49911 h 63372"/>
                <a:gd name="connsiteX33" fmla="*/ 13623 w 39722"/>
                <a:gd name="connsiteY33" fmla="*/ 54991 h 63372"/>
                <a:gd name="connsiteX34" fmla="*/ 20116 w 39722"/>
                <a:gd name="connsiteY34" fmla="*/ 56515 h 6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2">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2"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80" name="Freeform 379">
              <a:extLst>
                <a:ext uri="{FF2B5EF4-FFF2-40B4-BE49-F238E27FC236}">
                  <a16:creationId xmlns:a16="http://schemas.microsoft.com/office/drawing/2014/main" id="{E86C43EB-1958-B308-DB65-2614674A1CEB}"/>
                </a:ext>
              </a:extLst>
            </p:cNvPr>
            <p:cNvSpPr/>
            <p:nvPr/>
          </p:nvSpPr>
          <p:spPr>
            <a:xfrm>
              <a:off x="2292054"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81" name="Freeform 380">
              <a:extLst>
                <a:ext uri="{FF2B5EF4-FFF2-40B4-BE49-F238E27FC236}">
                  <a16:creationId xmlns:a16="http://schemas.microsoft.com/office/drawing/2014/main" id="{61319555-9221-89BA-3336-87AD6D743E81}"/>
                </a:ext>
              </a:extLst>
            </p:cNvPr>
            <p:cNvSpPr/>
            <p:nvPr/>
          </p:nvSpPr>
          <p:spPr>
            <a:xfrm>
              <a:off x="2337505"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5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5"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82" name="Freeform 381">
              <a:extLst>
                <a:ext uri="{FF2B5EF4-FFF2-40B4-BE49-F238E27FC236}">
                  <a16:creationId xmlns:a16="http://schemas.microsoft.com/office/drawing/2014/main" id="{77D144A4-73A8-DDD9-F380-7FDFECE78D92}"/>
                </a:ext>
              </a:extLst>
            </p:cNvPr>
            <p:cNvSpPr/>
            <p:nvPr/>
          </p:nvSpPr>
          <p:spPr>
            <a:xfrm>
              <a:off x="2382065"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83" name="Freeform 382">
              <a:extLst>
                <a:ext uri="{FF2B5EF4-FFF2-40B4-BE49-F238E27FC236}">
                  <a16:creationId xmlns:a16="http://schemas.microsoft.com/office/drawing/2014/main" id="{73433527-6623-D4CA-AC1F-00F1C3253865}"/>
                </a:ext>
              </a:extLst>
            </p:cNvPr>
            <p:cNvSpPr/>
            <p:nvPr/>
          </p:nvSpPr>
          <p:spPr>
            <a:xfrm>
              <a:off x="2447632"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2"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4" name="Freeform 383">
              <a:extLst>
                <a:ext uri="{FF2B5EF4-FFF2-40B4-BE49-F238E27FC236}">
                  <a16:creationId xmlns:a16="http://schemas.microsoft.com/office/drawing/2014/main" id="{EA3E412B-6044-00B9-2D7B-C07B0A050CDA}"/>
                </a:ext>
              </a:extLst>
            </p:cNvPr>
            <p:cNvSpPr/>
            <p:nvPr/>
          </p:nvSpPr>
          <p:spPr>
            <a:xfrm>
              <a:off x="2497157"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5" name="Freeform 384">
              <a:extLst>
                <a:ext uri="{FF2B5EF4-FFF2-40B4-BE49-F238E27FC236}">
                  <a16:creationId xmlns:a16="http://schemas.microsoft.com/office/drawing/2014/main" id="{5756796B-01E3-6549-74D2-A05EF8EF5427}"/>
                </a:ext>
              </a:extLst>
            </p:cNvPr>
            <p:cNvSpPr/>
            <p:nvPr/>
          </p:nvSpPr>
          <p:spPr>
            <a:xfrm>
              <a:off x="254528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6" name="Freeform 385">
              <a:extLst>
                <a:ext uri="{FF2B5EF4-FFF2-40B4-BE49-F238E27FC236}">
                  <a16:creationId xmlns:a16="http://schemas.microsoft.com/office/drawing/2014/main" id="{DD6DE1EE-DD4D-0765-9097-19E339EB986D}"/>
                </a:ext>
              </a:extLst>
            </p:cNvPr>
            <p:cNvSpPr/>
            <p:nvPr/>
          </p:nvSpPr>
          <p:spPr>
            <a:xfrm>
              <a:off x="2563615" y="1599946"/>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6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7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7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6" y="0"/>
                    <a:pt x="21643" y="0"/>
                  </a:cubicBezTo>
                  <a:cubicBezTo>
                    <a:pt x="24572" y="0"/>
                    <a:pt x="27118" y="635"/>
                    <a:pt x="29282" y="1778"/>
                  </a:cubicBezTo>
                  <a:cubicBezTo>
                    <a:pt x="31447"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9" y="7366"/>
                    <a:pt x="49780" y="7112"/>
                  </a:cubicBezTo>
                  <a:cubicBezTo>
                    <a:pt x="48761" y="6858"/>
                    <a:pt x="47616" y="6731"/>
                    <a:pt x="46342" y="6731"/>
                  </a:cubicBezTo>
                  <a:cubicBezTo>
                    <a:pt x="44305"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7" name="Freeform 386">
              <a:extLst>
                <a:ext uri="{FF2B5EF4-FFF2-40B4-BE49-F238E27FC236}">
                  <a16:creationId xmlns:a16="http://schemas.microsoft.com/office/drawing/2014/main" id="{9ED7E566-E9AF-76D6-99A4-90E3AA4D9EA0}"/>
                </a:ext>
              </a:extLst>
            </p:cNvPr>
            <p:cNvSpPr/>
            <p:nvPr/>
          </p:nvSpPr>
          <p:spPr>
            <a:xfrm>
              <a:off x="2634148"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5 w 43668"/>
                <a:gd name="connsiteY17" fmla="*/ 14478 h 47497"/>
                <a:gd name="connsiteX18" fmla="*/ 2165 w 43668"/>
                <a:gd name="connsiteY18" fmla="*/ 13589 h 47497"/>
                <a:gd name="connsiteX19" fmla="*/ 2165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6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4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3" y="2794"/>
                    <a:pt x="34502" y="4318"/>
                    <a:pt x="35776"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5"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3"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4" y="32004"/>
                    <a:pt x="7894" y="34417"/>
                  </a:cubicBezTo>
                  <a:cubicBezTo>
                    <a:pt x="7894" y="35941"/>
                    <a:pt x="8276" y="37211"/>
                    <a:pt x="8912" y="38227"/>
                  </a:cubicBezTo>
                  <a:cubicBezTo>
                    <a:pt x="9549" y="39243"/>
                    <a:pt x="10567" y="39878"/>
                    <a:pt x="11840" y="40386"/>
                  </a:cubicBezTo>
                  <a:cubicBezTo>
                    <a:pt x="13114"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8" name="Freeform 387">
              <a:extLst>
                <a:ext uri="{FF2B5EF4-FFF2-40B4-BE49-F238E27FC236}">
                  <a16:creationId xmlns:a16="http://schemas.microsoft.com/office/drawing/2014/main" id="{AD7C37F6-19D1-C740-2512-D0256FA885CF}"/>
                </a:ext>
              </a:extLst>
            </p:cNvPr>
            <p:cNvSpPr/>
            <p:nvPr/>
          </p:nvSpPr>
          <p:spPr>
            <a:xfrm>
              <a:off x="2684182"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9" name="Freeform 388">
              <a:extLst>
                <a:ext uri="{FF2B5EF4-FFF2-40B4-BE49-F238E27FC236}">
                  <a16:creationId xmlns:a16="http://schemas.microsoft.com/office/drawing/2014/main" id="{AA1FF330-6542-3614-6E25-88024021A593}"/>
                </a:ext>
              </a:extLst>
            </p:cNvPr>
            <p:cNvSpPr/>
            <p:nvPr/>
          </p:nvSpPr>
          <p:spPr>
            <a:xfrm>
              <a:off x="2721740"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90" name="Freeform 389">
              <a:extLst>
                <a:ext uri="{FF2B5EF4-FFF2-40B4-BE49-F238E27FC236}">
                  <a16:creationId xmlns:a16="http://schemas.microsoft.com/office/drawing/2014/main" id="{9FB48D22-1273-354A-2F3A-5FEE0CB671F3}"/>
                </a:ext>
              </a:extLst>
            </p:cNvPr>
            <p:cNvSpPr/>
            <p:nvPr/>
          </p:nvSpPr>
          <p:spPr>
            <a:xfrm>
              <a:off x="2766682" y="1599946"/>
              <a:ext cx="37557" cy="47624"/>
            </a:xfrm>
            <a:custGeom>
              <a:avLst/>
              <a:gdLst>
                <a:gd name="connsiteX0" fmla="*/ 18842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4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2" y="47244"/>
                  </a:moveTo>
                  <a:cubicBezTo>
                    <a:pt x="15787" y="47244"/>
                    <a:pt x="12986" y="46990"/>
                    <a:pt x="10694" y="46355"/>
                  </a:cubicBezTo>
                  <a:cubicBezTo>
                    <a:pt x="8276"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4" y="18034"/>
                  </a:cubicBezTo>
                  <a:cubicBezTo>
                    <a:pt x="1782" y="16510"/>
                    <a:pt x="1273" y="14732"/>
                    <a:pt x="1273" y="12446"/>
                  </a:cubicBezTo>
                  <a:cubicBezTo>
                    <a:pt x="1273" y="10414"/>
                    <a:pt x="1655" y="8636"/>
                    <a:pt x="2546" y="7112"/>
                  </a:cubicBezTo>
                  <a:cubicBezTo>
                    <a:pt x="3438" y="5588"/>
                    <a:pt x="4583" y="4191"/>
                    <a:pt x="6111" y="3175"/>
                  </a:cubicBezTo>
                  <a:cubicBezTo>
                    <a:pt x="7639" y="2032"/>
                    <a:pt x="9549" y="1270"/>
                    <a:pt x="11713" y="762"/>
                  </a:cubicBezTo>
                  <a:cubicBezTo>
                    <a:pt x="13877" y="254"/>
                    <a:pt x="16424" y="0"/>
                    <a:pt x="19097" y="0"/>
                  </a:cubicBezTo>
                  <a:cubicBezTo>
                    <a:pt x="22025" y="0"/>
                    <a:pt x="24444" y="254"/>
                    <a:pt x="26609" y="889"/>
                  </a:cubicBezTo>
                  <a:cubicBezTo>
                    <a:pt x="28773" y="1524"/>
                    <a:pt x="30556"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7"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6"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91" name="Freeform 390">
              <a:extLst>
                <a:ext uri="{FF2B5EF4-FFF2-40B4-BE49-F238E27FC236}">
                  <a16:creationId xmlns:a16="http://schemas.microsoft.com/office/drawing/2014/main" id="{D818929D-60B3-9670-13AA-759B7676CFE0}"/>
                </a:ext>
              </a:extLst>
            </p:cNvPr>
            <p:cNvSpPr/>
            <p:nvPr/>
          </p:nvSpPr>
          <p:spPr>
            <a:xfrm>
              <a:off x="2810478" y="1599819"/>
              <a:ext cx="40486" cy="47370"/>
            </a:xfrm>
            <a:custGeom>
              <a:avLst/>
              <a:gdLst>
                <a:gd name="connsiteX0" fmla="*/ 20752 w 40486"/>
                <a:gd name="connsiteY0" fmla="*/ 47371 h 47370"/>
                <a:gd name="connsiteX1" fmla="*/ 9421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1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1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0 w 40486"/>
                <a:gd name="connsiteY22" fmla="*/ 46101 h 47370"/>
                <a:gd name="connsiteX23" fmla="*/ 20625 w 40486"/>
                <a:gd name="connsiteY23" fmla="*/ 47371 h 47370"/>
                <a:gd name="connsiteX24" fmla="*/ 8021 w 40486"/>
                <a:gd name="connsiteY24" fmla="*/ 19939 h 47370"/>
                <a:gd name="connsiteX25" fmla="*/ 32592 w 40486"/>
                <a:gd name="connsiteY25" fmla="*/ 19939 h 47370"/>
                <a:gd name="connsiteX26" fmla="*/ 31701 w 40486"/>
                <a:gd name="connsiteY26" fmla="*/ 13589 h 47370"/>
                <a:gd name="connsiteX27" fmla="*/ 29282 w 40486"/>
                <a:gd name="connsiteY27" fmla="*/ 9398 h 47370"/>
                <a:gd name="connsiteX28" fmla="*/ 25590 w 40486"/>
                <a:gd name="connsiteY28" fmla="*/ 6985 h 47370"/>
                <a:gd name="connsiteX29" fmla="*/ 20752 w 40486"/>
                <a:gd name="connsiteY29" fmla="*/ 6223 h 47370"/>
                <a:gd name="connsiteX30" fmla="*/ 14005 w 40486"/>
                <a:gd name="connsiteY30" fmla="*/ 7747 h 47370"/>
                <a:gd name="connsiteX31" fmla="*/ 9803 w 40486"/>
                <a:gd name="connsiteY31" fmla="*/ 12192 h 47370"/>
                <a:gd name="connsiteX32" fmla="*/ 8021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92" name="Freeform 391">
              <a:extLst>
                <a:ext uri="{FF2B5EF4-FFF2-40B4-BE49-F238E27FC236}">
                  <a16:creationId xmlns:a16="http://schemas.microsoft.com/office/drawing/2014/main" id="{7860F635-8813-C853-8BBF-A4E1FC9338CB}"/>
                </a:ext>
              </a:extLst>
            </p:cNvPr>
            <p:cNvSpPr/>
            <p:nvPr/>
          </p:nvSpPr>
          <p:spPr>
            <a:xfrm>
              <a:off x="2878973"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3" name="Freeform 392">
              <a:extLst>
                <a:ext uri="{FF2B5EF4-FFF2-40B4-BE49-F238E27FC236}">
                  <a16:creationId xmlns:a16="http://schemas.microsoft.com/office/drawing/2014/main" id="{E0ECC5A3-B13F-ADCF-8CAD-80D027FEE53B}"/>
                </a:ext>
              </a:extLst>
            </p:cNvPr>
            <p:cNvSpPr/>
            <p:nvPr/>
          </p:nvSpPr>
          <p:spPr>
            <a:xfrm>
              <a:off x="2896924"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3" y="4445"/>
                    <a:pt x="11840" y="3302"/>
                  </a:cubicBezTo>
                  <a:cubicBezTo>
                    <a:pt x="13368" y="2159"/>
                    <a:pt x="15023" y="1270"/>
                    <a:pt x="16933" y="762"/>
                  </a:cubicBezTo>
                  <a:cubicBezTo>
                    <a:pt x="18843" y="254"/>
                    <a:pt x="20752" y="0"/>
                    <a:pt x="22917" y="0"/>
                  </a:cubicBezTo>
                  <a:cubicBezTo>
                    <a:pt x="25845" y="0"/>
                    <a:pt x="28264" y="508"/>
                    <a:pt x="30428" y="1524"/>
                  </a:cubicBezTo>
                  <a:cubicBezTo>
                    <a:pt x="32593"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94" name="Freeform 393">
              <a:extLst>
                <a:ext uri="{FF2B5EF4-FFF2-40B4-BE49-F238E27FC236}">
                  <a16:creationId xmlns:a16="http://schemas.microsoft.com/office/drawing/2014/main" id="{68041686-B396-5313-C092-6594505DE2FC}"/>
                </a:ext>
              </a:extLst>
            </p:cNvPr>
            <p:cNvSpPr/>
            <p:nvPr/>
          </p:nvSpPr>
          <p:spPr>
            <a:xfrm>
              <a:off x="2960327" y="1587119"/>
              <a:ext cx="49015" cy="59054"/>
            </a:xfrm>
            <a:custGeom>
              <a:avLst/>
              <a:gdLst>
                <a:gd name="connsiteX0" fmla="*/ 20243 w 49015"/>
                <a:gd name="connsiteY0" fmla="*/ 59055 h 59054"/>
                <a:gd name="connsiteX1" fmla="*/ 20243 w 49015"/>
                <a:gd name="connsiteY1" fmla="*/ 7112 h 59054"/>
                <a:gd name="connsiteX2" fmla="*/ 0 w 49015"/>
                <a:gd name="connsiteY2" fmla="*/ 7112 h 59054"/>
                <a:gd name="connsiteX3" fmla="*/ 0 w 49015"/>
                <a:gd name="connsiteY3" fmla="*/ 0 h 59054"/>
                <a:gd name="connsiteX4" fmla="*/ 49016 w 49015"/>
                <a:gd name="connsiteY4" fmla="*/ 0 h 59054"/>
                <a:gd name="connsiteX5" fmla="*/ 49016 w 49015"/>
                <a:gd name="connsiteY5" fmla="*/ 7112 h 59054"/>
                <a:gd name="connsiteX6" fmla="*/ 28518 w 49015"/>
                <a:gd name="connsiteY6" fmla="*/ 7112 h 59054"/>
                <a:gd name="connsiteX7" fmla="*/ 28518 w 49015"/>
                <a:gd name="connsiteY7" fmla="*/ 59055 h 59054"/>
                <a:gd name="connsiteX8" fmla="*/ 20370 w 49015"/>
                <a:gd name="connsiteY8" fmla="*/ 59055 h 5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15" h="59054">
                  <a:moveTo>
                    <a:pt x="20243" y="59055"/>
                  </a:moveTo>
                  <a:lnTo>
                    <a:pt x="20243" y="7112"/>
                  </a:lnTo>
                  <a:lnTo>
                    <a:pt x="0" y="7112"/>
                  </a:lnTo>
                  <a:lnTo>
                    <a:pt x="0" y="0"/>
                  </a:lnTo>
                  <a:lnTo>
                    <a:pt x="49016" y="0"/>
                  </a:lnTo>
                  <a:lnTo>
                    <a:pt x="49016" y="7112"/>
                  </a:lnTo>
                  <a:lnTo>
                    <a:pt x="28518" y="7112"/>
                  </a:lnTo>
                  <a:lnTo>
                    <a:pt x="28518" y="59055"/>
                  </a:lnTo>
                  <a:lnTo>
                    <a:pt x="20370" y="59055"/>
                  </a:lnTo>
                  <a:close/>
                </a:path>
              </a:pathLst>
            </a:custGeom>
            <a:solidFill>
              <a:srgbClr val="1D4966"/>
            </a:solidFill>
            <a:ln w="0" cap="flat">
              <a:noFill/>
              <a:prstDash val="solid"/>
              <a:miter/>
            </a:ln>
          </p:spPr>
          <p:txBody>
            <a:bodyPr rtlCol="0" anchor="ctr"/>
            <a:lstStyle/>
            <a:p>
              <a:endParaRPr lang="en-AD" sz="2400"/>
            </a:p>
          </p:txBody>
        </p:sp>
        <p:sp>
          <p:nvSpPr>
            <p:cNvPr id="395" name="Freeform 394">
              <a:extLst>
                <a:ext uri="{FF2B5EF4-FFF2-40B4-BE49-F238E27FC236}">
                  <a16:creationId xmlns:a16="http://schemas.microsoft.com/office/drawing/2014/main" id="{D2DA8412-D247-4D0F-CD93-E45FFB4E7E36}"/>
                </a:ext>
              </a:extLst>
            </p:cNvPr>
            <p:cNvSpPr/>
            <p:nvPr/>
          </p:nvSpPr>
          <p:spPr>
            <a:xfrm>
              <a:off x="300590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96" name="Freeform 395">
              <a:extLst>
                <a:ext uri="{FF2B5EF4-FFF2-40B4-BE49-F238E27FC236}">
                  <a16:creationId xmlns:a16="http://schemas.microsoft.com/office/drawing/2014/main" id="{89AE9E0D-90FF-4159-8305-E635EE51F967}"/>
                </a:ext>
              </a:extLst>
            </p:cNvPr>
            <p:cNvSpPr/>
            <p:nvPr/>
          </p:nvSpPr>
          <p:spPr>
            <a:xfrm>
              <a:off x="3050211" y="1600835"/>
              <a:ext cx="42013" cy="45338"/>
            </a:xfrm>
            <a:custGeom>
              <a:avLst/>
              <a:gdLst>
                <a:gd name="connsiteX0" fmla="*/ 0 w 42013"/>
                <a:gd name="connsiteY0" fmla="*/ 45339 h 45338"/>
                <a:gd name="connsiteX1" fmla="*/ 16296 w 42013"/>
                <a:gd name="connsiteY1" fmla="*/ 22098 h 45338"/>
                <a:gd name="connsiteX2" fmla="*/ 764 w 42013"/>
                <a:gd name="connsiteY2" fmla="*/ 0 h 45338"/>
                <a:gd name="connsiteX3" fmla="*/ 9931 w 42013"/>
                <a:gd name="connsiteY3" fmla="*/ 0 h 45338"/>
                <a:gd name="connsiteX4" fmla="*/ 21007 w 42013"/>
                <a:gd name="connsiteY4" fmla="*/ 16256 h 45338"/>
                <a:gd name="connsiteX5" fmla="*/ 21389 w 42013"/>
                <a:gd name="connsiteY5" fmla="*/ 16256 h 45338"/>
                <a:gd name="connsiteX6" fmla="*/ 32465 w 42013"/>
                <a:gd name="connsiteY6" fmla="*/ 0 h 45338"/>
                <a:gd name="connsiteX7" fmla="*/ 41122 w 42013"/>
                <a:gd name="connsiteY7" fmla="*/ 0 h 45338"/>
                <a:gd name="connsiteX8" fmla="*/ 25590 w 42013"/>
                <a:gd name="connsiteY8" fmla="*/ 21844 h 45338"/>
                <a:gd name="connsiteX9" fmla="*/ 42014 w 42013"/>
                <a:gd name="connsiteY9" fmla="*/ 45339 h 45338"/>
                <a:gd name="connsiteX10" fmla="*/ 32974 w 42013"/>
                <a:gd name="connsiteY10" fmla="*/ 45339 h 45338"/>
                <a:gd name="connsiteX11" fmla="*/ 21007 w 42013"/>
                <a:gd name="connsiteY11" fmla="*/ 27813 h 45338"/>
                <a:gd name="connsiteX12" fmla="*/ 20625 w 42013"/>
                <a:gd name="connsiteY12" fmla="*/ 27813 h 45338"/>
                <a:gd name="connsiteX13" fmla="*/ 8657 w 42013"/>
                <a:gd name="connsiteY13" fmla="*/ 45339 h 45338"/>
                <a:gd name="connsiteX14" fmla="*/ 0 w 42013"/>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3" h="45338">
                  <a:moveTo>
                    <a:pt x="0" y="45339"/>
                  </a:moveTo>
                  <a:lnTo>
                    <a:pt x="16296" y="22098"/>
                  </a:lnTo>
                  <a:lnTo>
                    <a:pt x="764" y="0"/>
                  </a:lnTo>
                  <a:lnTo>
                    <a:pt x="9931" y="0"/>
                  </a:lnTo>
                  <a:lnTo>
                    <a:pt x="21007" y="16256"/>
                  </a:lnTo>
                  <a:lnTo>
                    <a:pt x="21389" y="16256"/>
                  </a:lnTo>
                  <a:lnTo>
                    <a:pt x="32465" y="0"/>
                  </a:lnTo>
                  <a:lnTo>
                    <a:pt x="41122" y="0"/>
                  </a:lnTo>
                  <a:lnTo>
                    <a:pt x="25590" y="21844"/>
                  </a:lnTo>
                  <a:lnTo>
                    <a:pt x="42014" y="45339"/>
                  </a:lnTo>
                  <a:lnTo>
                    <a:pt x="32974" y="45339"/>
                  </a:lnTo>
                  <a:lnTo>
                    <a:pt x="21007" y="27813"/>
                  </a:lnTo>
                  <a:lnTo>
                    <a:pt x="20625" y="27813"/>
                  </a:lnTo>
                  <a:lnTo>
                    <a:pt x="8657" y="45339"/>
                  </a:lnTo>
                  <a:lnTo>
                    <a:pt x="0" y="45339"/>
                  </a:lnTo>
                  <a:close/>
                </a:path>
              </a:pathLst>
            </a:custGeom>
            <a:solidFill>
              <a:srgbClr val="1D4966"/>
            </a:solidFill>
            <a:ln w="0" cap="flat">
              <a:noFill/>
              <a:prstDash val="solid"/>
              <a:miter/>
            </a:ln>
          </p:spPr>
          <p:txBody>
            <a:bodyPr rtlCol="0" anchor="ctr"/>
            <a:lstStyle/>
            <a:p>
              <a:endParaRPr lang="en-AD" sz="2400"/>
            </a:p>
          </p:txBody>
        </p:sp>
        <p:sp>
          <p:nvSpPr>
            <p:cNvPr id="397" name="Freeform 396">
              <a:extLst>
                <a:ext uri="{FF2B5EF4-FFF2-40B4-BE49-F238E27FC236}">
                  <a16:creationId xmlns:a16="http://schemas.microsoft.com/office/drawing/2014/main" id="{AE738815-13A7-292F-4D47-EF403F61B05A}"/>
                </a:ext>
              </a:extLst>
            </p:cNvPr>
            <p:cNvSpPr/>
            <p:nvPr/>
          </p:nvSpPr>
          <p:spPr>
            <a:xfrm>
              <a:off x="309897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8" name="Freeform 397">
              <a:extLst>
                <a:ext uri="{FF2B5EF4-FFF2-40B4-BE49-F238E27FC236}">
                  <a16:creationId xmlns:a16="http://schemas.microsoft.com/office/drawing/2014/main" id="{9623E925-E069-1F94-7936-70CF80337AE7}"/>
                </a:ext>
              </a:extLst>
            </p:cNvPr>
            <p:cNvSpPr/>
            <p:nvPr/>
          </p:nvSpPr>
          <p:spPr>
            <a:xfrm>
              <a:off x="3114887"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6"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99" name="Freeform 398">
              <a:extLst>
                <a:ext uri="{FF2B5EF4-FFF2-40B4-BE49-F238E27FC236}">
                  <a16:creationId xmlns:a16="http://schemas.microsoft.com/office/drawing/2014/main" id="{3E14810C-7F6F-547B-4D9F-10013843C4C8}"/>
                </a:ext>
              </a:extLst>
            </p:cNvPr>
            <p:cNvSpPr/>
            <p:nvPr/>
          </p:nvSpPr>
          <p:spPr>
            <a:xfrm>
              <a:off x="3159574"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0" name="Freeform 399">
              <a:extLst>
                <a:ext uri="{FF2B5EF4-FFF2-40B4-BE49-F238E27FC236}">
                  <a16:creationId xmlns:a16="http://schemas.microsoft.com/office/drawing/2014/main" id="{E8B491E6-5E2A-9026-000E-A5F746F79AE8}"/>
                </a:ext>
              </a:extLst>
            </p:cNvPr>
            <p:cNvSpPr/>
            <p:nvPr/>
          </p:nvSpPr>
          <p:spPr>
            <a:xfrm>
              <a:off x="3210500"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401" name="Freeform 400">
              <a:extLst>
                <a:ext uri="{FF2B5EF4-FFF2-40B4-BE49-F238E27FC236}">
                  <a16:creationId xmlns:a16="http://schemas.microsoft.com/office/drawing/2014/main" id="{E254A83A-4932-3AC2-1F85-DEF928214ECB}"/>
                </a:ext>
              </a:extLst>
            </p:cNvPr>
            <p:cNvSpPr/>
            <p:nvPr/>
          </p:nvSpPr>
          <p:spPr>
            <a:xfrm>
              <a:off x="322679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2" name="Freeform 401">
              <a:extLst>
                <a:ext uri="{FF2B5EF4-FFF2-40B4-BE49-F238E27FC236}">
                  <a16:creationId xmlns:a16="http://schemas.microsoft.com/office/drawing/2014/main" id="{F1DF24B5-832F-3663-D118-86214535AD68}"/>
                </a:ext>
              </a:extLst>
            </p:cNvPr>
            <p:cNvSpPr/>
            <p:nvPr/>
          </p:nvSpPr>
          <p:spPr>
            <a:xfrm>
              <a:off x="3272757" y="1593341"/>
              <a:ext cx="45960" cy="68580"/>
            </a:xfrm>
            <a:custGeom>
              <a:avLst/>
              <a:gdLst>
                <a:gd name="connsiteX0" fmla="*/ 12222 w 45960"/>
                <a:gd name="connsiteY0" fmla="*/ 68580 h 68580"/>
                <a:gd name="connsiteX1" fmla="*/ 6111 w 45960"/>
                <a:gd name="connsiteY1" fmla="*/ 67183 h 68580"/>
                <a:gd name="connsiteX2" fmla="*/ 1655 w 45960"/>
                <a:gd name="connsiteY2" fmla="*/ 63373 h 68580"/>
                <a:gd name="connsiteX3" fmla="*/ 0 w 45960"/>
                <a:gd name="connsiteY3" fmla="*/ 57404 h 68580"/>
                <a:gd name="connsiteX4" fmla="*/ 2164 w 45960"/>
                <a:gd name="connsiteY4" fmla="*/ 51054 h 68580"/>
                <a:gd name="connsiteX5" fmla="*/ 7257 w 45960"/>
                <a:gd name="connsiteY5" fmla="*/ 47371 h 68580"/>
                <a:gd name="connsiteX6" fmla="*/ 3947 w 45960"/>
                <a:gd name="connsiteY6" fmla="*/ 44450 h 68580"/>
                <a:gd name="connsiteX7" fmla="*/ 2673 w 45960"/>
                <a:gd name="connsiteY7" fmla="*/ 40386 h 68580"/>
                <a:gd name="connsiteX8" fmla="*/ 4838 w 45960"/>
                <a:gd name="connsiteY8" fmla="*/ 35306 h 68580"/>
                <a:gd name="connsiteX9" fmla="*/ 10185 w 45960"/>
                <a:gd name="connsiteY9" fmla="*/ 32512 h 68580"/>
                <a:gd name="connsiteX10" fmla="*/ 5602 w 45960"/>
                <a:gd name="connsiteY10" fmla="*/ 27686 h 68580"/>
                <a:gd name="connsiteX11" fmla="*/ 3947 w 45960"/>
                <a:gd name="connsiteY11" fmla="*/ 21082 h 68580"/>
                <a:gd name="connsiteX12" fmla="*/ 5984 w 45960"/>
                <a:gd name="connsiteY12" fmla="*/ 13462 h 68580"/>
                <a:gd name="connsiteX13" fmla="*/ 12222 w 45960"/>
                <a:gd name="connsiteY13" fmla="*/ 8255 h 68580"/>
                <a:gd name="connsiteX14" fmla="*/ 22407 w 45960"/>
                <a:gd name="connsiteY14" fmla="*/ 6350 h 68580"/>
                <a:gd name="connsiteX15" fmla="*/ 27627 w 45960"/>
                <a:gd name="connsiteY15" fmla="*/ 6731 h 68580"/>
                <a:gd name="connsiteX16" fmla="*/ 31956 w 45960"/>
                <a:gd name="connsiteY16" fmla="*/ 8001 h 68580"/>
                <a:gd name="connsiteX17" fmla="*/ 36539 w 45960"/>
                <a:gd name="connsiteY17" fmla="*/ 4445 h 68580"/>
                <a:gd name="connsiteX18" fmla="*/ 38449 w 45960"/>
                <a:gd name="connsiteY18" fmla="*/ 0 h 68580"/>
                <a:gd name="connsiteX19" fmla="*/ 45960 w 45960"/>
                <a:gd name="connsiteY19" fmla="*/ 0 h 68580"/>
                <a:gd name="connsiteX20" fmla="*/ 44815 w 45960"/>
                <a:gd name="connsiteY20" fmla="*/ 4826 h 68580"/>
                <a:gd name="connsiteX21" fmla="*/ 41632 w 45960"/>
                <a:gd name="connsiteY21" fmla="*/ 8636 h 68580"/>
                <a:gd name="connsiteX22" fmla="*/ 36794 w 45960"/>
                <a:gd name="connsiteY22" fmla="*/ 10668 h 68580"/>
                <a:gd name="connsiteX23" fmla="*/ 39977 w 45960"/>
                <a:gd name="connsiteY23" fmla="*/ 15367 h 68580"/>
                <a:gd name="connsiteX24" fmla="*/ 40995 w 45960"/>
                <a:gd name="connsiteY24" fmla="*/ 20955 h 68580"/>
                <a:gd name="connsiteX25" fmla="*/ 38958 w 45960"/>
                <a:gd name="connsiteY25" fmla="*/ 28575 h 68580"/>
                <a:gd name="connsiteX26" fmla="*/ 32847 w 45960"/>
                <a:gd name="connsiteY26" fmla="*/ 33782 h 68580"/>
                <a:gd name="connsiteX27" fmla="*/ 22662 w 45960"/>
                <a:gd name="connsiteY27" fmla="*/ 35687 h 68580"/>
                <a:gd name="connsiteX28" fmla="*/ 15532 w 45960"/>
                <a:gd name="connsiteY28" fmla="*/ 35687 h 68580"/>
                <a:gd name="connsiteX29" fmla="*/ 11713 w 45960"/>
                <a:gd name="connsiteY29" fmla="*/ 36576 h 68580"/>
                <a:gd name="connsiteX30" fmla="*/ 10185 w 45960"/>
                <a:gd name="connsiteY30" fmla="*/ 39497 h 68580"/>
                <a:gd name="connsiteX31" fmla="*/ 11713 w 45960"/>
                <a:gd name="connsiteY31" fmla="*/ 42291 h 68580"/>
                <a:gd name="connsiteX32" fmla="*/ 15532 w 45960"/>
                <a:gd name="connsiteY32" fmla="*/ 43307 h 68580"/>
                <a:gd name="connsiteX33" fmla="*/ 33993 w 45960"/>
                <a:gd name="connsiteY33" fmla="*/ 43307 h 68580"/>
                <a:gd name="connsiteX34" fmla="*/ 42141 w 45960"/>
                <a:gd name="connsiteY34" fmla="*/ 46609 h 68580"/>
                <a:gd name="connsiteX35" fmla="*/ 45324 w 45960"/>
                <a:gd name="connsiteY35" fmla="*/ 55118 h 68580"/>
                <a:gd name="connsiteX36" fmla="*/ 43414 w 45960"/>
                <a:gd name="connsiteY36" fmla="*/ 61849 h 68580"/>
                <a:gd name="connsiteX37" fmla="*/ 38194 w 45960"/>
                <a:gd name="connsiteY37" fmla="*/ 66548 h 68580"/>
                <a:gd name="connsiteX38" fmla="*/ 30428 w 45960"/>
                <a:gd name="connsiteY38" fmla="*/ 68326 h 68580"/>
                <a:gd name="connsiteX39" fmla="*/ 11840 w 45960"/>
                <a:gd name="connsiteY39" fmla="*/ 68326 h 68580"/>
                <a:gd name="connsiteX40" fmla="*/ 14386 w 45960"/>
                <a:gd name="connsiteY40" fmla="*/ 62738 h 68580"/>
                <a:gd name="connsiteX41" fmla="*/ 30682 w 45960"/>
                <a:gd name="connsiteY41" fmla="*/ 62738 h 68580"/>
                <a:gd name="connsiteX42" fmla="*/ 34375 w 45960"/>
                <a:gd name="connsiteY42" fmla="*/ 61976 h 68580"/>
                <a:gd name="connsiteX43" fmla="*/ 36921 w 45960"/>
                <a:gd name="connsiteY43" fmla="*/ 59690 h 68580"/>
                <a:gd name="connsiteX44" fmla="*/ 37812 w 45960"/>
                <a:gd name="connsiteY44" fmla="*/ 56515 h 68580"/>
                <a:gd name="connsiteX45" fmla="*/ 36030 w 45960"/>
                <a:gd name="connsiteY45" fmla="*/ 51816 h 68580"/>
                <a:gd name="connsiteX46" fmla="*/ 31701 w 45960"/>
                <a:gd name="connsiteY46" fmla="*/ 50038 h 68580"/>
                <a:gd name="connsiteX47" fmla="*/ 14259 w 45960"/>
                <a:gd name="connsiteY47" fmla="*/ 50038 h 68580"/>
                <a:gd name="connsiteX48" fmla="*/ 9549 w 45960"/>
                <a:gd name="connsiteY48" fmla="*/ 51943 h 68580"/>
                <a:gd name="connsiteX49" fmla="*/ 7639 w 45960"/>
                <a:gd name="connsiteY49" fmla="*/ 56515 h 68580"/>
                <a:gd name="connsiteX50" fmla="*/ 9549 w 45960"/>
                <a:gd name="connsiteY50" fmla="*/ 61087 h 68580"/>
                <a:gd name="connsiteX51" fmla="*/ 14259 w 45960"/>
                <a:gd name="connsiteY51" fmla="*/ 62865 h 68580"/>
                <a:gd name="connsiteX52" fmla="*/ 22662 w 45960"/>
                <a:gd name="connsiteY52" fmla="*/ 30226 h 68580"/>
                <a:gd name="connsiteX53" fmla="*/ 30810 w 45960"/>
                <a:gd name="connsiteY53" fmla="*/ 27813 h 68580"/>
                <a:gd name="connsiteX54" fmla="*/ 33483 w 45960"/>
                <a:gd name="connsiteY54" fmla="*/ 21209 h 68580"/>
                <a:gd name="connsiteX55" fmla="*/ 30810 w 45960"/>
                <a:gd name="connsiteY55" fmla="*/ 14605 h 68580"/>
                <a:gd name="connsiteX56" fmla="*/ 22662 w 45960"/>
                <a:gd name="connsiteY56" fmla="*/ 12192 h 68580"/>
                <a:gd name="connsiteX57" fmla="*/ 14386 w 45960"/>
                <a:gd name="connsiteY57" fmla="*/ 14605 h 68580"/>
                <a:gd name="connsiteX58" fmla="*/ 11713 w 45960"/>
                <a:gd name="connsiteY58" fmla="*/ 21209 h 68580"/>
                <a:gd name="connsiteX59" fmla="*/ 12986 w 45960"/>
                <a:gd name="connsiteY59" fmla="*/ 25908 h 68580"/>
                <a:gd name="connsiteX60" fmla="*/ 16678 w 45960"/>
                <a:gd name="connsiteY60" fmla="*/ 29083 h 68580"/>
                <a:gd name="connsiteX61" fmla="*/ 22789 w 45960"/>
                <a:gd name="connsiteY61" fmla="*/ 30226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80">
                  <a:moveTo>
                    <a:pt x="12222" y="68580"/>
                  </a:moveTo>
                  <a:cubicBezTo>
                    <a:pt x="10058" y="68580"/>
                    <a:pt x="8020"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0" y="6350"/>
                    <a:pt x="22407" y="6350"/>
                  </a:cubicBezTo>
                  <a:cubicBezTo>
                    <a:pt x="24190" y="6350"/>
                    <a:pt x="25972" y="6477"/>
                    <a:pt x="27627" y="6731"/>
                  </a:cubicBezTo>
                  <a:cubicBezTo>
                    <a:pt x="29282" y="6985"/>
                    <a:pt x="30682" y="7366"/>
                    <a:pt x="31956" y="8001"/>
                  </a:cubicBezTo>
                  <a:cubicBezTo>
                    <a:pt x="33993" y="7112"/>
                    <a:pt x="35520" y="5842"/>
                    <a:pt x="36539" y="4445"/>
                  </a:cubicBezTo>
                  <a:cubicBezTo>
                    <a:pt x="37558" y="3048"/>
                    <a:pt x="38194" y="1524"/>
                    <a:pt x="38449" y="0"/>
                  </a:cubicBezTo>
                  <a:lnTo>
                    <a:pt x="45960" y="0"/>
                  </a:lnTo>
                  <a:cubicBezTo>
                    <a:pt x="45960" y="1778"/>
                    <a:pt x="45578" y="3302"/>
                    <a:pt x="44815" y="4826"/>
                  </a:cubicBezTo>
                  <a:cubicBezTo>
                    <a:pt x="44051" y="6350"/>
                    <a:pt x="43032" y="7620"/>
                    <a:pt x="41632" y="8636"/>
                  </a:cubicBezTo>
                  <a:cubicBezTo>
                    <a:pt x="40358" y="9652"/>
                    <a:pt x="38703" y="10287"/>
                    <a:pt x="36794" y="10668"/>
                  </a:cubicBezTo>
                  <a:cubicBezTo>
                    <a:pt x="38194" y="12065"/>
                    <a:pt x="39340" y="13589"/>
                    <a:pt x="39977" y="15367"/>
                  </a:cubicBezTo>
                  <a:cubicBezTo>
                    <a:pt x="40740" y="17145"/>
                    <a:pt x="40995" y="18923"/>
                    <a:pt x="40995" y="20955"/>
                  </a:cubicBezTo>
                  <a:cubicBezTo>
                    <a:pt x="40995" y="23876"/>
                    <a:pt x="40358" y="26416"/>
                    <a:pt x="38958" y="28575"/>
                  </a:cubicBezTo>
                  <a:cubicBezTo>
                    <a:pt x="37558" y="30734"/>
                    <a:pt x="35520"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738"/>
                  </a:moveTo>
                  <a:lnTo>
                    <a:pt x="30682" y="62738"/>
                  </a:lnTo>
                  <a:cubicBezTo>
                    <a:pt x="31956" y="62738"/>
                    <a:pt x="33229" y="62484"/>
                    <a:pt x="34375" y="61976"/>
                  </a:cubicBezTo>
                  <a:cubicBezTo>
                    <a:pt x="35520" y="61468"/>
                    <a:pt x="36284" y="60706"/>
                    <a:pt x="36921" y="59690"/>
                  </a:cubicBezTo>
                  <a:cubicBezTo>
                    <a:pt x="37558" y="58674"/>
                    <a:pt x="37812" y="57658"/>
                    <a:pt x="37812" y="56515"/>
                  </a:cubicBezTo>
                  <a:cubicBezTo>
                    <a:pt x="37812" y="54610"/>
                    <a:pt x="37176" y="52959"/>
                    <a:pt x="36030" y="51816"/>
                  </a:cubicBezTo>
                  <a:cubicBezTo>
                    <a:pt x="34884" y="50673"/>
                    <a:pt x="33483" y="50038"/>
                    <a:pt x="31701" y="50038"/>
                  </a:cubicBezTo>
                  <a:lnTo>
                    <a:pt x="14259" y="50038"/>
                  </a:lnTo>
                  <a:cubicBezTo>
                    <a:pt x="12477" y="50038"/>
                    <a:pt x="10821" y="50673"/>
                    <a:pt x="9549" y="51943"/>
                  </a:cubicBezTo>
                  <a:cubicBezTo>
                    <a:pt x="8275" y="53213"/>
                    <a:pt x="7639" y="54737"/>
                    <a:pt x="7639" y="56515"/>
                  </a:cubicBezTo>
                  <a:cubicBezTo>
                    <a:pt x="7639" y="58420"/>
                    <a:pt x="8275" y="59944"/>
                    <a:pt x="9549" y="61087"/>
                  </a:cubicBezTo>
                  <a:cubicBezTo>
                    <a:pt x="10821" y="62230"/>
                    <a:pt x="12350" y="62865"/>
                    <a:pt x="14259" y="62865"/>
                  </a:cubicBezTo>
                  <a:close/>
                  <a:moveTo>
                    <a:pt x="22662" y="30226"/>
                  </a:moveTo>
                  <a:cubicBezTo>
                    <a:pt x="26354" y="30226"/>
                    <a:pt x="29028" y="29464"/>
                    <a:pt x="30810" y="27813"/>
                  </a:cubicBezTo>
                  <a:cubicBezTo>
                    <a:pt x="32592" y="26162"/>
                    <a:pt x="33483" y="24003"/>
                    <a:pt x="33483" y="21209"/>
                  </a:cubicBezTo>
                  <a:cubicBezTo>
                    <a:pt x="33483"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403" name="Freeform 402">
              <a:extLst>
                <a:ext uri="{FF2B5EF4-FFF2-40B4-BE49-F238E27FC236}">
                  <a16:creationId xmlns:a16="http://schemas.microsoft.com/office/drawing/2014/main" id="{C007ECA8-AFBC-3766-B28F-E35A9AB05652}"/>
                </a:ext>
              </a:extLst>
            </p:cNvPr>
            <p:cNvSpPr/>
            <p:nvPr/>
          </p:nvSpPr>
          <p:spPr>
            <a:xfrm>
              <a:off x="3321518" y="1600961"/>
              <a:ext cx="41122" cy="61086"/>
            </a:xfrm>
            <a:custGeom>
              <a:avLst/>
              <a:gdLst>
                <a:gd name="connsiteX0" fmla="*/ 8657 w 41122"/>
                <a:gd name="connsiteY0" fmla="*/ 60960 h 61086"/>
                <a:gd name="connsiteX1" fmla="*/ 5092 w 41122"/>
                <a:gd name="connsiteY1" fmla="*/ 60706 h 61086"/>
                <a:gd name="connsiteX2" fmla="*/ 3055 w 41122"/>
                <a:gd name="connsiteY2" fmla="*/ 60325 h 61086"/>
                <a:gd name="connsiteX3" fmla="*/ 3055 w 41122"/>
                <a:gd name="connsiteY3" fmla="*/ 54864 h 61086"/>
                <a:gd name="connsiteX4" fmla="*/ 6875 w 41122"/>
                <a:gd name="connsiteY4" fmla="*/ 54864 h 61086"/>
                <a:gd name="connsiteX5" fmla="*/ 10949 w 41122"/>
                <a:gd name="connsiteY5" fmla="*/ 53975 h 61086"/>
                <a:gd name="connsiteX6" fmla="*/ 14641 w 41122"/>
                <a:gd name="connsiteY6" fmla="*/ 51054 h 61086"/>
                <a:gd name="connsiteX7" fmla="*/ 17569 w 41122"/>
                <a:gd name="connsiteY7" fmla="*/ 45339 h 61086"/>
                <a:gd name="connsiteX8" fmla="*/ 0 w 41122"/>
                <a:gd name="connsiteY8" fmla="*/ 0 h 61086"/>
                <a:gd name="connsiteX9" fmla="*/ 7893 w 41122"/>
                <a:gd name="connsiteY9" fmla="*/ 0 h 61086"/>
                <a:gd name="connsiteX10" fmla="*/ 16933 w 41122"/>
                <a:gd name="connsiteY10" fmla="*/ 23368 h 61086"/>
                <a:gd name="connsiteX11" fmla="*/ 18333 w 41122"/>
                <a:gd name="connsiteY11" fmla="*/ 27432 h 61086"/>
                <a:gd name="connsiteX12" fmla="*/ 19988 w 41122"/>
                <a:gd name="connsiteY12" fmla="*/ 32258 h 61086"/>
                <a:gd name="connsiteX13" fmla="*/ 21389 w 41122"/>
                <a:gd name="connsiteY13" fmla="*/ 36703 h 61086"/>
                <a:gd name="connsiteX14" fmla="*/ 21898 w 41122"/>
                <a:gd name="connsiteY14" fmla="*/ 36703 h 61086"/>
                <a:gd name="connsiteX15" fmla="*/ 22789 w 41122"/>
                <a:gd name="connsiteY15" fmla="*/ 33655 h 61086"/>
                <a:gd name="connsiteX16" fmla="*/ 23808 w 41122"/>
                <a:gd name="connsiteY16" fmla="*/ 30099 h 61086"/>
                <a:gd name="connsiteX17" fmla="*/ 24954 w 41122"/>
                <a:gd name="connsiteY17" fmla="*/ 26543 h 61086"/>
                <a:gd name="connsiteX18" fmla="*/ 25845 w 41122"/>
                <a:gd name="connsiteY18" fmla="*/ 23622 h 61086"/>
                <a:gd name="connsiteX19" fmla="*/ 33484 w 41122"/>
                <a:gd name="connsiteY19" fmla="*/ 127 h 61086"/>
                <a:gd name="connsiteX20" fmla="*/ 41123 w 41122"/>
                <a:gd name="connsiteY20" fmla="*/ 127 h 61086"/>
                <a:gd name="connsiteX21" fmla="*/ 25717 w 41122"/>
                <a:gd name="connsiteY21" fmla="*/ 44196 h 61086"/>
                <a:gd name="connsiteX22" fmla="*/ 22916 w 41122"/>
                <a:gd name="connsiteY22" fmla="*/ 51054 h 61086"/>
                <a:gd name="connsiteX23" fmla="*/ 19479 w 41122"/>
                <a:gd name="connsiteY23" fmla="*/ 56388 h 61086"/>
                <a:gd name="connsiteX24" fmla="*/ 14896 w 41122"/>
                <a:gd name="connsiteY24" fmla="*/ 59817 h 61086"/>
                <a:gd name="connsiteX25" fmla="*/ 8530 w 41122"/>
                <a:gd name="connsiteY25" fmla="*/ 61087 h 6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122" h="61086">
                  <a:moveTo>
                    <a:pt x="8657" y="60960"/>
                  </a:moveTo>
                  <a:cubicBezTo>
                    <a:pt x="7257" y="60960"/>
                    <a:pt x="6111" y="60960"/>
                    <a:pt x="5092" y="60706"/>
                  </a:cubicBezTo>
                  <a:cubicBezTo>
                    <a:pt x="4074" y="60452"/>
                    <a:pt x="3437" y="60325"/>
                    <a:pt x="3055" y="60325"/>
                  </a:cubicBezTo>
                  <a:lnTo>
                    <a:pt x="3055" y="54864"/>
                  </a:lnTo>
                  <a:lnTo>
                    <a:pt x="6875" y="54864"/>
                  </a:lnTo>
                  <a:cubicBezTo>
                    <a:pt x="8275" y="54864"/>
                    <a:pt x="9549" y="54610"/>
                    <a:pt x="10949" y="53975"/>
                  </a:cubicBezTo>
                  <a:cubicBezTo>
                    <a:pt x="12222" y="53340"/>
                    <a:pt x="13495" y="52451"/>
                    <a:pt x="14641" y="51054"/>
                  </a:cubicBezTo>
                  <a:cubicBezTo>
                    <a:pt x="15787" y="49657"/>
                    <a:pt x="16806" y="47752"/>
                    <a:pt x="17569" y="45339"/>
                  </a:cubicBezTo>
                  <a:lnTo>
                    <a:pt x="0" y="0"/>
                  </a:lnTo>
                  <a:lnTo>
                    <a:pt x="7893" y="0"/>
                  </a:lnTo>
                  <a:lnTo>
                    <a:pt x="16933" y="23368"/>
                  </a:lnTo>
                  <a:cubicBezTo>
                    <a:pt x="17315" y="24511"/>
                    <a:pt x="17824" y="25781"/>
                    <a:pt x="18333" y="27432"/>
                  </a:cubicBezTo>
                  <a:cubicBezTo>
                    <a:pt x="18843" y="28956"/>
                    <a:pt x="19479" y="30607"/>
                    <a:pt x="19988" y="32258"/>
                  </a:cubicBezTo>
                  <a:cubicBezTo>
                    <a:pt x="20498" y="33909"/>
                    <a:pt x="21007" y="35433"/>
                    <a:pt x="21389" y="36703"/>
                  </a:cubicBezTo>
                  <a:lnTo>
                    <a:pt x="21898" y="36703"/>
                  </a:lnTo>
                  <a:cubicBezTo>
                    <a:pt x="22153" y="35814"/>
                    <a:pt x="22407" y="34798"/>
                    <a:pt x="22789" y="33655"/>
                  </a:cubicBezTo>
                  <a:cubicBezTo>
                    <a:pt x="23171" y="32512"/>
                    <a:pt x="23553" y="31369"/>
                    <a:pt x="23808" y="30099"/>
                  </a:cubicBezTo>
                  <a:cubicBezTo>
                    <a:pt x="24190" y="28829"/>
                    <a:pt x="24572" y="27686"/>
                    <a:pt x="24954" y="26543"/>
                  </a:cubicBezTo>
                  <a:cubicBezTo>
                    <a:pt x="25335" y="25400"/>
                    <a:pt x="25590" y="24384"/>
                    <a:pt x="25845" y="23622"/>
                  </a:cubicBezTo>
                  <a:lnTo>
                    <a:pt x="33484" y="127"/>
                  </a:lnTo>
                  <a:lnTo>
                    <a:pt x="41123" y="127"/>
                  </a:lnTo>
                  <a:lnTo>
                    <a:pt x="25717" y="44196"/>
                  </a:lnTo>
                  <a:cubicBezTo>
                    <a:pt x="24826" y="46609"/>
                    <a:pt x="23935" y="48895"/>
                    <a:pt x="22916" y="51054"/>
                  </a:cubicBezTo>
                  <a:cubicBezTo>
                    <a:pt x="21898" y="53213"/>
                    <a:pt x="20752" y="54991"/>
                    <a:pt x="19479" y="56388"/>
                  </a:cubicBezTo>
                  <a:cubicBezTo>
                    <a:pt x="18206" y="57912"/>
                    <a:pt x="16678" y="59055"/>
                    <a:pt x="14896" y="59817"/>
                  </a:cubicBezTo>
                  <a:cubicBezTo>
                    <a:pt x="13113" y="60706"/>
                    <a:pt x="10949" y="61087"/>
                    <a:pt x="8530" y="61087"/>
                  </a:cubicBezTo>
                  <a:close/>
                </a:path>
              </a:pathLst>
            </a:custGeom>
            <a:solidFill>
              <a:srgbClr val="1D4966"/>
            </a:solidFill>
            <a:ln w="0" cap="flat">
              <a:noFill/>
              <a:prstDash val="solid"/>
              <a:miter/>
            </a:ln>
          </p:spPr>
          <p:txBody>
            <a:bodyPr rtlCol="0" anchor="ctr"/>
            <a:lstStyle/>
            <a:p>
              <a:endParaRPr lang="en-AD" sz="2400"/>
            </a:p>
          </p:txBody>
        </p:sp>
        <p:sp>
          <p:nvSpPr>
            <p:cNvPr id="404" name="Freeform 403">
              <a:extLst>
                <a:ext uri="{FF2B5EF4-FFF2-40B4-BE49-F238E27FC236}">
                  <a16:creationId xmlns:a16="http://schemas.microsoft.com/office/drawing/2014/main" id="{DA9231CA-F367-22AA-85D7-17EF21812B9A}"/>
                </a:ext>
              </a:extLst>
            </p:cNvPr>
            <p:cNvSpPr/>
            <p:nvPr/>
          </p:nvSpPr>
          <p:spPr>
            <a:xfrm>
              <a:off x="3389886" y="1586991"/>
              <a:ext cx="51307" cy="59181"/>
            </a:xfrm>
            <a:custGeom>
              <a:avLst/>
              <a:gdLst>
                <a:gd name="connsiteX0" fmla="*/ 0 w 51307"/>
                <a:gd name="connsiteY0" fmla="*/ 59182 h 59181"/>
                <a:gd name="connsiteX1" fmla="*/ 0 w 51307"/>
                <a:gd name="connsiteY1" fmla="*/ 0 h 59181"/>
                <a:gd name="connsiteX2" fmla="*/ 31192 w 51307"/>
                <a:gd name="connsiteY2" fmla="*/ 0 h 59181"/>
                <a:gd name="connsiteX3" fmla="*/ 41250 w 51307"/>
                <a:gd name="connsiteY3" fmla="*/ 2159 h 59181"/>
                <a:gd name="connsiteX4" fmla="*/ 47234 w 51307"/>
                <a:gd name="connsiteY4" fmla="*/ 8255 h 59181"/>
                <a:gd name="connsiteX5" fmla="*/ 49271 w 51307"/>
                <a:gd name="connsiteY5" fmla="*/ 17272 h 59181"/>
                <a:gd name="connsiteX6" fmla="*/ 46470 w 51307"/>
                <a:gd name="connsiteY6" fmla="*/ 27813 h 59181"/>
                <a:gd name="connsiteX7" fmla="*/ 38831 w 51307"/>
                <a:gd name="connsiteY7" fmla="*/ 34163 h 59181"/>
                <a:gd name="connsiteX8" fmla="*/ 51308 w 51307"/>
                <a:gd name="connsiteY8" fmla="*/ 59182 h 59181"/>
                <a:gd name="connsiteX9" fmla="*/ 42268 w 51307"/>
                <a:gd name="connsiteY9" fmla="*/ 59182 h 59181"/>
                <a:gd name="connsiteX10" fmla="*/ 30683 w 51307"/>
                <a:gd name="connsiteY10" fmla="*/ 35687 h 59181"/>
                <a:gd name="connsiteX11" fmla="*/ 8148 w 51307"/>
                <a:gd name="connsiteY11" fmla="*/ 35687 h 59181"/>
                <a:gd name="connsiteX12" fmla="*/ 8148 w 51307"/>
                <a:gd name="connsiteY12" fmla="*/ 59182 h 59181"/>
                <a:gd name="connsiteX13" fmla="*/ 0 w 51307"/>
                <a:gd name="connsiteY13" fmla="*/ 59182 h 59181"/>
                <a:gd name="connsiteX14" fmla="*/ 8148 w 51307"/>
                <a:gd name="connsiteY14" fmla="*/ 28702 h 59181"/>
                <a:gd name="connsiteX15" fmla="*/ 30301 w 51307"/>
                <a:gd name="connsiteY15" fmla="*/ 28702 h 59181"/>
                <a:gd name="connsiteX16" fmla="*/ 38067 w 51307"/>
                <a:gd name="connsiteY16" fmla="*/ 25654 h 59181"/>
                <a:gd name="connsiteX17" fmla="*/ 40868 w 51307"/>
                <a:gd name="connsiteY17" fmla="*/ 17399 h 59181"/>
                <a:gd name="connsiteX18" fmla="*/ 39595 w 51307"/>
                <a:gd name="connsiteY18" fmla="*/ 11938 h 59181"/>
                <a:gd name="connsiteX19" fmla="*/ 36030 w 51307"/>
                <a:gd name="connsiteY19" fmla="*/ 8509 h 59181"/>
                <a:gd name="connsiteX20" fmla="*/ 30301 w 51307"/>
                <a:gd name="connsiteY20" fmla="*/ 7239 h 59181"/>
                <a:gd name="connsiteX21" fmla="*/ 8148 w 51307"/>
                <a:gd name="connsiteY21" fmla="*/ 7239 h 59181"/>
                <a:gd name="connsiteX22" fmla="*/ 8148 w 51307"/>
                <a:gd name="connsiteY22" fmla="*/ 28829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07" h="59181">
                  <a:moveTo>
                    <a:pt x="0" y="59182"/>
                  </a:moveTo>
                  <a:lnTo>
                    <a:pt x="0" y="0"/>
                  </a:lnTo>
                  <a:lnTo>
                    <a:pt x="31192" y="0"/>
                  </a:lnTo>
                  <a:cubicBezTo>
                    <a:pt x="35266" y="0"/>
                    <a:pt x="38576" y="762"/>
                    <a:pt x="41250" y="2159"/>
                  </a:cubicBezTo>
                  <a:cubicBezTo>
                    <a:pt x="43924" y="3556"/>
                    <a:pt x="45961" y="5715"/>
                    <a:pt x="47234" y="8255"/>
                  </a:cubicBezTo>
                  <a:cubicBezTo>
                    <a:pt x="48507" y="10922"/>
                    <a:pt x="49271" y="13843"/>
                    <a:pt x="49271" y="17272"/>
                  </a:cubicBezTo>
                  <a:cubicBezTo>
                    <a:pt x="49271" y="21336"/>
                    <a:pt x="48380" y="24892"/>
                    <a:pt x="46470" y="27813"/>
                  </a:cubicBezTo>
                  <a:cubicBezTo>
                    <a:pt x="44687" y="30734"/>
                    <a:pt x="42141" y="32893"/>
                    <a:pt x="38831" y="34163"/>
                  </a:cubicBezTo>
                  <a:lnTo>
                    <a:pt x="51308" y="59182"/>
                  </a:lnTo>
                  <a:lnTo>
                    <a:pt x="42268" y="59182"/>
                  </a:lnTo>
                  <a:lnTo>
                    <a:pt x="30683" y="35687"/>
                  </a:lnTo>
                  <a:lnTo>
                    <a:pt x="8148" y="35687"/>
                  </a:lnTo>
                  <a:lnTo>
                    <a:pt x="8148" y="59182"/>
                  </a:lnTo>
                  <a:lnTo>
                    <a:pt x="0" y="59182"/>
                  </a:lnTo>
                  <a:close/>
                  <a:moveTo>
                    <a:pt x="8148" y="28702"/>
                  </a:moveTo>
                  <a:lnTo>
                    <a:pt x="30301" y="28702"/>
                  </a:lnTo>
                  <a:cubicBezTo>
                    <a:pt x="33611" y="28702"/>
                    <a:pt x="36157" y="27686"/>
                    <a:pt x="38067" y="25654"/>
                  </a:cubicBezTo>
                  <a:cubicBezTo>
                    <a:pt x="39977" y="23622"/>
                    <a:pt x="40868" y="20828"/>
                    <a:pt x="40868" y="17399"/>
                  </a:cubicBezTo>
                  <a:cubicBezTo>
                    <a:pt x="40868" y="15240"/>
                    <a:pt x="40486" y="13335"/>
                    <a:pt x="39595" y="11938"/>
                  </a:cubicBezTo>
                  <a:cubicBezTo>
                    <a:pt x="38831" y="10414"/>
                    <a:pt x="37558" y="9271"/>
                    <a:pt x="36030" y="8509"/>
                  </a:cubicBezTo>
                  <a:cubicBezTo>
                    <a:pt x="34502" y="7620"/>
                    <a:pt x="32592" y="7239"/>
                    <a:pt x="30301" y="7239"/>
                  </a:cubicBezTo>
                  <a:lnTo>
                    <a:pt x="8148" y="7239"/>
                  </a:lnTo>
                  <a:lnTo>
                    <a:pt x="8148" y="28829"/>
                  </a:lnTo>
                  <a:close/>
                </a:path>
              </a:pathLst>
            </a:custGeom>
            <a:solidFill>
              <a:srgbClr val="1D4966"/>
            </a:solidFill>
            <a:ln w="0" cap="flat">
              <a:noFill/>
              <a:prstDash val="solid"/>
              <a:miter/>
            </a:ln>
          </p:spPr>
          <p:txBody>
            <a:bodyPr rtlCol="0" anchor="ctr"/>
            <a:lstStyle/>
            <a:p>
              <a:endParaRPr lang="en-AD" sz="2400"/>
            </a:p>
          </p:txBody>
        </p:sp>
        <p:sp>
          <p:nvSpPr>
            <p:cNvPr id="405" name="Freeform 404">
              <a:extLst>
                <a:ext uri="{FF2B5EF4-FFF2-40B4-BE49-F238E27FC236}">
                  <a16:creationId xmlns:a16="http://schemas.microsoft.com/office/drawing/2014/main" id="{AC87C393-4A0B-F608-0D7A-D185C29593AB}"/>
                </a:ext>
              </a:extLst>
            </p:cNvPr>
            <p:cNvSpPr/>
            <p:nvPr/>
          </p:nvSpPr>
          <p:spPr>
            <a:xfrm>
              <a:off x="3447304"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79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5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4"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8" y="41275"/>
                    <a:pt x="20879"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8"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406" name="Freeform 405">
              <a:extLst>
                <a:ext uri="{FF2B5EF4-FFF2-40B4-BE49-F238E27FC236}">
                  <a16:creationId xmlns:a16="http://schemas.microsoft.com/office/drawing/2014/main" id="{FE684C9D-AE70-7B30-CEAE-D3B880C2F15F}"/>
                </a:ext>
              </a:extLst>
            </p:cNvPr>
            <p:cNvSpPr/>
            <p:nvPr/>
          </p:nvSpPr>
          <p:spPr>
            <a:xfrm>
              <a:off x="3493774" y="1599946"/>
              <a:ext cx="37557" cy="47624"/>
            </a:xfrm>
            <a:custGeom>
              <a:avLst/>
              <a:gdLst>
                <a:gd name="connsiteX0" fmla="*/ 18843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3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3" y="47244"/>
                  </a:moveTo>
                  <a:cubicBezTo>
                    <a:pt x="15787" y="47244"/>
                    <a:pt x="12986" y="46990"/>
                    <a:pt x="10694" y="46355"/>
                  </a:cubicBezTo>
                  <a:cubicBezTo>
                    <a:pt x="8275" y="45720"/>
                    <a:pt x="6366" y="44831"/>
                    <a:pt x="4838" y="43561"/>
                  </a:cubicBezTo>
                  <a:cubicBezTo>
                    <a:pt x="3310" y="42291"/>
                    <a:pt x="2165"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2"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3" y="18034"/>
                  </a:cubicBezTo>
                  <a:cubicBezTo>
                    <a:pt x="1783" y="16510"/>
                    <a:pt x="1273" y="14732"/>
                    <a:pt x="1273" y="12446"/>
                  </a:cubicBezTo>
                  <a:cubicBezTo>
                    <a:pt x="1273" y="10414"/>
                    <a:pt x="1655" y="8636"/>
                    <a:pt x="2546" y="7112"/>
                  </a:cubicBezTo>
                  <a:cubicBezTo>
                    <a:pt x="3437" y="5588"/>
                    <a:pt x="4584" y="4191"/>
                    <a:pt x="6111" y="3175"/>
                  </a:cubicBezTo>
                  <a:cubicBezTo>
                    <a:pt x="7639" y="2032"/>
                    <a:pt x="9549" y="1270"/>
                    <a:pt x="11713" y="762"/>
                  </a:cubicBezTo>
                  <a:cubicBezTo>
                    <a:pt x="13877" y="254"/>
                    <a:pt x="16424" y="0"/>
                    <a:pt x="19097" y="0"/>
                  </a:cubicBezTo>
                  <a:cubicBezTo>
                    <a:pt x="22026" y="0"/>
                    <a:pt x="24445"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6"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407" name="Freeform 406">
              <a:extLst>
                <a:ext uri="{FF2B5EF4-FFF2-40B4-BE49-F238E27FC236}">
                  <a16:creationId xmlns:a16="http://schemas.microsoft.com/office/drawing/2014/main" id="{45CC9007-F797-24B4-33C2-5719FC70E74B}"/>
                </a:ext>
              </a:extLst>
            </p:cNvPr>
            <p:cNvSpPr/>
            <p:nvPr/>
          </p:nvSpPr>
          <p:spPr>
            <a:xfrm>
              <a:off x="3537443" y="1599819"/>
              <a:ext cx="40486" cy="47370"/>
            </a:xfrm>
            <a:custGeom>
              <a:avLst/>
              <a:gdLst>
                <a:gd name="connsiteX0" fmla="*/ 20752 w 40486"/>
                <a:gd name="connsiteY0" fmla="*/ 47371 h 47370"/>
                <a:gd name="connsiteX1" fmla="*/ 9422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2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2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1 w 40486"/>
                <a:gd name="connsiteY22" fmla="*/ 46101 h 47370"/>
                <a:gd name="connsiteX23" fmla="*/ 20625 w 40486"/>
                <a:gd name="connsiteY23" fmla="*/ 47371 h 47370"/>
                <a:gd name="connsiteX24" fmla="*/ 8148 w 40486"/>
                <a:gd name="connsiteY24" fmla="*/ 19939 h 47370"/>
                <a:gd name="connsiteX25" fmla="*/ 32720 w 40486"/>
                <a:gd name="connsiteY25" fmla="*/ 19939 h 47370"/>
                <a:gd name="connsiteX26" fmla="*/ 31829 w 40486"/>
                <a:gd name="connsiteY26" fmla="*/ 13589 h 47370"/>
                <a:gd name="connsiteX27" fmla="*/ 29410 w 40486"/>
                <a:gd name="connsiteY27" fmla="*/ 9398 h 47370"/>
                <a:gd name="connsiteX28" fmla="*/ 25718 w 40486"/>
                <a:gd name="connsiteY28" fmla="*/ 6985 h 47370"/>
                <a:gd name="connsiteX29" fmla="*/ 20880 w 40486"/>
                <a:gd name="connsiteY29" fmla="*/ 6223 h 47370"/>
                <a:gd name="connsiteX30" fmla="*/ 14132 w 40486"/>
                <a:gd name="connsiteY30" fmla="*/ 7747 h 47370"/>
                <a:gd name="connsiteX31" fmla="*/ 9931 w 40486"/>
                <a:gd name="connsiteY31" fmla="*/ 12192 h 47370"/>
                <a:gd name="connsiteX32" fmla="*/ 8148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2"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2" y="2540"/>
                  </a:cubicBezTo>
                  <a:cubicBezTo>
                    <a:pt x="12477" y="889"/>
                    <a:pt x="16424"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2" y="34544"/>
                  </a:cubicBezTo>
                  <a:cubicBezTo>
                    <a:pt x="10312" y="36830"/>
                    <a:pt x="11841"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20" y="45339"/>
                    <a:pt x="28901" y="46101"/>
                  </a:cubicBezTo>
                  <a:cubicBezTo>
                    <a:pt x="26482" y="46863"/>
                    <a:pt x="23681" y="47371"/>
                    <a:pt x="20625" y="47371"/>
                  </a:cubicBezTo>
                  <a:close/>
                  <a:moveTo>
                    <a:pt x="8148" y="19939"/>
                  </a:moveTo>
                  <a:lnTo>
                    <a:pt x="32720" y="19939"/>
                  </a:lnTo>
                  <a:cubicBezTo>
                    <a:pt x="32720" y="17399"/>
                    <a:pt x="32465" y="15240"/>
                    <a:pt x="31829" y="13589"/>
                  </a:cubicBezTo>
                  <a:cubicBezTo>
                    <a:pt x="31192" y="11811"/>
                    <a:pt x="30428" y="10414"/>
                    <a:pt x="29410" y="9398"/>
                  </a:cubicBezTo>
                  <a:cubicBezTo>
                    <a:pt x="28391" y="8255"/>
                    <a:pt x="27118" y="7493"/>
                    <a:pt x="25718" y="6985"/>
                  </a:cubicBezTo>
                  <a:cubicBezTo>
                    <a:pt x="24317" y="6477"/>
                    <a:pt x="22662" y="6223"/>
                    <a:pt x="20880" y="6223"/>
                  </a:cubicBezTo>
                  <a:cubicBezTo>
                    <a:pt x="18206" y="6223"/>
                    <a:pt x="16042" y="6731"/>
                    <a:pt x="14132" y="7747"/>
                  </a:cubicBezTo>
                  <a:cubicBezTo>
                    <a:pt x="12350" y="8763"/>
                    <a:pt x="10822" y="10160"/>
                    <a:pt x="9931" y="12192"/>
                  </a:cubicBezTo>
                  <a:cubicBezTo>
                    <a:pt x="8912" y="14224"/>
                    <a:pt x="8403" y="16764"/>
                    <a:pt x="8148" y="19939"/>
                  </a:cubicBezTo>
                  <a:close/>
                </a:path>
              </a:pathLst>
            </a:custGeom>
            <a:solidFill>
              <a:srgbClr val="1D4966"/>
            </a:solidFill>
            <a:ln w="0" cap="flat">
              <a:noFill/>
              <a:prstDash val="solid"/>
              <a:miter/>
            </a:ln>
          </p:spPr>
          <p:txBody>
            <a:bodyPr rtlCol="0" anchor="ctr"/>
            <a:lstStyle/>
            <a:p>
              <a:endParaRPr lang="en-AD" sz="2400"/>
            </a:p>
          </p:txBody>
        </p:sp>
        <p:sp>
          <p:nvSpPr>
            <p:cNvPr id="408" name="Freeform 407">
              <a:extLst>
                <a:ext uri="{FF2B5EF4-FFF2-40B4-BE49-F238E27FC236}">
                  <a16:creationId xmlns:a16="http://schemas.microsoft.com/office/drawing/2014/main" id="{BDDDEA47-D1D4-BD3D-7C39-B5433740A284}"/>
                </a:ext>
              </a:extLst>
            </p:cNvPr>
            <p:cNvSpPr/>
            <p:nvPr/>
          </p:nvSpPr>
          <p:spPr>
            <a:xfrm>
              <a:off x="3584167"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8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7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8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8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8"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7"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8"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296" y="41148"/>
                  </a:moveTo>
                  <a:cubicBezTo>
                    <a:pt x="18078"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8"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409" name="Freeform 408">
              <a:extLst>
                <a:ext uri="{FF2B5EF4-FFF2-40B4-BE49-F238E27FC236}">
                  <a16:creationId xmlns:a16="http://schemas.microsoft.com/office/drawing/2014/main" id="{3BDEF8EE-3B82-9A26-01FE-C3CE4936CA21}"/>
                </a:ext>
              </a:extLst>
            </p:cNvPr>
            <p:cNvSpPr/>
            <p:nvPr/>
          </p:nvSpPr>
          <p:spPr>
            <a:xfrm>
              <a:off x="3634074" y="1599819"/>
              <a:ext cx="21771" cy="46482"/>
            </a:xfrm>
            <a:custGeom>
              <a:avLst/>
              <a:gdLst>
                <a:gd name="connsiteX0" fmla="*/ 0 w 21771"/>
                <a:gd name="connsiteY0" fmla="*/ 46355 h 46482"/>
                <a:gd name="connsiteX1" fmla="*/ 0 w 21771"/>
                <a:gd name="connsiteY1" fmla="*/ 1016 h 46482"/>
                <a:gd name="connsiteX2" fmla="*/ 6111 w 21771"/>
                <a:gd name="connsiteY2" fmla="*/ 1016 h 46482"/>
                <a:gd name="connsiteX3" fmla="*/ 6748 w 21771"/>
                <a:gd name="connsiteY3" fmla="*/ 8509 h 46482"/>
                <a:gd name="connsiteX4" fmla="*/ 7384 w 21771"/>
                <a:gd name="connsiteY4" fmla="*/ 8509 h 46482"/>
                <a:gd name="connsiteX5" fmla="*/ 9294 w 21771"/>
                <a:gd name="connsiteY5" fmla="*/ 4445 h 46482"/>
                <a:gd name="connsiteX6" fmla="*/ 12604 w 21771"/>
                <a:gd name="connsiteY6" fmla="*/ 1270 h 46482"/>
                <a:gd name="connsiteX7" fmla="*/ 17697 w 21771"/>
                <a:gd name="connsiteY7" fmla="*/ 0 h 46482"/>
                <a:gd name="connsiteX8" fmla="*/ 20116 w 21771"/>
                <a:gd name="connsiteY8" fmla="*/ 254 h 46482"/>
                <a:gd name="connsiteX9" fmla="*/ 21771 w 21771"/>
                <a:gd name="connsiteY9" fmla="*/ 762 h 46482"/>
                <a:gd name="connsiteX10" fmla="*/ 21771 w 21771"/>
                <a:gd name="connsiteY10" fmla="*/ 7747 h 46482"/>
                <a:gd name="connsiteX11" fmla="*/ 18970 w 21771"/>
                <a:gd name="connsiteY11" fmla="*/ 7747 h 46482"/>
                <a:gd name="connsiteX12" fmla="*/ 13878 w 21771"/>
                <a:gd name="connsiteY12" fmla="*/ 8763 h 46482"/>
                <a:gd name="connsiteX13" fmla="*/ 10440 w 21771"/>
                <a:gd name="connsiteY13" fmla="*/ 11557 h 46482"/>
                <a:gd name="connsiteX14" fmla="*/ 8403 w 21771"/>
                <a:gd name="connsiteY14" fmla="*/ 15875 h 46482"/>
                <a:gd name="connsiteX15" fmla="*/ 7766 w 21771"/>
                <a:gd name="connsiteY15" fmla="*/ 21209 h 46482"/>
                <a:gd name="connsiteX16" fmla="*/ 7766 w 21771"/>
                <a:gd name="connsiteY16" fmla="*/ 46482 h 46482"/>
                <a:gd name="connsiteX17" fmla="*/ 127 w 21771"/>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1"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8"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410" name="Freeform 409">
              <a:extLst>
                <a:ext uri="{FF2B5EF4-FFF2-40B4-BE49-F238E27FC236}">
                  <a16:creationId xmlns:a16="http://schemas.microsoft.com/office/drawing/2014/main" id="{22D6E522-B52B-25BB-CBFC-AE9A870C2373}"/>
                </a:ext>
              </a:extLst>
            </p:cNvPr>
            <p:cNvSpPr/>
            <p:nvPr/>
          </p:nvSpPr>
          <p:spPr>
            <a:xfrm>
              <a:off x="3659919" y="1599691"/>
              <a:ext cx="38321" cy="47625"/>
            </a:xfrm>
            <a:custGeom>
              <a:avLst/>
              <a:gdLst>
                <a:gd name="connsiteX0" fmla="*/ 20116 w 38321"/>
                <a:gd name="connsiteY0" fmla="*/ 47498 h 47625"/>
                <a:gd name="connsiteX1" fmla="*/ 9040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6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7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40" y="44958"/>
                  </a:cubicBezTo>
                  <a:cubicBezTo>
                    <a:pt x="6111" y="43307"/>
                    <a:pt x="3820" y="40640"/>
                    <a:pt x="2292" y="37084"/>
                  </a:cubicBezTo>
                  <a:cubicBezTo>
                    <a:pt x="764" y="33528"/>
                    <a:pt x="0" y="29083"/>
                    <a:pt x="0" y="23749"/>
                  </a:cubicBezTo>
                  <a:cubicBezTo>
                    <a:pt x="0" y="18415"/>
                    <a:pt x="764" y="13970"/>
                    <a:pt x="2292" y="10414"/>
                  </a:cubicBezTo>
                  <a:cubicBezTo>
                    <a:pt x="3820" y="6858"/>
                    <a:pt x="6111" y="4318"/>
                    <a:pt x="9167" y="2540"/>
                  </a:cubicBezTo>
                  <a:cubicBezTo>
                    <a:pt x="12222" y="762"/>
                    <a:pt x="15914" y="0"/>
                    <a:pt x="20370" y="0"/>
                  </a:cubicBezTo>
                  <a:cubicBezTo>
                    <a:pt x="23426" y="0"/>
                    <a:pt x="26227" y="381"/>
                    <a:pt x="28391" y="1270"/>
                  </a:cubicBezTo>
                  <a:cubicBezTo>
                    <a:pt x="30683" y="2032"/>
                    <a:pt x="32593" y="3302"/>
                    <a:pt x="33993" y="4826"/>
                  </a:cubicBezTo>
                  <a:cubicBezTo>
                    <a:pt x="35521" y="6350"/>
                    <a:pt x="36540" y="8255"/>
                    <a:pt x="37303" y="10414"/>
                  </a:cubicBezTo>
                  <a:cubicBezTo>
                    <a:pt x="38067" y="12573"/>
                    <a:pt x="38322" y="15113"/>
                    <a:pt x="38322" y="17907"/>
                  </a:cubicBezTo>
                  <a:lnTo>
                    <a:pt x="30683" y="17907"/>
                  </a:lnTo>
                  <a:cubicBezTo>
                    <a:pt x="30683" y="15240"/>
                    <a:pt x="30301" y="13081"/>
                    <a:pt x="29664" y="11430"/>
                  </a:cubicBezTo>
                  <a:cubicBezTo>
                    <a:pt x="28901" y="9779"/>
                    <a:pt x="27755" y="8509"/>
                    <a:pt x="26227" y="7620"/>
                  </a:cubicBezTo>
                  <a:cubicBezTo>
                    <a:pt x="24699" y="6731"/>
                    <a:pt x="22662" y="6350"/>
                    <a:pt x="20116" y="6350"/>
                  </a:cubicBezTo>
                  <a:cubicBezTo>
                    <a:pt x="17569" y="6350"/>
                    <a:pt x="15405" y="6858"/>
                    <a:pt x="13496" y="8001"/>
                  </a:cubicBezTo>
                  <a:cubicBezTo>
                    <a:pt x="11713" y="9144"/>
                    <a:pt x="10185" y="10922"/>
                    <a:pt x="9294" y="13335"/>
                  </a:cubicBezTo>
                  <a:cubicBezTo>
                    <a:pt x="8276" y="15748"/>
                    <a:pt x="7766" y="18923"/>
                    <a:pt x="7766" y="22860"/>
                  </a:cubicBezTo>
                  <a:lnTo>
                    <a:pt x="7766" y="24638"/>
                  </a:lnTo>
                  <a:cubicBezTo>
                    <a:pt x="7766" y="28321"/>
                    <a:pt x="8276" y="31496"/>
                    <a:pt x="9167" y="33909"/>
                  </a:cubicBezTo>
                  <a:cubicBezTo>
                    <a:pt x="10058" y="36322"/>
                    <a:pt x="11459"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6" y="34036"/>
                    <a:pt x="30810" y="32004"/>
                    <a:pt x="30810" y="29591"/>
                  </a:cubicBezTo>
                  <a:lnTo>
                    <a:pt x="38194" y="29591"/>
                  </a:lnTo>
                  <a:cubicBezTo>
                    <a:pt x="38194" y="32131"/>
                    <a:pt x="37812" y="34417"/>
                    <a:pt x="37176" y="36703"/>
                  </a:cubicBezTo>
                  <a:cubicBezTo>
                    <a:pt x="36412" y="38862"/>
                    <a:pt x="35394" y="40767"/>
                    <a:pt x="33866" y="42418"/>
                  </a:cubicBezTo>
                  <a:cubicBezTo>
                    <a:pt x="32338" y="44069"/>
                    <a:pt x="30428" y="45339"/>
                    <a:pt x="28137"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411" name="Freeform 410">
              <a:extLst>
                <a:ext uri="{FF2B5EF4-FFF2-40B4-BE49-F238E27FC236}">
                  <a16:creationId xmlns:a16="http://schemas.microsoft.com/office/drawing/2014/main" id="{9975E054-643B-D59C-4A11-837E10829B7C}"/>
                </a:ext>
              </a:extLst>
            </p:cNvPr>
            <p:cNvSpPr/>
            <p:nvPr/>
          </p:nvSpPr>
          <p:spPr>
            <a:xfrm>
              <a:off x="3706771" y="1583816"/>
              <a:ext cx="37430" cy="62484"/>
            </a:xfrm>
            <a:custGeom>
              <a:avLst/>
              <a:gdLst>
                <a:gd name="connsiteX0" fmla="*/ 127 w 37430"/>
                <a:gd name="connsiteY0" fmla="*/ 62357 h 62484"/>
                <a:gd name="connsiteX1" fmla="*/ 127 w 37430"/>
                <a:gd name="connsiteY1" fmla="*/ 0 h 62484"/>
                <a:gd name="connsiteX2" fmla="*/ 7766 w 37430"/>
                <a:gd name="connsiteY2" fmla="*/ 0 h 62484"/>
                <a:gd name="connsiteX3" fmla="*/ 7766 w 37430"/>
                <a:gd name="connsiteY3" fmla="*/ 22733 h 62484"/>
                <a:gd name="connsiteX4" fmla="*/ 8403 w 37430"/>
                <a:gd name="connsiteY4" fmla="*/ 22733 h 62484"/>
                <a:gd name="connsiteX5" fmla="*/ 12350 w 37430"/>
                <a:gd name="connsiteY5" fmla="*/ 18923 h 62484"/>
                <a:gd name="connsiteX6" fmla="*/ 17188 w 37430"/>
                <a:gd name="connsiteY6" fmla="*/ 16764 h 62484"/>
                <a:gd name="connsiteX7" fmla="*/ 22916 w 37430"/>
                <a:gd name="connsiteY7" fmla="*/ 16002 h 62484"/>
                <a:gd name="connsiteX8" fmla="*/ 30428 w 37430"/>
                <a:gd name="connsiteY8" fmla="*/ 17526 h 62484"/>
                <a:gd name="connsiteX9" fmla="*/ 35520 w 37430"/>
                <a:gd name="connsiteY9" fmla="*/ 22225 h 62484"/>
                <a:gd name="connsiteX10" fmla="*/ 37430 w 37430"/>
                <a:gd name="connsiteY10" fmla="*/ 31115 h 62484"/>
                <a:gd name="connsiteX11" fmla="*/ 37430 w 37430"/>
                <a:gd name="connsiteY11" fmla="*/ 62357 h 62484"/>
                <a:gd name="connsiteX12" fmla="*/ 29792 w 37430"/>
                <a:gd name="connsiteY12" fmla="*/ 62357 h 62484"/>
                <a:gd name="connsiteX13" fmla="*/ 29792 w 37430"/>
                <a:gd name="connsiteY13" fmla="*/ 32131 h 62484"/>
                <a:gd name="connsiteX14" fmla="*/ 29028 w 37430"/>
                <a:gd name="connsiteY14" fmla="*/ 27432 h 62484"/>
                <a:gd name="connsiteX15" fmla="*/ 26991 w 37430"/>
                <a:gd name="connsiteY15" fmla="*/ 24638 h 62484"/>
                <a:gd name="connsiteX16" fmla="*/ 23935 w 37430"/>
                <a:gd name="connsiteY16" fmla="*/ 23114 h 62484"/>
                <a:gd name="connsiteX17" fmla="*/ 19988 w 37430"/>
                <a:gd name="connsiteY17" fmla="*/ 22733 h 62484"/>
                <a:gd name="connsiteX18" fmla="*/ 13877 w 37430"/>
                <a:gd name="connsiteY18" fmla="*/ 24257 h 62484"/>
                <a:gd name="connsiteX19" fmla="*/ 9294 w 37430"/>
                <a:gd name="connsiteY19" fmla="*/ 28702 h 62484"/>
                <a:gd name="connsiteX20" fmla="*/ 7639 w 37430"/>
                <a:gd name="connsiteY20" fmla="*/ 35814 h 62484"/>
                <a:gd name="connsiteX21" fmla="*/ 7639 w 37430"/>
                <a:gd name="connsiteY21" fmla="*/ 62484 h 62484"/>
                <a:gd name="connsiteX22" fmla="*/ 0 w 37430"/>
                <a:gd name="connsiteY22" fmla="*/ 62484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62484">
                  <a:moveTo>
                    <a:pt x="127" y="62357"/>
                  </a:moveTo>
                  <a:lnTo>
                    <a:pt x="127" y="0"/>
                  </a:lnTo>
                  <a:lnTo>
                    <a:pt x="7766" y="0"/>
                  </a:lnTo>
                  <a:lnTo>
                    <a:pt x="7766" y="22733"/>
                  </a:lnTo>
                  <a:lnTo>
                    <a:pt x="8403" y="22733"/>
                  </a:lnTo>
                  <a:cubicBezTo>
                    <a:pt x="9549" y="21209"/>
                    <a:pt x="10822" y="19939"/>
                    <a:pt x="12350" y="18923"/>
                  </a:cubicBezTo>
                  <a:cubicBezTo>
                    <a:pt x="13750" y="17907"/>
                    <a:pt x="15405" y="17272"/>
                    <a:pt x="17188" y="16764"/>
                  </a:cubicBezTo>
                  <a:cubicBezTo>
                    <a:pt x="18970" y="16256"/>
                    <a:pt x="20879" y="16002"/>
                    <a:pt x="22916" y="16002"/>
                  </a:cubicBezTo>
                  <a:cubicBezTo>
                    <a:pt x="25845" y="16002"/>
                    <a:pt x="28264" y="16510"/>
                    <a:pt x="30428" y="17526"/>
                  </a:cubicBezTo>
                  <a:cubicBezTo>
                    <a:pt x="32592" y="18542"/>
                    <a:pt x="34248" y="20066"/>
                    <a:pt x="35520" y="22225"/>
                  </a:cubicBezTo>
                  <a:cubicBezTo>
                    <a:pt x="36794" y="24384"/>
                    <a:pt x="37430" y="27305"/>
                    <a:pt x="37430" y="31115"/>
                  </a:cubicBezTo>
                  <a:lnTo>
                    <a:pt x="37430" y="62357"/>
                  </a:lnTo>
                  <a:lnTo>
                    <a:pt x="29792" y="62357"/>
                  </a:lnTo>
                  <a:lnTo>
                    <a:pt x="29792" y="32131"/>
                  </a:lnTo>
                  <a:cubicBezTo>
                    <a:pt x="29792" y="30226"/>
                    <a:pt x="29537" y="28702"/>
                    <a:pt x="29028" y="27432"/>
                  </a:cubicBezTo>
                  <a:cubicBezTo>
                    <a:pt x="28518" y="26162"/>
                    <a:pt x="27882" y="25273"/>
                    <a:pt x="26991" y="24638"/>
                  </a:cubicBezTo>
                  <a:cubicBezTo>
                    <a:pt x="26099" y="24003"/>
                    <a:pt x="25208" y="23495"/>
                    <a:pt x="23935" y="23114"/>
                  </a:cubicBezTo>
                  <a:cubicBezTo>
                    <a:pt x="22789" y="22860"/>
                    <a:pt x="21389" y="22733"/>
                    <a:pt x="19988" y="22733"/>
                  </a:cubicBezTo>
                  <a:cubicBezTo>
                    <a:pt x="17824" y="22733"/>
                    <a:pt x="15787" y="23241"/>
                    <a:pt x="13877" y="24257"/>
                  </a:cubicBezTo>
                  <a:cubicBezTo>
                    <a:pt x="11968" y="25273"/>
                    <a:pt x="10439" y="26670"/>
                    <a:pt x="9294" y="28702"/>
                  </a:cubicBezTo>
                  <a:cubicBezTo>
                    <a:pt x="8148" y="30607"/>
                    <a:pt x="7639" y="33020"/>
                    <a:pt x="7639" y="35814"/>
                  </a:cubicBezTo>
                  <a:lnTo>
                    <a:pt x="7639" y="62484"/>
                  </a:lnTo>
                  <a:lnTo>
                    <a:pt x="0" y="62484"/>
                  </a:lnTo>
                  <a:close/>
                </a:path>
              </a:pathLst>
            </a:custGeom>
            <a:solidFill>
              <a:srgbClr val="1D4966"/>
            </a:solidFill>
            <a:ln w="0" cap="flat">
              <a:noFill/>
              <a:prstDash val="solid"/>
              <a:miter/>
            </a:ln>
          </p:spPr>
          <p:txBody>
            <a:bodyPr rtlCol="0" anchor="ctr"/>
            <a:lstStyle/>
            <a:p>
              <a:endParaRPr lang="en-AD" sz="2400"/>
            </a:p>
          </p:txBody>
        </p:sp>
      </p:grpSp>
      <p:grpSp>
        <p:nvGrpSpPr>
          <p:cNvPr id="9" name="Group 8">
            <a:extLst>
              <a:ext uri="{FF2B5EF4-FFF2-40B4-BE49-F238E27FC236}">
                <a16:creationId xmlns:a16="http://schemas.microsoft.com/office/drawing/2014/main" id="{3A0E00A5-CEFD-62E9-F56A-A1A4491DCA4B}"/>
              </a:ext>
            </a:extLst>
          </p:cNvPr>
          <p:cNvGrpSpPr/>
          <p:nvPr userDrawn="1"/>
        </p:nvGrpSpPr>
        <p:grpSpPr>
          <a:xfrm>
            <a:off x="466159" y="6055089"/>
            <a:ext cx="7372805" cy="490488"/>
            <a:chOff x="349619" y="4541317"/>
            <a:chExt cx="5529604" cy="367866"/>
          </a:xfrm>
        </p:grpSpPr>
        <p:grpSp>
          <p:nvGrpSpPr>
            <p:cNvPr id="625" name="Group 624">
              <a:extLst>
                <a:ext uri="{FF2B5EF4-FFF2-40B4-BE49-F238E27FC236}">
                  <a16:creationId xmlns:a16="http://schemas.microsoft.com/office/drawing/2014/main" id="{29F6EE5A-7C58-1F3C-8A2D-E05FC86B86E7}"/>
                </a:ext>
              </a:extLst>
            </p:cNvPr>
            <p:cNvGrpSpPr/>
            <p:nvPr userDrawn="1"/>
          </p:nvGrpSpPr>
          <p:grpSpPr>
            <a:xfrm>
              <a:off x="4392525" y="4701540"/>
              <a:ext cx="569348" cy="164083"/>
              <a:chOff x="4623944" y="4701540"/>
              <a:chExt cx="569348" cy="164083"/>
            </a:xfrm>
          </p:grpSpPr>
          <p:sp>
            <p:nvSpPr>
              <p:cNvPr id="413" name="Freeform 412">
                <a:extLst>
                  <a:ext uri="{FF2B5EF4-FFF2-40B4-BE49-F238E27FC236}">
                    <a16:creationId xmlns:a16="http://schemas.microsoft.com/office/drawing/2014/main" id="{E16F5F9E-A0F9-98A2-DACB-C7F00224FACC}"/>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14" name="Freeform 413">
                <a:extLst>
                  <a:ext uri="{FF2B5EF4-FFF2-40B4-BE49-F238E27FC236}">
                    <a16:creationId xmlns:a16="http://schemas.microsoft.com/office/drawing/2014/main" id="{A1954F35-B273-668E-EB91-7173C2360627}"/>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5" name="Freeform 414">
                <a:extLst>
                  <a:ext uri="{FF2B5EF4-FFF2-40B4-BE49-F238E27FC236}">
                    <a16:creationId xmlns:a16="http://schemas.microsoft.com/office/drawing/2014/main" id="{36944E6A-EEFD-F1F0-0DEA-9812D32E5028}"/>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6" name="Freeform 415">
                <a:extLst>
                  <a:ext uri="{FF2B5EF4-FFF2-40B4-BE49-F238E27FC236}">
                    <a16:creationId xmlns:a16="http://schemas.microsoft.com/office/drawing/2014/main" id="{AF593AD7-3361-8C88-DA16-650F3537AA2F}"/>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17" name="Freeform 416">
                <a:extLst>
                  <a:ext uri="{FF2B5EF4-FFF2-40B4-BE49-F238E27FC236}">
                    <a16:creationId xmlns:a16="http://schemas.microsoft.com/office/drawing/2014/main" id="{97E65735-5296-94AF-F287-B7DEC36D781E}"/>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18" name="Freeform 417">
                <a:extLst>
                  <a:ext uri="{FF2B5EF4-FFF2-40B4-BE49-F238E27FC236}">
                    <a16:creationId xmlns:a16="http://schemas.microsoft.com/office/drawing/2014/main" id="{4F0FF7D1-6491-8DC9-0881-6040AFDF96AC}"/>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19" name="Freeform 418">
                <a:extLst>
                  <a:ext uri="{FF2B5EF4-FFF2-40B4-BE49-F238E27FC236}">
                    <a16:creationId xmlns:a16="http://schemas.microsoft.com/office/drawing/2014/main" id="{573BB900-2CD9-4839-F3C8-C6845576443E}"/>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0" name="Freeform 419">
                <a:extLst>
                  <a:ext uri="{FF2B5EF4-FFF2-40B4-BE49-F238E27FC236}">
                    <a16:creationId xmlns:a16="http://schemas.microsoft.com/office/drawing/2014/main" id="{923A3248-7500-8D47-B3FE-88AA5DD2492B}"/>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21" name="Freeform 420">
                <a:extLst>
                  <a:ext uri="{FF2B5EF4-FFF2-40B4-BE49-F238E27FC236}">
                    <a16:creationId xmlns:a16="http://schemas.microsoft.com/office/drawing/2014/main" id="{12055FF2-F92C-598E-8E0B-40C628908803}"/>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22" name="Freeform 421">
                <a:extLst>
                  <a:ext uri="{FF2B5EF4-FFF2-40B4-BE49-F238E27FC236}">
                    <a16:creationId xmlns:a16="http://schemas.microsoft.com/office/drawing/2014/main" id="{E8035470-ED5D-89E0-B787-3B11C6330D10}"/>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23" name="Freeform 422">
                <a:extLst>
                  <a:ext uri="{FF2B5EF4-FFF2-40B4-BE49-F238E27FC236}">
                    <a16:creationId xmlns:a16="http://schemas.microsoft.com/office/drawing/2014/main" id="{15DD76B3-0F68-C199-8226-7C7E7C40BC0E}"/>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4" name="Freeform 423">
                <a:extLst>
                  <a:ext uri="{FF2B5EF4-FFF2-40B4-BE49-F238E27FC236}">
                    <a16:creationId xmlns:a16="http://schemas.microsoft.com/office/drawing/2014/main" id="{F7D2CE72-09EC-64E9-F9B1-DEF31D34B82D}"/>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425" name="Freeform 424">
                <a:extLst>
                  <a:ext uri="{FF2B5EF4-FFF2-40B4-BE49-F238E27FC236}">
                    <a16:creationId xmlns:a16="http://schemas.microsoft.com/office/drawing/2014/main" id="{0B15DDFE-DA63-7C3D-E89A-6E80729BC113}"/>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26" name="Freeform 425">
                <a:extLst>
                  <a:ext uri="{FF2B5EF4-FFF2-40B4-BE49-F238E27FC236}">
                    <a16:creationId xmlns:a16="http://schemas.microsoft.com/office/drawing/2014/main" id="{25DECE4D-4D48-6BD1-B6D2-DE19948D8B51}"/>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427" name="Freeform 426">
                <a:extLst>
                  <a:ext uri="{FF2B5EF4-FFF2-40B4-BE49-F238E27FC236}">
                    <a16:creationId xmlns:a16="http://schemas.microsoft.com/office/drawing/2014/main" id="{BE831A77-53CE-A569-0082-104804760601}"/>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8" name="Freeform 427">
                <a:extLst>
                  <a:ext uri="{FF2B5EF4-FFF2-40B4-BE49-F238E27FC236}">
                    <a16:creationId xmlns:a16="http://schemas.microsoft.com/office/drawing/2014/main" id="{485C12D5-0260-1008-A6B2-4A3773ED2C13}"/>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9" name="Freeform 428">
                <a:extLst>
                  <a:ext uri="{FF2B5EF4-FFF2-40B4-BE49-F238E27FC236}">
                    <a16:creationId xmlns:a16="http://schemas.microsoft.com/office/drawing/2014/main" id="{8535D962-4007-E1EC-4822-751B2A11EEFD}"/>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0" name="Freeform 429">
                <a:extLst>
                  <a:ext uri="{FF2B5EF4-FFF2-40B4-BE49-F238E27FC236}">
                    <a16:creationId xmlns:a16="http://schemas.microsoft.com/office/drawing/2014/main" id="{EB6B4938-7131-FEA9-F139-5044CE0F1897}"/>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31" name="Freeform 430">
                <a:extLst>
                  <a:ext uri="{FF2B5EF4-FFF2-40B4-BE49-F238E27FC236}">
                    <a16:creationId xmlns:a16="http://schemas.microsoft.com/office/drawing/2014/main" id="{3A03482E-CE97-4DC3-4DB3-01117528FD2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32" name="Freeform 431">
                <a:extLst>
                  <a:ext uri="{FF2B5EF4-FFF2-40B4-BE49-F238E27FC236}">
                    <a16:creationId xmlns:a16="http://schemas.microsoft.com/office/drawing/2014/main" id="{88133DFB-CE3D-E7BE-2CC4-F532A28152B2}"/>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3" name="Freeform 432">
                <a:extLst>
                  <a:ext uri="{FF2B5EF4-FFF2-40B4-BE49-F238E27FC236}">
                    <a16:creationId xmlns:a16="http://schemas.microsoft.com/office/drawing/2014/main" id="{6BA3B91F-A81B-AC01-EA04-0D49E8A4DE1A}"/>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434" name="Freeform 433">
                <a:extLst>
                  <a:ext uri="{FF2B5EF4-FFF2-40B4-BE49-F238E27FC236}">
                    <a16:creationId xmlns:a16="http://schemas.microsoft.com/office/drawing/2014/main" id="{C118CA84-C02E-1300-35D7-BAC6655ACFCA}"/>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35" name="Freeform 434">
                <a:extLst>
                  <a:ext uri="{FF2B5EF4-FFF2-40B4-BE49-F238E27FC236}">
                    <a16:creationId xmlns:a16="http://schemas.microsoft.com/office/drawing/2014/main" id="{B95DADA4-4101-66E6-8B53-5AC2FFC50F0E}"/>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6" name="Freeform 435">
                <a:extLst>
                  <a:ext uri="{FF2B5EF4-FFF2-40B4-BE49-F238E27FC236}">
                    <a16:creationId xmlns:a16="http://schemas.microsoft.com/office/drawing/2014/main" id="{629A3B55-8B1A-ED5C-6608-ECDE33CEBB76}"/>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7" name="Freeform 436">
                <a:extLst>
                  <a:ext uri="{FF2B5EF4-FFF2-40B4-BE49-F238E27FC236}">
                    <a16:creationId xmlns:a16="http://schemas.microsoft.com/office/drawing/2014/main" id="{48507C3F-53CD-FBEA-FBF6-BAEE5720DC27}"/>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38" name="Freeform 437">
                <a:extLst>
                  <a:ext uri="{FF2B5EF4-FFF2-40B4-BE49-F238E27FC236}">
                    <a16:creationId xmlns:a16="http://schemas.microsoft.com/office/drawing/2014/main" id="{8101FFF9-0E7E-89F5-2394-491E2AABAEA9}"/>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39" name="Freeform 438">
                <a:extLst>
                  <a:ext uri="{FF2B5EF4-FFF2-40B4-BE49-F238E27FC236}">
                    <a16:creationId xmlns:a16="http://schemas.microsoft.com/office/drawing/2014/main" id="{2FD743FE-A8E3-163A-51D6-51A145436606}"/>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0" name="Freeform 439">
                <a:extLst>
                  <a:ext uri="{FF2B5EF4-FFF2-40B4-BE49-F238E27FC236}">
                    <a16:creationId xmlns:a16="http://schemas.microsoft.com/office/drawing/2014/main" id="{5E32916C-5418-7EE9-AC93-32F0A6FA300B}"/>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1" name="Freeform 440">
                <a:extLst>
                  <a:ext uri="{FF2B5EF4-FFF2-40B4-BE49-F238E27FC236}">
                    <a16:creationId xmlns:a16="http://schemas.microsoft.com/office/drawing/2014/main" id="{B1AD730B-F9DC-87BE-63A4-AACF91B65786}"/>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2" name="Freeform 441">
                <a:extLst>
                  <a:ext uri="{FF2B5EF4-FFF2-40B4-BE49-F238E27FC236}">
                    <a16:creationId xmlns:a16="http://schemas.microsoft.com/office/drawing/2014/main" id="{790FAE98-21B8-AD1F-52AF-37D5ACC94DED}"/>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624" name="Group 623">
              <a:extLst>
                <a:ext uri="{FF2B5EF4-FFF2-40B4-BE49-F238E27FC236}">
                  <a16:creationId xmlns:a16="http://schemas.microsoft.com/office/drawing/2014/main" id="{C0BB6A84-0DDE-D684-6E18-9512D5D1541A}"/>
                </a:ext>
              </a:extLst>
            </p:cNvPr>
            <p:cNvGrpSpPr/>
            <p:nvPr userDrawn="1"/>
          </p:nvGrpSpPr>
          <p:grpSpPr>
            <a:xfrm>
              <a:off x="5091148" y="4708016"/>
              <a:ext cx="788075" cy="159258"/>
              <a:chOff x="5361094" y="4708016"/>
              <a:chExt cx="788075" cy="159258"/>
            </a:xfrm>
          </p:grpSpPr>
          <p:sp>
            <p:nvSpPr>
              <p:cNvPr id="443" name="Freeform 442">
                <a:extLst>
                  <a:ext uri="{FF2B5EF4-FFF2-40B4-BE49-F238E27FC236}">
                    <a16:creationId xmlns:a16="http://schemas.microsoft.com/office/drawing/2014/main" id="{B07F029A-5550-5C0D-C862-5B721997EB31}"/>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444" name="Freeform 443">
                <a:extLst>
                  <a:ext uri="{FF2B5EF4-FFF2-40B4-BE49-F238E27FC236}">
                    <a16:creationId xmlns:a16="http://schemas.microsoft.com/office/drawing/2014/main" id="{2D79B81E-CA2C-809F-B77D-7A767FDC5CF1}"/>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445" name="Freeform 444">
                <a:extLst>
                  <a:ext uri="{FF2B5EF4-FFF2-40B4-BE49-F238E27FC236}">
                    <a16:creationId xmlns:a16="http://schemas.microsoft.com/office/drawing/2014/main" id="{C7655916-C458-44E9-8A12-FE8C4BECCBFD}"/>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446" name="Freeform 445">
                <a:extLst>
                  <a:ext uri="{FF2B5EF4-FFF2-40B4-BE49-F238E27FC236}">
                    <a16:creationId xmlns:a16="http://schemas.microsoft.com/office/drawing/2014/main" id="{F8966498-DE67-31BF-1923-33F01698BB01}"/>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447" name="Freeform 446">
                <a:extLst>
                  <a:ext uri="{FF2B5EF4-FFF2-40B4-BE49-F238E27FC236}">
                    <a16:creationId xmlns:a16="http://schemas.microsoft.com/office/drawing/2014/main" id="{0AE0D475-EB9B-F2E9-4D0E-007EE8E3D961}"/>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448" name="Freeform 447">
                <a:extLst>
                  <a:ext uri="{FF2B5EF4-FFF2-40B4-BE49-F238E27FC236}">
                    <a16:creationId xmlns:a16="http://schemas.microsoft.com/office/drawing/2014/main" id="{CB3DD1B6-18A2-67F5-F58F-5B45A460BD1E}"/>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49" name="Freeform 448">
                <a:extLst>
                  <a:ext uri="{FF2B5EF4-FFF2-40B4-BE49-F238E27FC236}">
                    <a16:creationId xmlns:a16="http://schemas.microsoft.com/office/drawing/2014/main" id="{FF227921-CF5A-F19C-2BEA-4C8FEEB98805}"/>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50" name="Freeform 449">
                <a:extLst>
                  <a:ext uri="{FF2B5EF4-FFF2-40B4-BE49-F238E27FC236}">
                    <a16:creationId xmlns:a16="http://schemas.microsoft.com/office/drawing/2014/main" id="{FB89C69C-EDE2-82F3-80BC-D9C4A0071DB6}"/>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1" name="Freeform 450">
                <a:extLst>
                  <a:ext uri="{FF2B5EF4-FFF2-40B4-BE49-F238E27FC236}">
                    <a16:creationId xmlns:a16="http://schemas.microsoft.com/office/drawing/2014/main" id="{39A81081-C564-7D27-B25C-7DDC81F0FF13}"/>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52" name="Freeform 451">
                <a:extLst>
                  <a:ext uri="{FF2B5EF4-FFF2-40B4-BE49-F238E27FC236}">
                    <a16:creationId xmlns:a16="http://schemas.microsoft.com/office/drawing/2014/main" id="{CB89EE33-5156-333F-202B-7ED0693CC9D4}"/>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3" name="Freeform 452">
                <a:extLst>
                  <a:ext uri="{FF2B5EF4-FFF2-40B4-BE49-F238E27FC236}">
                    <a16:creationId xmlns:a16="http://schemas.microsoft.com/office/drawing/2014/main" id="{832C1C3A-AF9D-17E6-0662-FE99C3EEB74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454" name="Freeform 453">
                <a:extLst>
                  <a:ext uri="{FF2B5EF4-FFF2-40B4-BE49-F238E27FC236}">
                    <a16:creationId xmlns:a16="http://schemas.microsoft.com/office/drawing/2014/main" id="{6C01D79A-0614-D463-1FA8-829E4DF4DA78}"/>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455" name="Freeform 454">
                <a:extLst>
                  <a:ext uri="{FF2B5EF4-FFF2-40B4-BE49-F238E27FC236}">
                    <a16:creationId xmlns:a16="http://schemas.microsoft.com/office/drawing/2014/main" id="{ED2446D8-5F73-2CF9-9620-82B4C278DD7B}"/>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456" name="Freeform 455">
                <a:extLst>
                  <a:ext uri="{FF2B5EF4-FFF2-40B4-BE49-F238E27FC236}">
                    <a16:creationId xmlns:a16="http://schemas.microsoft.com/office/drawing/2014/main" id="{36C01497-9250-0C58-4209-F9BD1F5C3A17}"/>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457" name="Freeform 456">
                <a:extLst>
                  <a:ext uri="{FF2B5EF4-FFF2-40B4-BE49-F238E27FC236}">
                    <a16:creationId xmlns:a16="http://schemas.microsoft.com/office/drawing/2014/main" id="{25534696-368D-BC03-65C9-C788B2F88261}"/>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458" name="Freeform 457">
                <a:extLst>
                  <a:ext uri="{FF2B5EF4-FFF2-40B4-BE49-F238E27FC236}">
                    <a16:creationId xmlns:a16="http://schemas.microsoft.com/office/drawing/2014/main" id="{B2B73DE0-3336-8746-7096-D3C04C1E7C1D}"/>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59" name="Freeform 458">
                <a:extLst>
                  <a:ext uri="{FF2B5EF4-FFF2-40B4-BE49-F238E27FC236}">
                    <a16:creationId xmlns:a16="http://schemas.microsoft.com/office/drawing/2014/main" id="{C7A0C585-E987-A934-6C6C-3A5BC48A0A71}"/>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60" name="Freeform 459">
                <a:extLst>
                  <a:ext uri="{FF2B5EF4-FFF2-40B4-BE49-F238E27FC236}">
                    <a16:creationId xmlns:a16="http://schemas.microsoft.com/office/drawing/2014/main" id="{B5DA167F-44DE-9170-DEFD-27E1A59D97FC}"/>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461" name="Freeform 460">
                <a:extLst>
                  <a:ext uri="{FF2B5EF4-FFF2-40B4-BE49-F238E27FC236}">
                    <a16:creationId xmlns:a16="http://schemas.microsoft.com/office/drawing/2014/main" id="{1008D934-8613-23E4-0F85-C70378856712}"/>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462" name="Freeform 461">
                <a:extLst>
                  <a:ext uri="{FF2B5EF4-FFF2-40B4-BE49-F238E27FC236}">
                    <a16:creationId xmlns:a16="http://schemas.microsoft.com/office/drawing/2014/main" id="{65F23AF9-A870-D57A-48DE-D6400298F0D5}"/>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463" name="Freeform 462">
                <a:extLst>
                  <a:ext uri="{FF2B5EF4-FFF2-40B4-BE49-F238E27FC236}">
                    <a16:creationId xmlns:a16="http://schemas.microsoft.com/office/drawing/2014/main" id="{964ECD65-89F4-1C10-73D2-3877B3BACD9D}"/>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64" name="Freeform 463">
                <a:extLst>
                  <a:ext uri="{FF2B5EF4-FFF2-40B4-BE49-F238E27FC236}">
                    <a16:creationId xmlns:a16="http://schemas.microsoft.com/office/drawing/2014/main" id="{6C98E4EC-643B-30AC-5769-9C9340182FCD}"/>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465" name="Freeform 464">
                <a:extLst>
                  <a:ext uri="{FF2B5EF4-FFF2-40B4-BE49-F238E27FC236}">
                    <a16:creationId xmlns:a16="http://schemas.microsoft.com/office/drawing/2014/main" id="{91C0DEEB-0E1B-1950-8B21-D880500E36FD}"/>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66" name="Freeform 465">
                <a:extLst>
                  <a:ext uri="{FF2B5EF4-FFF2-40B4-BE49-F238E27FC236}">
                    <a16:creationId xmlns:a16="http://schemas.microsoft.com/office/drawing/2014/main" id="{7248E95F-9748-73CF-DAA9-C7BC53404DE4}"/>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467" name="Freeform 466">
                <a:extLst>
                  <a:ext uri="{FF2B5EF4-FFF2-40B4-BE49-F238E27FC236}">
                    <a16:creationId xmlns:a16="http://schemas.microsoft.com/office/drawing/2014/main" id="{74E8B14D-A84D-EFAD-4990-725E5D233076}"/>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468" name="Freeform 467">
                <a:extLst>
                  <a:ext uri="{FF2B5EF4-FFF2-40B4-BE49-F238E27FC236}">
                    <a16:creationId xmlns:a16="http://schemas.microsoft.com/office/drawing/2014/main" id="{0202ADAA-019C-34FC-D095-F46007E6747F}"/>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69" name="Freeform 468">
                <a:extLst>
                  <a:ext uri="{FF2B5EF4-FFF2-40B4-BE49-F238E27FC236}">
                    <a16:creationId xmlns:a16="http://schemas.microsoft.com/office/drawing/2014/main" id="{E53E220D-D5A3-74EC-DC1E-247C73273962}"/>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70" name="Freeform 469">
                <a:extLst>
                  <a:ext uri="{FF2B5EF4-FFF2-40B4-BE49-F238E27FC236}">
                    <a16:creationId xmlns:a16="http://schemas.microsoft.com/office/drawing/2014/main" id="{54FA3844-4FCA-9952-5C46-9A6792A86C10}"/>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grpSp>
          <p:nvGrpSpPr>
            <p:cNvPr id="629" name="Group 628">
              <a:extLst>
                <a:ext uri="{FF2B5EF4-FFF2-40B4-BE49-F238E27FC236}">
                  <a16:creationId xmlns:a16="http://schemas.microsoft.com/office/drawing/2014/main" id="{58902F13-676F-238B-A570-BFE6D7FDF736}"/>
                </a:ext>
              </a:extLst>
            </p:cNvPr>
            <p:cNvGrpSpPr/>
            <p:nvPr userDrawn="1"/>
          </p:nvGrpSpPr>
          <p:grpSpPr>
            <a:xfrm>
              <a:off x="923603" y="4702047"/>
              <a:ext cx="260485" cy="153670"/>
              <a:chOff x="962128" y="4702047"/>
              <a:chExt cx="260485" cy="153670"/>
            </a:xfrm>
          </p:grpSpPr>
          <p:sp>
            <p:nvSpPr>
              <p:cNvPr id="471" name="Freeform 470">
                <a:extLst>
                  <a:ext uri="{FF2B5EF4-FFF2-40B4-BE49-F238E27FC236}">
                    <a16:creationId xmlns:a16="http://schemas.microsoft.com/office/drawing/2014/main" id="{12CC7D25-8E40-24C8-12CE-8E4C08BF83CA}"/>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472" name="Freeform 471">
                <a:extLst>
                  <a:ext uri="{FF2B5EF4-FFF2-40B4-BE49-F238E27FC236}">
                    <a16:creationId xmlns:a16="http://schemas.microsoft.com/office/drawing/2014/main" id="{9ACE214B-21B4-3414-695A-14BD621A3B22}"/>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473" name="Freeform 472">
                <a:extLst>
                  <a:ext uri="{FF2B5EF4-FFF2-40B4-BE49-F238E27FC236}">
                    <a16:creationId xmlns:a16="http://schemas.microsoft.com/office/drawing/2014/main" id="{89784879-95F1-B410-E1A6-C19442B3DE95}"/>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474" name="Freeform 473">
                <a:extLst>
                  <a:ext uri="{FF2B5EF4-FFF2-40B4-BE49-F238E27FC236}">
                    <a16:creationId xmlns:a16="http://schemas.microsoft.com/office/drawing/2014/main" id="{E75AE40D-9DDC-D1CC-4D92-8DFEC9647FCB}"/>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475" name="Freeform 474">
                <a:extLst>
                  <a:ext uri="{FF2B5EF4-FFF2-40B4-BE49-F238E27FC236}">
                    <a16:creationId xmlns:a16="http://schemas.microsoft.com/office/drawing/2014/main" id="{CF94F612-D205-938D-1CB3-474148FA09DB}"/>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476" name="Freeform 475">
                <a:extLst>
                  <a:ext uri="{FF2B5EF4-FFF2-40B4-BE49-F238E27FC236}">
                    <a16:creationId xmlns:a16="http://schemas.microsoft.com/office/drawing/2014/main" id="{D17B1BF5-9232-C0CA-0AC8-4C65E899B3BE}"/>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477" name="Graphic 3">
              <a:extLst>
                <a:ext uri="{FF2B5EF4-FFF2-40B4-BE49-F238E27FC236}">
                  <a16:creationId xmlns:a16="http://schemas.microsoft.com/office/drawing/2014/main" id="{A3267C26-BBCE-ACF9-6C5B-D96D33D4FA6C}"/>
                </a:ext>
              </a:extLst>
            </p:cNvPr>
            <p:cNvGrpSpPr/>
            <p:nvPr/>
          </p:nvGrpSpPr>
          <p:grpSpPr>
            <a:xfrm>
              <a:off x="2814872" y="4720136"/>
              <a:ext cx="783492" cy="125040"/>
              <a:chOff x="2968984" y="4720136"/>
              <a:chExt cx="783492" cy="125040"/>
            </a:xfrm>
            <a:solidFill>
              <a:srgbClr val="FFFFFF"/>
            </a:solidFill>
          </p:grpSpPr>
          <p:sp>
            <p:nvSpPr>
              <p:cNvPr id="609" name="Freeform 608">
                <a:extLst>
                  <a:ext uri="{FF2B5EF4-FFF2-40B4-BE49-F238E27FC236}">
                    <a16:creationId xmlns:a16="http://schemas.microsoft.com/office/drawing/2014/main" id="{2C687A86-D39B-B99E-F2DB-842E51928DEB}"/>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610" name="Freeform 609">
                <a:extLst>
                  <a:ext uri="{FF2B5EF4-FFF2-40B4-BE49-F238E27FC236}">
                    <a16:creationId xmlns:a16="http://schemas.microsoft.com/office/drawing/2014/main" id="{C69C66ED-E7C7-83F2-7278-014FA7FDB626}"/>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611" name="Freeform 610">
                <a:extLst>
                  <a:ext uri="{FF2B5EF4-FFF2-40B4-BE49-F238E27FC236}">
                    <a16:creationId xmlns:a16="http://schemas.microsoft.com/office/drawing/2014/main" id="{81B53600-3264-B579-29FB-64A0EF6DA3C5}"/>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612" name="Freeform 611">
                <a:extLst>
                  <a:ext uri="{FF2B5EF4-FFF2-40B4-BE49-F238E27FC236}">
                    <a16:creationId xmlns:a16="http://schemas.microsoft.com/office/drawing/2014/main" id="{ACF50FC2-B6B4-FB0A-D544-455242F0A940}"/>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613" name="Freeform 612">
                <a:extLst>
                  <a:ext uri="{FF2B5EF4-FFF2-40B4-BE49-F238E27FC236}">
                    <a16:creationId xmlns:a16="http://schemas.microsoft.com/office/drawing/2014/main" id="{ED282BDB-D850-F411-712D-0A3B32E62558}"/>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614" name="Freeform 613">
                <a:extLst>
                  <a:ext uri="{FF2B5EF4-FFF2-40B4-BE49-F238E27FC236}">
                    <a16:creationId xmlns:a16="http://schemas.microsoft.com/office/drawing/2014/main" id="{3BB95852-B710-CE5D-8BD5-2D23E4F7195E}"/>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615" name="Freeform 614">
                <a:extLst>
                  <a:ext uri="{FF2B5EF4-FFF2-40B4-BE49-F238E27FC236}">
                    <a16:creationId xmlns:a16="http://schemas.microsoft.com/office/drawing/2014/main" id="{305A8DB1-4966-D310-9FD7-6C5FF44E0678}"/>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16" name="Freeform 615">
                <a:extLst>
                  <a:ext uri="{FF2B5EF4-FFF2-40B4-BE49-F238E27FC236}">
                    <a16:creationId xmlns:a16="http://schemas.microsoft.com/office/drawing/2014/main" id="{D1AD0E3D-3B4F-A5C8-2DFE-3F286651BBF3}"/>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617" name="Freeform 616">
                <a:extLst>
                  <a:ext uri="{FF2B5EF4-FFF2-40B4-BE49-F238E27FC236}">
                    <a16:creationId xmlns:a16="http://schemas.microsoft.com/office/drawing/2014/main" id="{C2788B1D-0524-4008-64B3-B2B0A16ECCDF}"/>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618" name="Freeform 617">
                <a:extLst>
                  <a:ext uri="{FF2B5EF4-FFF2-40B4-BE49-F238E27FC236}">
                    <a16:creationId xmlns:a16="http://schemas.microsoft.com/office/drawing/2014/main" id="{FE4647AA-3F11-9233-10A8-5F3886B9741C}"/>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619" name="Freeform 618">
                <a:extLst>
                  <a:ext uri="{FF2B5EF4-FFF2-40B4-BE49-F238E27FC236}">
                    <a16:creationId xmlns:a16="http://schemas.microsoft.com/office/drawing/2014/main" id="{AAB78524-68C2-E661-5E6E-A221ADCA897C}"/>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620" name="Freeform 619">
                <a:extLst>
                  <a:ext uri="{FF2B5EF4-FFF2-40B4-BE49-F238E27FC236}">
                    <a16:creationId xmlns:a16="http://schemas.microsoft.com/office/drawing/2014/main" id="{43B8F210-E052-0C18-0E4E-022FDC41F2BB}"/>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621" name="Freeform 620">
                <a:extLst>
                  <a:ext uri="{FF2B5EF4-FFF2-40B4-BE49-F238E27FC236}">
                    <a16:creationId xmlns:a16="http://schemas.microsoft.com/office/drawing/2014/main" id="{8FE6DCC9-4F76-1EB2-4603-46D6CFFA6194}"/>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622" name="Freeform 621">
                <a:extLst>
                  <a:ext uri="{FF2B5EF4-FFF2-40B4-BE49-F238E27FC236}">
                    <a16:creationId xmlns:a16="http://schemas.microsoft.com/office/drawing/2014/main" id="{FB5E1567-EAFE-D477-B385-4D6ABDCB2695}"/>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23" name="Freeform 622">
                <a:extLst>
                  <a:ext uri="{FF2B5EF4-FFF2-40B4-BE49-F238E27FC236}">
                    <a16:creationId xmlns:a16="http://schemas.microsoft.com/office/drawing/2014/main" id="{C9CF46BD-A81F-49A4-F153-3EE907DA809C}"/>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478" name="Freeform 477">
              <a:extLst>
                <a:ext uri="{FF2B5EF4-FFF2-40B4-BE49-F238E27FC236}">
                  <a16:creationId xmlns:a16="http://schemas.microsoft.com/office/drawing/2014/main" id="{41EA3FB8-D01F-252A-5C57-2011F1C6AE22}"/>
                </a:ext>
              </a:extLst>
            </p:cNvPr>
            <p:cNvSpPr/>
            <p:nvPr/>
          </p:nvSpPr>
          <p:spPr>
            <a:xfrm>
              <a:off x="349619" y="4649723"/>
              <a:ext cx="444709" cy="259460"/>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628" name="Group 627">
              <a:extLst>
                <a:ext uri="{FF2B5EF4-FFF2-40B4-BE49-F238E27FC236}">
                  <a16:creationId xmlns:a16="http://schemas.microsoft.com/office/drawing/2014/main" id="{63DF3AB0-3F7E-95A9-D894-98F4AE5E9C46}"/>
                </a:ext>
              </a:extLst>
            </p:cNvPr>
            <p:cNvGrpSpPr/>
            <p:nvPr userDrawn="1"/>
          </p:nvGrpSpPr>
          <p:grpSpPr>
            <a:xfrm>
              <a:off x="1313363" y="4541317"/>
              <a:ext cx="497543" cy="342213"/>
              <a:chOff x="1390414" y="4541317"/>
              <a:chExt cx="497543" cy="342213"/>
            </a:xfrm>
          </p:grpSpPr>
          <p:sp>
            <p:nvSpPr>
              <p:cNvPr id="479" name="Freeform 478">
                <a:extLst>
                  <a:ext uri="{FF2B5EF4-FFF2-40B4-BE49-F238E27FC236}">
                    <a16:creationId xmlns:a16="http://schemas.microsoft.com/office/drawing/2014/main" id="{5062EA06-BD23-84A2-EB71-B13CCB1447C5}"/>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480" name="Freeform 479">
                <a:extLst>
                  <a:ext uri="{FF2B5EF4-FFF2-40B4-BE49-F238E27FC236}">
                    <a16:creationId xmlns:a16="http://schemas.microsoft.com/office/drawing/2014/main" id="{2EC695BC-BD4D-BED1-7B41-BBEA9CB023C6}"/>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481" name="Freeform 480">
                <a:extLst>
                  <a:ext uri="{FF2B5EF4-FFF2-40B4-BE49-F238E27FC236}">
                    <a16:creationId xmlns:a16="http://schemas.microsoft.com/office/drawing/2014/main" id="{50730181-121A-270F-EC7F-2991B0DE903E}"/>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482" name="Freeform 481">
                <a:extLst>
                  <a:ext uri="{FF2B5EF4-FFF2-40B4-BE49-F238E27FC236}">
                    <a16:creationId xmlns:a16="http://schemas.microsoft.com/office/drawing/2014/main" id="{6D856C60-E752-BBD1-0EE1-BCD0984A0D65}"/>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3" name="Freeform 482">
                <a:extLst>
                  <a:ext uri="{FF2B5EF4-FFF2-40B4-BE49-F238E27FC236}">
                    <a16:creationId xmlns:a16="http://schemas.microsoft.com/office/drawing/2014/main" id="{A1E0C006-59EA-D159-E8B7-DB0457287181}"/>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484" name="Freeform 483">
                <a:extLst>
                  <a:ext uri="{FF2B5EF4-FFF2-40B4-BE49-F238E27FC236}">
                    <a16:creationId xmlns:a16="http://schemas.microsoft.com/office/drawing/2014/main" id="{A4FA3260-AC9D-603E-082A-9B76504DAB68}"/>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485" name="Freeform 484">
                <a:extLst>
                  <a:ext uri="{FF2B5EF4-FFF2-40B4-BE49-F238E27FC236}">
                    <a16:creationId xmlns:a16="http://schemas.microsoft.com/office/drawing/2014/main" id="{05BCE170-604D-D89D-8192-C1FEF15C338B}"/>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486" name="Freeform 485">
                <a:extLst>
                  <a:ext uri="{FF2B5EF4-FFF2-40B4-BE49-F238E27FC236}">
                    <a16:creationId xmlns:a16="http://schemas.microsoft.com/office/drawing/2014/main" id="{2804C466-AE6E-073A-C3CD-C7BCD516AE2E}"/>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487" name="Freeform 486">
                <a:extLst>
                  <a:ext uri="{FF2B5EF4-FFF2-40B4-BE49-F238E27FC236}">
                    <a16:creationId xmlns:a16="http://schemas.microsoft.com/office/drawing/2014/main" id="{279348FA-3F90-7F53-EB9B-DDC9CC327F39}"/>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8" name="Freeform 487">
                <a:extLst>
                  <a:ext uri="{FF2B5EF4-FFF2-40B4-BE49-F238E27FC236}">
                    <a16:creationId xmlns:a16="http://schemas.microsoft.com/office/drawing/2014/main" id="{364BAC43-3F10-372B-FA56-84692DAA7356}"/>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489" name="Freeform 488">
                <a:extLst>
                  <a:ext uri="{FF2B5EF4-FFF2-40B4-BE49-F238E27FC236}">
                    <a16:creationId xmlns:a16="http://schemas.microsoft.com/office/drawing/2014/main" id="{71F800D1-B7FD-67CE-1152-2F668168BF50}"/>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490" name="Freeform 489">
                <a:extLst>
                  <a:ext uri="{FF2B5EF4-FFF2-40B4-BE49-F238E27FC236}">
                    <a16:creationId xmlns:a16="http://schemas.microsoft.com/office/drawing/2014/main" id="{1DBB0884-4DA0-3E68-9415-E19B55CAD163}"/>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491" name="Freeform 490">
                <a:extLst>
                  <a:ext uri="{FF2B5EF4-FFF2-40B4-BE49-F238E27FC236}">
                    <a16:creationId xmlns:a16="http://schemas.microsoft.com/office/drawing/2014/main" id="{53634D76-B92D-30DF-ED6A-32F1F3E07571}"/>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492" name="Freeform 491">
                <a:extLst>
                  <a:ext uri="{FF2B5EF4-FFF2-40B4-BE49-F238E27FC236}">
                    <a16:creationId xmlns:a16="http://schemas.microsoft.com/office/drawing/2014/main" id="{90C72508-2EBA-6838-3FE1-1B159B11C257}"/>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493" name="Freeform 492">
                <a:extLst>
                  <a:ext uri="{FF2B5EF4-FFF2-40B4-BE49-F238E27FC236}">
                    <a16:creationId xmlns:a16="http://schemas.microsoft.com/office/drawing/2014/main" id="{472E483B-7AFD-DF4E-9E7F-28F69DBB653C}"/>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494" name="Freeform 493">
                <a:extLst>
                  <a:ext uri="{FF2B5EF4-FFF2-40B4-BE49-F238E27FC236}">
                    <a16:creationId xmlns:a16="http://schemas.microsoft.com/office/drawing/2014/main" id="{478AE392-A090-7AF4-EC02-4A13E9D7DD5B}"/>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495" name="Freeform 494">
                <a:extLst>
                  <a:ext uri="{FF2B5EF4-FFF2-40B4-BE49-F238E27FC236}">
                    <a16:creationId xmlns:a16="http://schemas.microsoft.com/office/drawing/2014/main" id="{5EC83068-628C-C4F5-59EE-A8C1BA313E38}"/>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496" name="Freeform 495">
                <a:extLst>
                  <a:ext uri="{FF2B5EF4-FFF2-40B4-BE49-F238E27FC236}">
                    <a16:creationId xmlns:a16="http://schemas.microsoft.com/office/drawing/2014/main" id="{76D8003D-5375-1095-4C3A-5099F276DDF9}"/>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497" name="Freeform 496">
                <a:extLst>
                  <a:ext uri="{FF2B5EF4-FFF2-40B4-BE49-F238E27FC236}">
                    <a16:creationId xmlns:a16="http://schemas.microsoft.com/office/drawing/2014/main" id="{6C187A52-33B2-F646-698D-31AE6F1E565A}"/>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498" name="Freeform 497">
                <a:extLst>
                  <a:ext uri="{FF2B5EF4-FFF2-40B4-BE49-F238E27FC236}">
                    <a16:creationId xmlns:a16="http://schemas.microsoft.com/office/drawing/2014/main" id="{55FF38D3-09F2-4FBC-DD35-6615B8E1BA61}"/>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499" name="Freeform 498">
                <a:extLst>
                  <a:ext uri="{FF2B5EF4-FFF2-40B4-BE49-F238E27FC236}">
                    <a16:creationId xmlns:a16="http://schemas.microsoft.com/office/drawing/2014/main" id="{C8E2C623-7030-9E21-10CA-C5D85778DB9D}"/>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00" name="Freeform 499">
                <a:extLst>
                  <a:ext uri="{FF2B5EF4-FFF2-40B4-BE49-F238E27FC236}">
                    <a16:creationId xmlns:a16="http://schemas.microsoft.com/office/drawing/2014/main" id="{ADAD61F8-C769-3AB0-3B40-82C17B869A3B}"/>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501" name="Freeform 500">
                <a:extLst>
                  <a:ext uri="{FF2B5EF4-FFF2-40B4-BE49-F238E27FC236}">
                    <a16:creationId xmlns:a16="http://schemas.microsoft.com/office/drawing/2014/main" id="{F6E1F12A-F778-3DD3-4042-AF59F46B8D3E}"/>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502" name="Freeform 501">
                <a:extLst>
                  <a:ext uri="{FF2B5EF4-FFF2-40B4-BE49-F238E27FC236}">
                    <a16:creationId xmlns:a16="http://schemas.microsoft.com/office/drawing/2014/main" id="{A336E092-6C95-D770-26DF-05191AF89328}"/>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03" name="Freeform 502">
                <a:extLst>
                  <a:ext uri="{FF2B5EF4-FFF2-40B4-BE49-F238E27FC236}">
                    <a16:creationId xmlns:a16="http://schemas.microsoft.com/office/drawing/2014/main" id="{CE3D43D7-AA81-5DF5-0544-63CC8434F415}"/>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04" name="Freeform 503">
                <a:extLst>
                  <a:ext uri="{FF2B5EF4-FFF2-40B4-BE49-F238E27FC236}">
                    <a16:creationId xmlns:a16="http://schemas.microsoft.com/office/drawing/2014/main" id="{602948C4-ED2C-6EF6-EF51-0E468E043B93}"/>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505" name="Freeform 504">
                <a:extLst>
                  <a:ext uri="{FF2B5EF4-FFF2-40B4-BE49-F238E27FC236}">
                    <a16:creationId xmlns:a16="http://schemas.microsoft.com/office/drawing/2014/main" id="{F3D9CB05-1D36-A11E-51F3-DD4E6B063A5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506" name="Freeform 505">
                <a:extLst>
                  <a:ext uri="{FF2B5EF4-FFF2-40B4-BE49-F238E27FC236}">
                    <a16:creationId xmlns:a16="http://schemas.microsoft.com/office/drawing/2014/main" id="{D62914F2-61BA-F33A-C999-786E7BD4986C}"/>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507" name="Freeform 506">
                <a:extLst>
                  <a:ext uri="{FF2B5EF4-FFF2-40B4-BE49-F238E27FC236}">
                    <a16:creationId xmlns:a16="http://schemas.microsoft.com/office/drawing/2014/main" id="{54E1C5C6-CD20-92ED-D96D-16A25FF7E3E2}"/>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08" name="Freeform 507">
                <a:extLst>
                  <a:ext uri="{FF2B5EF4-FFF2-40B4-BE49-F238E27FC236}">
                    <a16:creationId xmlns:a16="http://schemas.microsoft.com/office/drawing/2014/main" id="{7FB78DCB-81E9-8C19-0EFF-9011CF0A0E3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09" name="Freeform 508">
                <a:extLst>
                  <a:ext uri="{FF2B5EF4-FFF2-40B4-BE49-F238E27FC236}">
                    <a16:creationId xmlns:a16="http://schemas.microsoft.com/office/drawing/2014/main" id="{3DF53267-9908-B29D-B6CB-483B54DDFE5D}"/>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0" name="Freeform 509">
                <a:extLst>
                  <a:ext uri="{FF2B5EF4-FFF2-40B4-BE49-F238E27FC236}">
                    <a16:creationId xmlns:a16="http://schemas.microsoft.com/office/drawing/2014/main" id="{6AEAD5AB-34B0-C53D-870D-70C5E97D8265}"/>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1" name="Freeform 510">
                <a:extLst>
                  <a:ext uri="{FF2B5EF4-FFF2-40B4-BE49-F238E27FC236}">
                    <a16:creationId xmlns:a16="http://schemas.microsoft.com/office/drawing/2014/main" id="{CA02E411-9597-2E34-9B18-CA82A891B7C7}"/>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512" name="Freeform 511">
                <a:extLst>
                  <a:ext uri="{FF2B5EF4-FFF2-40B4-BE49-F238E27FC236}">
                    <a16:creationId xmlns:a16="http://schemas.microsoft.com/office/drawing/2014/main" id="{EF201612-C3B0-78CE-BD54-10E92F3C68F4}"/>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3" name="Freeform 512">
                <a:extLst>
                  <a:ext uri="{FF2B5EF4-FFF2-40B4-BE49-F238E27FC236}">
                    <a16:creationId xmlns:a16="http://schemas.microsoft.com/office/drawing/2014/main" id="{D8EA0B4B-9B0C-4811-611E-7CC2B9F62A8D}"/>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4" name="Freeform 513">
                <a:extLst>
                  <a:ext uri="{FF2B5EF4-FFF2-40B4-BE49-F238E27FC236}">
                    <a16:creationId xmlns:a16="http://schemas.microsoft.com/office/drawing/2014/main" id="{175D98E4-363F-7A1E-6E46-A236F5883853}"/>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515" name="Freeform 514">
                <a:extLst>
                  <a:ext uri="{FF2B5EF4-FFF2-40B4-BE49-F238E27FC236}">
                    <a16:creationId xmlns:a16="http://schemas.microsoft.com/office/drawing/2014/main" id="{A1B7CA03-D62A-7684-D87B-FE6C3F766ECE}"/>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6" name="Freeform 515">
                <a:extLst>
                  <a:ext uri="{FF2B5EF4-FFF2-40B4-BE49-F238E27FC236}">
                    <a16:creationId xmlns:a16="http://schemas.microsoft.com/office/drawing/2014/main" id="{0530B3E2-A8BE-CA71-15ED-EFDD457A748B}"/>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7" name="Freeform 516">
                <a:extLst>
                  <a:ext uri="{FF2B5EF4-FFF2-40B4-BE49-F238E27FC236}">
                    <a16:creationId xmlns:a16="http://schemas.microsoft.com/office/drawing/2014/main" id="{0373BA15-7671-1DEF-AB95-5E0A4277915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8" name="Freeform 517">
                <a:extLst>
                  <a:ext uri="{FF2B5EF4-FFF2-40B4-BE49-F238E27FC236}">
                    <a16:creationId xmlns:a16="http://schemas.microsoft.com/office/drawing/2014/main" id="{D2F75F76-4F36-CFBE-FBBA-082DFD709EF7}"/>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9" name="Freeform 518">
                <a:extLst>
                  <a:ext uri="{FF2B5EF4-FFF2-40B4-BE49-F238E27FC236}">
                    <a16:creationId xmlns:a16="http://schemas.microsoft.com/office/drawing/2014/main" id="{880E691D-B2ED-B389-ED38-351C8FB83069}"/>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520" name="Freeform 519">
                <a:extLst>
                  <a:ext uri="{FF2B5EF4-FFF2-40B4-BE49-F238E27FC236}">
                    <a16:creationId xmlns:a16="http://schemas.microsoft.com/office/drawing/2014/main" id="{D70AD7D9-DC33-BB7B-862E-53BDFD614BE9}"/>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521" name="Freeform 520">
                <a:extLst>
                  <a:ext uri="{FF2B5EF4-FFF2-40B4-BE49-F238E27FC236}">
                    <a16:creationId xmlns:a16="http://schemas.microsoft.com/office/drawing/2014/main" id="{37357289-1A58-8BCD-B806-74670C2316F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2" name="Freeform 521">
                <a:extLst>
                  <a:ext uri="{FF2B5EF4-FFF2-40B4-BE49-F238E27FC236}">
                    <a16:creationId xmlns:a16="http://schemas.microsoft.com/office/drawing/2014/main" id="{64A9098D-D3CE-5737-1620-C981D76A48E7}"/>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23" name="Freeform 522">
                <a:extLst>
                  <a:ext uri="{FF2B5EF4-FFF2-40B4-BE49-F238E27FC236}">
                    <a16:creationId xmlns:a16="http://schemas.microsoft.com/office/drawing/2014/main" id="{8979ADC0-2299-544F-4D42-A585AAA1D773}"/>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24" name="Freeform 523">
                <a:extLst>
                  <a:ext uri="{FF2B5EF4-FFF2-40B4-BE49-F238E27FC236}">
                    <a16:creationId xmlns:a16="http://schemas.microsoft.com/office/drawing/2014/main" id="{0AA72C6A-2C48-CAE4-F08D-E098BB19C7BC}"/>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25" name="Freeform 524">
                <a:extLst>
                  <a:ext uri="{FF2B5EF4-FFF2-40B4-BE49-F238E27FC236}">
                    <a16:creationId xmlns:a16="http://schemas.microsoft.com/office/drawing/2014/main" id="{EC6E8422-DF16-A98C-503F-1A2825EAA967}"/>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526" name="Freeform 525">
                <a:extLst>
                  <a:ext uri="{FF2B5EF4-FFF2-40B4-BE49-F238E27FC236}">
                    <a16:creationId xmlns:a16="http://schemas.microsoft.com/office/drawing/2014/main" id="{E451219E-5413-FA39-7F84-C227AB2A8A86}"/>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7" name="Freeform 526">
                <a:extLst>
                  <a:ext uri="{FF2B5EF4-FFF2-40B4-BE49-F238E27FC236}">
                    <a16:creationId xmlns:a16="http://schemas.microsoft.com/office/drawing/2014/main" id="{C029EBCF-550F-3A00-72C8-54E1FA8B3DA9}"/>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627" name="Group 626">
              <a:extLst>
                <a:ext uri="{FF2B5EF4-FFF2-40B4-BE49-F238E27FC236}">
                  <a16:creationId xmlns:a16="http://schemas.microsoft.com/office/drawing/2014/main" id="{FBC5FCDF-B436-F6A3-3FB6-5605940F668E}"/>
                </a:ext>
              </a:extLst>
            </p:cNvPr>
            <p:cNvGrpSpPr/>
            <p:nvPr userDrawn="1"/>
          </p:nvGrpSpPr>
          <p:grpSpPr>
            <a:xfrm>
              <a:off x="1940181" y="4723384"/>
              <a:ext cx="745416" cy="122935"/>
              <a:chOff x="2055895" y="4723384"/>
              <a:chExt cx="745416" cy="122935"/>
            </a:xfrm>
          </p:grpSpPr>
          <p:sp>
            <p:nvSpPr>
              <p:cNvPr id="528" name="Freeform 527">
                <a:extLst>
                  <a:ext uri="{FF2B5EF4-FFF2-40B4-BE49-F238E27FC236}">
                    <a16:creationId xmlns:a16="http://schemas.microsoft.com/office/drawing/2014/main" id="{D15DE007-062F-C91E-013E-968B84C7D0A2}"/>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529" name="Freeform 528">
                <a:extLst>
                  <a:ext uri="{FF2B5EF4-FFF2-40B4-BE49-F238E27FC236}">
                    <a16:creationId xmlns:a16="http://schemas.microsoft.com/office/drawing/2014/main" id="{B320DC48-2E2B-4E61-AAA5-0EA471042BF4}"/>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530" name="Freeform 529">
                <a:extLst>
                  <a:ext uri="{FF2B5EF4-FFF2-40B4-BE49-F238E27FC236}">
                    <a16:creationId xmlns:a16="http://schemas.microsoft.com/office/drawing/2014/main" id="{EE918484-8FCD-D84B-40A0-D07546E74217}"/>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531" name="Freeform 530">
                <a:extLst>
                  <a:ext uri="{FF2B5EF4-FFF2-40B4-BE49-F238E27FC236}">
                    <a16:creationId xmlns:a16="http://schemas.microsoft.com/office/drawing/2014/main" id="{129F9C20-A4A6-4FC1-3EA4-67DD069F0E2F}"/>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532" name="Freeform 531">
                <a:extLst>
                  <a:ext uri="{FF2B5EF4-FFF2-40B4-BE49-F238E27FC236}">
                    <a16:creationId xmlns:a16="http://schemas.microsoft.com/office/drawing/2014/main" id="{39CA71EA-7181-84DD-D1B5-D715FDF77598}"/>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33" name="Freeform 532">
                <a:extLst>
                  <a:ext uri="{FF2B5EF4-FFF2-40B4-BE49-F238E27FC236}">
                    <a16:creationId xmlns:a16="http://schemas.microsoft.com/office/drawing/2014/main" id="{E4345EA9-15E0-3885-1C92-91F83C1BB8F0}"/>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534" name="Freeform 533">
                <a:extLst>
                  <a:ext uri="{FF2B5EF4-FFF2-40B4-BE49-F238E27FC236}">
                    <a16:creationId xmlns:a16="http://schemas.microsoft.com/office/drawing/2014/main" id="{123B3629-3545-2316-82D1-F0D21BCBBBC0}"/>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535" name="Freeform 534">
                <a:extLst>
                  <a:ext uri="{FF2B5EF4-FFF2-40B4-BE49-F238E27FC236}">
                    <a16:creationId xmlns:a16="http://schemas.microsoft.com/office/drawing/2014/main" id="{1D06A95F-0128-9779-C1F0-AF6780447631}"/>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536" name="Freeform 535">
                <a:extLst>
                  <a:ext uri="{FF2B5EF4-FFF2-40B4-BE49-F238E27FC236}">
                    <a16:creationId xmlns:a16="http://schemas.microsoft.com/office/drawing/2014/main" id="{0B5AD91F-B29C-1992-22AA-7CCD50EB1405}"/>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537" name="Freeform 536">
                <a:extLst>
                  <a:ext uri="{FF2B5EF4-FFF2-40B4-BE49-F238E27FC236}">
                    <a16:creationId xmlns:a16="http://schemas.microsoft.com/office/drawing/2014/main" id="{61CA5669-A5AB-B839-F2B4-76B216071C80}"/>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538" name="Freeform 537">
                <a:extLst>
                  <a:ext uri="{FF2B5EF4-FFF2-40B4-BE49-F238E27FC236}">
                    <a16:creationId xmlns:a16="http://schemas.microsoft.com/office/drawing/2014/main" id="{00A349EE-5D63-3DFA-F131-9811801A1902}"/>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539" name="Freeform 538">
                <a:extLst>
                  <a:ext uri="{FF2B5EF4-FFF2-40B4-BE49-F238E27FC236}">
                    <a16:creationId xmlns:a16="http://schemas.microsoft.com/office/drawing/2014/main" id="{B9A7120A-317F-B576-CB73-EE7EE7B6C159}"/>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540" name="Freeform 539">
                <a:extLst>
                  <a:ext uri="{FF2B5EF4-FFF2-40B4-BE49-F238E27FC236}">
                    <a16:creationId xmlns:a16="http://schemas.microsoft.com/office/drawing/2014/main" id="{9F65FAF8-A221-B9AD-73CF-4EEC596EBCEF}"/>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41" name="Freeform 540">
                <a:extLst>
                  <a:ext uri="{FF2B5EF4-FFF2-40B4-BE49-F238E27FC236}">
                    <a16:creationId xmlns:a16="http://schemas.microsoft.com/office/drawing/2014/main" id="{D5A5B3D1-CABC-98A4-16EB-7D9B988BBE4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542" name="Freeform 541">
                <a:extLst>
                  <a:ext uri="{FF2B5EF4-FFF2-40B4-BE49-F238E27FC236}">
                    <a16:creationId xmlns:a16="http://schemas.microsoft.com/office/drawing/2014/main" id="{7CC49013-657F-E088-3700-02FC497B1C5F}"/>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43" name="Freeform 542">
                <a:extLst>
                  <a:ext uri="{FF2B5EF4-FFF2-40B4-BE49-F238E27FC236}">
                    <a16:creationId xmlns:a16="http://schemas.microsoft.com/office/drawing/2014/main" id="{6FB21EB5-0B2D-DEA3-350E-8778B4590FF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44" name="Freeform 543">
                <a:extLst>
                  <a:ext uri="{FF2B5EF4-FFF2-40B4-BE49-F238E27FC236}">
                    <a16:creationId xmlns:a16="http://schemas.microsoft.com/office/drawing/2014/main" id="{FB45B426-5912-C719-FB37-5712980F655A}"/>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545" name="Freeform 544">
                <a:extLst>
                  <a:ext uri="{FF2B5EF4-FFF2-40B4-BE49-F238E27FC236}">
                    <a16:creationId xmlns:a16="http://schemas.microsoft.com/office/drawing/2014/main" id="{1868A739-1C15-A8E1-ED1B-83E242B00A42}"/>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546" name="Freeform 545">
                <a:extLst>
                  <a:ext uri="{FF2B5EF4-FFF2-40B4-BE49-F238E27FC236}">
                    <a16:creationId xmlns:a16="http://schemas.microsoft.com/office/drawing/2014/main" id="{703CCB98-414F-9802-5279-64AB999A8029}"/>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47" name="Freeform 546">
                <a:extLst>
                  <a:ext uri="{FF2B5EF4-FFF2-40B4-BE49-F238E27FC236}">
                    <a16:creationId xmlns:a16="http://schemas.microsoft.com/office/drawing/2014/main" id="{97957FB6-3E5A-C8F0-34D1-3EAACB93467C}"/>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548" name="Freeform 547">
                <a:extLst>
                  <a:ext uri="{FF2B5EF4-FFF2-40B4-BE49-F238E27FC236}">
                    <a16:creationId xmlns:a16="http://schemas.microsoft.com/office/drawing/2014/main" id="{47EC6305-97BF-F7A4-51E8-4B7A7E2742AB}"/>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549" name="Freeform 548">
                <a:extLst>
                  <a:ext uri="{FF2B5EF4-FFF2-40B4-BE49-F238E27FC236}">
                    <a16:creationId xmlns:a16="http://schemas.microsoft.com/office/drawing/2014/main" id="{E72E2E5D-6D5B-E49A-1FB4-6AF63FC7DE00}"/>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550" name="Freeform 549">
                <a:extLst>
                  <a:ext uri="{FF2B5EF4-FFF2-40B4-BE49-F238E27FC236}">
                    <a16:creationId xmlns:a16="http://schemas.microsoft.com/office/drawing/2014/main" id="{6B57B4C8-C3DA-9854-21F2-263501CC57B7}"/>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51" name="Freeform 550">
                <a:extLst>
                  <a:ext uri="{FF2B5EF4-FFF2-40B4-BE49-F238E27FC236}">
                    <a16:creationId xmlns:a16="http://schemas.microsoft.com/office/drawing/2014/main" id="{F699712E-C261-2BBB-0F26-F61E3CFBE24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552" name="Freeform 551">
                <a:extLst>
                  <a:ext uri="{FF2B5EF4-FFF2-40B4-BE49-F238E27FC236}">
                    <a16:creationId xmlns:a16="http://schemas.microsoft.com/office/drawing/2014/main" id="{94ECD873-7D9F-BB88-8F81-752C8B12D157}"/>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53" name="Freeform 552">
                <a:extLst>
                  <a:ext uri="{FF2B5EF4-FFF2-40B4-BE49-F238E27FC236}">
                    <a16:creationId xmlns:a16="http://schemas.microsoft.com/office/drawing/2014/main" id="{0F43B476-0AFB-FBEB-98E9-E86AEF3F9071}"/>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554" name="Freeform 553">
                <a:extLst>
                  <a:ext uri="{FF2B5EF4-FFF2-40B4-BE49-F238E27FC236}">
                    <a16:creationId xmlns:a16="http://schemas.microsoft.com/office/drawing/2014/main" id="{F8DD87B9-4585-6DB7-E349-414BB2415EB7}"/>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555" name="Freeform 554">
                <a:extLst>
                  <a:ext uri="{FF2B5EF4-FFF2-40B4-BE49-F238E27FC236}">
                    <a16:creationId xmlns:a16="http://schemas.microsoft.com/office/drawing/2014/main" id="{22B5F3BD-8679-C9F9-2735-E52A952CB378}"/>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556" name="Freeform 555">
                <a:extLst>
                  <a:ext uri="{FF2B5EF4-FFF2-40B4-BE49-F238E27FC236}">
                    <a16:creationId xmlns:a16="http://schemas.microsoft.com/office/drawing/2014/main" id="{5696D43C-35B5-20AE-E8AD-27D577C1FFE6}"/>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557" name="Freeform 556">
                <a:extLst>
                  <a:ext uri="{FF2B5EF4-FFF2-40B4-BE49-F238E27FC236}">
                    <a16:creationId xmlns:a16="http://schemas.microsoft.com/office/drawing/2014/main" id="{BAFC77DD-01C0-53E0-FC02-A3121AEC1AFE}"/>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558" name="Freeform 557">
                <a:extLst>
                  <a:ext uri="{FF2B5EF4-FFF2-40B4-BE49-F238E27FC236}">
                    <a16:creationId xmlns:a16="http://schemas.microsoft.com/office/drawing/2014/main" id="{5D031443-B2BF-68C4-5A48-6BA9C89644A1}"/>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59" name="Freeform 558">
                <a:extLst>
                  <a:ext uri="{FF2B5EF4-FFF2-40B4-BE49-F238E27FC236}">
                    <a16:creationId xmlns:a16="http://schemas.microsoft.com/office/drawing/2014/main" id="{B972D882-8746-5962-81F0-3D1361D13C23}"/>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560" name="Freeform 559">
                <a:extLst>
                  <a:ext uri="{FF2B5EF4-FFF2-40B4-BE49-F238E27FC236}">
                    <a16:creationId xmlns:a16="http://schemas.microsoft.com/office/drawing/2014/main" id="{87CB8ACA-DF79-997F-735B-11CD2205E469}"/>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pic>
          <p:nvPicPr>
            <p:cNvPr id="8" name="Graphic 7">
              <a:extLst>
                <a:ext uri="{FF2B5EF4-FFF2-40B4-BE49-F238E27FC236}">
                  <a16:creationId xmlns:a16="http://schemas.microsoft.com/office/drawing/2014/main" id="{FA984459-DE02-D722-4C29-DE6203B544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722802" y="4695365"/>
              <a:ext cx="563228" cy="163518"/>
            </a:xfrm>
            <a:prstGeom prst="rect">
              <a:avLst/>
            </a:prstGeom>
          </p:spPr>
        </p:pic>
      </p:grpSp>
    </p:spTree>
    <p:extLst>
      <p:ext uri="{BB962C8B-B14F-4D97-AF65-F5344CB8AC3E}">
        <p14:creationId xmlns:p14="http://schemas.microsoft.com/office/powerpoint/2010/main" val="239060311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left">
    <p:bg>
      <p:bgPr>
        <a:solidFill>
          <a:schemeClr val="bg1"/>
        </a:solidFill>
        <a:effectLst/>
      </p:bgPr>
    </p:bg>
    <p:spTree>
      <p:nvGrpSpPr>
        <p:cNvPr id="1" name=""/>
        <p:cNvGrpSpPr/>
        <p:nvPr/>
      </p:nvGrpSpPr>
      <p:grpSpPr>
        <a:xfrm>
          <a:off x="0" y="0"/>
          <a:ext cx="0" cy="0"/>
          <a:chOff x="0" y="0"/>
          <a:chExt cx="0" cy="0"/>
        </a:xfrm>
      </p:grpSpPr>
      <p:sp>
        <p:nvSpPr>
          <p:cNvPr id="3" name="Picture Placeholder 13">
            <a:extLst>
              <a:ext uri="{FF2B5EF4-FFF2-40B4-BE49-F238E27FC236}">
                <a16:creationId xmlns:a16="http://schemas.microsoft.com/office/drawing/2014/main" id="{54539A10-8185-B943-C73A-D2F53BA2573A}"/>
              </a:ext>
            </a:extLst>
          </p:cNvPr>
          <p:cNvSpPr>
            <a:spLocks noGrp="1"/>
          </p:cNvSpPr>
          <p:nvPr>
            <p:ph type="pic" sz="quarter" idx="13" hasCustomPrompt="1"/>
          </p:nvPr>
        </p:nvSpPr>
        <p:spPr>
          <a:xfrm>
            <a:off x="-1" y="-1"/>
            <a:ext cx="4952999" cy="6854399"/>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2" name="Title 1"/>
          <p:cNvSpPr>
            <a:spLocks noGrp="1"/>
          </p:cNvSpPr>
          <p:nvPr>
            <p:ph type="title" hasCustomPrompt="1"/>
          </p:nvPr>
        </p:nvSpPr>
        <p:spPr>
          <a:xfrm>
            <a:off x="5486400" y="1454604"/>
            <a:ext cx="6220797" cy="1521816"/>
          </a:xfrm>
        </p:spPr>
        <p:txBody>
          <a:bodyPr anchor="b" anchorCtr="0">
            <a:normAutofit/>
          </a:bodyPr>
          <a:lstStyle>
            <a:lvl1pPr>
              <a:defRPr sz="3200"/>
            </a:lvl1pPr>
          </a:lstStyle>
          <a:p>
            <a:r>
              <a:rPr lang="en-GB"/>
              <a:t>Click to edit title</a:t>
            </a:r>
            <a:endParaRPr lang="en-US"/>
          </a:p>
        </p:txBody>
      </p:sp>
      <p:sp>
        <p:nvSpPr>
          <p:cNvPr id="7" name="Slide Number Placeholder 6">
            <a:extLst>
              <a:ext uri="{FF2B5EF4-FFF2-40B4-BE49-F238E27FC236}">
                <a16:creationId xmlns:a16="http://schemas.microsoft.com/office/drawing/2014/main" id="{96290682-9E77-E549-9559-0CA4A34AD1E0}"/>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5486399" y="3019863"/>
            <a:ext cx="622079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5" name="Text Placeholder 4">
            <a:extLst>
              <a:ext uri="{FF2B5EF4-FFF2-40B4-BE49-F238E27FC236}">
                <a16:creationId xmlns:a16="http://schemas.microsoft.com/office/drawing/2014/main" id="{D36350C5-566C-7FB1-6655-42DCFD6FA2F0}"/>
              </a:ext>
            </a:extLst>
          </p:cNvPr>
          <p:cNvSpPr>
            <a:spLocks noGrp="1"/>
          </p:cNvSpPr>
          <p:nvPr>
            <p:ph type="body" sz="quarter" idx="14"/>
          </p:nvPr>
        </p:nvSpPr>
        <p:spPr>
          <a:xfrm>
            <a:off x="5486400" y="3668185"/>
            <a:ext cx="6220797" cy="2552700"/>
          </a:xfrm>
          <a:prstGeom prst="rect">
            <a:avLst/>
          </a:prstGeom>
        </p:spPr>
        <p:txBody>
          <a:bodyPr/>
          <a:lstStyle>
            <a:lvl1pPr marL="304792" indent="-304792">
              <a:buClr>
                <a:schemeClr val="tx2"/>
              </a:buClr>
              <a:buFont typeface="+mj-lt"/>
              <a:buAutoNum type="arabicPeriod"/>
              <a:defRPr/>
            </a:lvl1pPr>
            <a:lvl2pPr marL="544786" indent="-304792">
              <a:buClr>
                <a:schemeClr val="tx2"/>
              </a:buClr>
              <a:buFont typeface="+mj-lt"/>
              <a:buAutoNum type="arabicPeriod"/>
              <a:defRPr/>
            </a:lvl2pPr>
            <a:lvl3pPr marL="784780" indent="-304792">
              <a:buClr>
                <a:schemeClr val="tx2"/>
              </a:buClr>
              <a:buFont typeface="+mj-lt"/>
              <a:buAutoNum type="arabicPeriod"/>
              <a:defRPr/>
            </a:lvl3pPr>
            <a:lvl4pPr marL="1024774" indent="-304792">
              <a:buClr>
                <a:schemeClr val="tx2"/>
              </a:buClr>
              <a:buFont typeface="+mj-lt"/>
              <a:buAutoNum type="arabicPeriod"/>
              <a:defRPr/>
            </a:lvl4pPr>
            <a:lvl5pPr marL="1264768" indent="-304792">
              <a:buClr>
                <a:schemeClr val="tx2"/>
              </a:buClr>
              <a:buFont typeface="+mj-lt"/>
              <a:buAutoNum type="arabicPerio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2935019790"/>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173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848AA-4233-1282-0CCF-0BA0FDC7F5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31EC72-7C5B-D05C-6296-97DCBA3F23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F73FD4-2CF5-8791-40B5-7B01821412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A1416D-1DC2-6D7D-5A33-40AE5A4D803F}"/>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6" name="Footer Placeholder 5">
            <a:extLst>
              <a:ext uri="{FF2B5EF4-FFF2-40B4-BE49-F238E27FC236}">
                <a16:creationId xmlns:a16="http://schemas.microsoft.com/office/drawing/2014/main" id="{36E003F4-5FFB-02A8-4A8B-B6BFBC90C1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FC9AE0-8B51-DE07-0942-CB0E26A4FC71}"/>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42038689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right">
    <p:bg>
      <p:bgPr>
        <a:solidFill>
          <a:schemeClr val="bg1"/>
        </a:solidFill>
        <a:effectLst/>
      </p:bgPr>
    </p:b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0E685C61-33B4-7DE5-2D4E-EF4E162DFD06}"/>
              </a:ext>
            </a:extLst>
          </p:cNvPr>
          <p:cNvSpPr>
            <a:spLocks noGrp="1"/>
          </p:cNvSpPr>
          <p:nvPr>
            <p:ph type="body" sz="quarter" idx="14" hasCustomPrompt="1"/>
          </p:nvPr>
        </p:nvSpPr>
        <p:spPr>
          <a:xfrm>
            <a:off x="480001" y="3032349"/>
            <a:ext cx="5904001"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7" name="Group 6">
            <a:extLst>
              <a:ext uri="{FF2B5EF4-FFF2-40B4-BE49-F238E27FC236}">
                <a16:creationId xmlns:a16="http://schemas.microsoft.com/office/drawing/2014/main" id="{6AB50CF0-EA52-FCC8-BF29-3A767A429DD2}"/>
              </a:ext>
            </a:extLst>
          </p:cNvPr>
          <p:cNvGrpSpPr/>
          <p:nvPr userDrawn="1"/>
        </p:nvGrpSpPr>
        <p:grpSpPr>
          <a:xfrm>
            <a:off x="480001" y="465348"/>
            <a:ext cx="1085908" cy="821904"/>
            <a:chOff x="1001339" y="887094"/>
            <a:chExt cx="814431" cy="616428"/>
          </a:xfrm>
        </p:grpSpPr>
        <p:sp>
          <p:nvSpPr>
            <p:cNvPr id="8" name="Freeform 7">
              <a:extLst>
                <a:ext uri="{FF2B5EF4-FFF2-40B4-BE49-F238E27FC236}">
                  <a16:creationId xmlns:a16="http://schemas.microsoft.com/office/drawing/2014/main" id="{2FFD8C9E-832E-0D4E-0DB2-387C60E34B58}"/>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E0C5FFEA-587C-D5A5-76CE-3E4A9EC84323}"/>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B230242B-55EC-40C5-43DE-5EF89434EE14}"/>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3" name="Title 12">
            <a:extLst>
              <a:ext uri="{FF2B5EF4-FFF2-40B4-BE49-F238E27FC236}">
                <a16:creationId xmlns:a16="http://schemas.microsoft.com/office/drawing/2014/main" id="{33E193A8-03C3-06A7-C306-44D921512444}"/>
              </a:ext>
            </a:extLst>
          </p:cNvPr>
          <p:cNvSpPr>
            <a:spLocks noGrp="1"/>
          </p:cNvSpPr>
          <p:nvPr>
            <p:ph type="title" hasCustomPrompt="1"/>
          </p:nvPr>
        </p:nvSpPr>
        <p:spPr>
          <a:xfrm>
            <a:off x="480001" y="2168956"/>
            <a:ext cx="5904001" cy="806400"/>
          </a:xfrm>
        </p:spPr>
        <p:txBody>
          <a:bodyPr anchor="b" anchorCtr="0"/>
          <a:lstStyle/>
          <a:p>
            <a:r>
              <a:rPr lang="en-GB"/>
              <a:t>Click to edit Title</a:t>
            </a:r>
            <a:endParaRPr lang="en-AD"/>
          </a:p>
        </p:txBody>
      </p:sp>
      <p:sp>
        <p:nvSpPr>
          <p:cNvPr id="17" name="Rectangle 16">
            <a:extLst>
              <a:ext uri="{FF2B5EF4-FFF2-40B4-BE49-F238E27FC236}">
                <a16:creationId xmlns:a16="http://schemas.microsoft.com/office/drawing/2014/main" id="{7F7ACFDB-926D-861C-E807-86D09F3BFEAE}"/>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3" name="Slide Number Placeholder 6">
            <a:extLst>
              <a:ext uri="{FF2B5EF4-FFF2-40B4-BE49-F238E27FC236}">
                <a16:creationId xmlns:a16="http://schemas.microsoft.com/office/drawing/2014/main" id="{4F13B68D-052A-86E9-1342-CECA7E7C0C8F}"/>
              </a:ext>
            </a:extLst>
          </p:cNvPr>
          <p:cNvSpPr>
            <a:spLocks noGrp="1"/>
          </p:cNvSpPr>
          <p:nvPr>
            <p:ph type="sldNum" sz="quarter" idx="15"/>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1A1ED84F-8DAA-0BD9-E502-0E7D14540960}"/>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Picture Placeholder 13">
            <a:extLst>
              <a:ext uri="{FF2B5EF4-FFF2-40B4-BE49-F238E27FC236}">
                <a16:creationId xmlns:a16="http://schemas.microsoft.com/office/drawing/2014/main" id="{781AE3B5-B9EA-9536-61BE-CD866730579C}"/>
              </a:ext>
            </a:extLst>
          </p:cNvPr>
          <p:cNvSpPr>
            <a:spLocks noGrp="1"/>
          </p:cNvSpPr>
          <p:nvPr>
            <p:ph type="pic" sz="quarter" idx="13" hasCustomPrompt="1"/>
          </p:nvPr>
        </p:nvSpPr>
        <p:spPr>
          <a:xfrm>
            <a:off x="7849406" y="846534"/>
            <a:ext cx="3732189" cy="5164935"/>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12" name="Text Placeholder 11">
            <a:extLst>
              <a:ext uri="{FF2B5EF4-FFF2-40B4-BE49-F238E27FC236}">
                <a16:creationId xmlns:a16="http://schemas.microsoft.com/office/drawing/2014/main" id="{E74519A0-94D6-E602-EC9C-CD556D3E041E}"/>
              </a:ext>
            </a:extLst>
          </p:cNvPr>
          <p:cNvSpPr>
            <a:spLocks noGrp="1"/>
          </p:cNvSpPr>
          <p:nvPr>
            <p:ph type="body" sz="quarter" idx="16"/>
          </p:nvPr>
        </p:nvSpPr>
        <p:spPr>
          <a:xfrm>
            <a:off x="480485" y="3694177"/>
            <a:ext cx="5903383" cy="2295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2374962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lumn l&amp; picture righ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DE52B53-2E2A-DDD2-16B7-B1472446E7F9}"/>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 name="Title 1"/>
          <p:cNvSpPr>
            <a:spLocks noGrp="1"/>
          </p:cNvSpPr>
          <p:nvPr>
            <p:ph type="title" hasCustomPrompt="1"/>
          </p:nvPr>
        </p:nvSpPr>
        <p:spPr>
          <a:xfrm>
            <a:off x="480002" y="307201"/>
            <a:ext cx="6090940" cy="782924"/>
          </a:xfrm>
        </p:spPr>
        <p:txBody>
          <a:bodyPr>
            <a:normAutofit/>
          </a:bodyPr>
          <a:lstStyle>
            <a:lvl1pPr>
              <a:defRPr sz="3200"/>
            </a:lvl1pPr>
          </a:lstStyle>
          <a:p>
            <a:r>
              <a:rPr lang="en-GB"/>
              <a:t>Click to edit title</a:t>
            </a:r>
            <a:endParaRPr lang="en-US"/>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480002" y="1090124"/>
            <a:ext cx="6090940"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15" name="Picture Placeholder 13">
            <a:extLst>
              <a:ext uri="{FF2B5EF4-FFF2-40B4-BE49-F238E27FC236}">
                <a16:creationId xmlns:a16="http://schemas.microsoft.com/office/drawing/2014/main" id="{1F2A000D-622C-AA0F-68A6-969FC0591912}"/>
              </a:ext>
            </a:extLst>
          </p:cNvPr>
          <p:cNvSpPr>
            <a:spLocks noGrp="1"/>
          </p:cNvSpPr>
          <p:nvPr>
            <p:ph type="pic" sz="quarter" idx="13" hasCustomPrompt="1"/>
          </p:nvPr>
        </p:nvSpPr>
        <p:spPr>
          <a:xfrm>
            <a:off x="7705725" y="2111134"/>
            <a:ext cx="4001476" cy="3775317"/>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16" name="TextBox 15">
            <a:extLst>
              <a:ext uri="{FF2B5EF4-FFF2-40B4-BE49-F238E27FC236}">
                <a16:creationId xmlns:a16="http://schemas.microsoft.com/office/drawing/2014/main" id="{EAFD0985-BB40-8566-3F99-5B9D0BD3716B}"/>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3" name="Slide Number Placeholder 6">
            <a:extLst>
              <a:ext uri="{FF2B5EF4-FFF2-40B4-BE49-F238E27FC236}">
                <a16:creationId xmlns:a16="http://schemas.microsoft.com/office/drawing/2014/main" id="{1B0B5123-2789-2FD5-EE59-CB47BE10AED5}"/>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
        <p:nvSpPr>
          <p:cNvPr id="14" name="Text Placeholder 13">
            <a:extLst>
              <a:ext uri="{FF2B5EF4-FFF2-40B4-BE49-F238E27FC236}">
                <a16:creationId xmlns:a16="http://schemas.microsoft.com/office/drawing/2014/main" id="{2A0300F7-4148-73C3-0475-866B99D76BE8}"/>
              </a:ext>
            </a:extLst>
          </p:cNvPr>
          <p:cNvSpPr>
            <a:spLocks noGrp="1"/>
          </p:cNvSpPr>
          <p:nvPr>
            <p:ph type="body" sz="quarter" idx="14"/>
          </p:nvPr>
        </p:nvSpPr>
        <p:spPr>
          <a:xfrm>
            <a:off x="479194" y="2029884"/>
            <a:ext cx="6090940" cy="3856567"/>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2758197035"/>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2684747" cy="3985195"/>
          </a:xfrm>
          <a:prstGeom prst="rect">
            <a:avLst/>
          </a:prstGeom>
        </p:spPr>
        <p:txBody>
          <a:bodyPr>
            <a:normAutofit/>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4914184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9749365" cy="3985195"/>
          </a:xfrm>
          <a:prstGeom prst="rect">
            <a:avLst/>
          </a:prstGeom>
        </p:spPr>
        <p:txBody>
          <a:bodyPr>
            <a:normAutofit/>
          </a:bodyPr>
          <a:lstStyle>
            <a:lvl1pPr marL="228594" indent="-228594">
              <a:buFont typeface="Arial" panose="020B0604020202020204" pitchFamily="34" charset="0"/>
              <a:buChar char="•"/>
              <a:defRPr/>
            </a:lvl1pPr>
          </a:lstStyle>
          <a:p>
            <a:pPr lvl="0"/>
            <a:r>
              <a:rPr lang="en-US"/>
              <a:t>Click to edit Master text styles</a:t>
            </a:r>
          </a:p>
        </p:txBody>
      </p:sp>
    </p:spTree>
    <p:extLst>
      <p:ext uri="{BB962C8B-B14F-4D97-AF65-F5344CB8AC3E}">
        <p14:creationId xmlns:p14="http://schemas.microsoft.com/office/powerpoint/2010/main" val="247335969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in Point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623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3" y="2010511"/>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2" name="Text Placeholder 6">
            <a:extLst>
              <a:ext uri="{FF2B5EF4-FFF2-40B4-BE49-F238E27FC236}">
                <a16:creationId xmlns:a16="http://schemas.microsoft.com/office/drawing/2014/main" id="{17451B65-0EA0-1238-A6FC-77E374CEC11B}"/>
              </a:ext>
            </a:extLst>
          </p:cNvPr>
          <p:cNvSpPr>
            <a:spLocks noGrp="1"/>
          </p:cNvSpPr>
          <p:nvPr>
            <p:ph type="body" sz="quarter" idx="16"/>
          </p:nvPr>
        </p:nvSpPr>
        <p:spPr>
          <a:xfrm>
            <a:off x="480483" y="3034424"/>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5" name="Text Placeholder 6">
            <a:extLst>
              <a:ext uri="{FF2B5EF4-FFF2-40B4-BE49-F238E27FC236}">
                <a16:creationId xmlns:a16="http://schemas.microsoft.com/office/drawing/2014/main" id="{F1F84C08-1D49-7A10-BE8D-12209772B69D}"/>
              </a:ext>
            </a:extLst>
          </p:cNvPr>
          <p:cNvSpPr>
            <a:spLocks noGrp="1"/>
          </p:cNvSpPr>
          <p:nvPr>
            <p:ph type="body" sz="quarter" idx="17"/>
          </p:nvPr>
        </p:nvSpPr>
        <p:spPr>
          <a:xfrm>
            <a:off x="480483" y="4058337"/>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6" name="Text Placeholder 6">
            <a:extLst>
              <a:ext uri="{FF2B5EF4-FFF2-40B4-BE49-F238E27FC236}">
                <a16:creationId xmlns:a16="http://schemas.microsoft.com/office/drawing/2014/main" id="{C65C3041-609B-76D3-5BA2-0FEF39ECF998}"/>
              </a:ext>
            </a:extLst>
          </p:cNvPr>
          <p:cNvSpPr>
            <a:spLocks noGrp="1"/>
          </p:cNvSpPr>
          <p:nvPr>
            <p:ph type="body" sz="quarter" idx="18"/>
          </p:nvPr>
        </p:nvSpPr>
        <p:spPr>
          <a:xfrm>
            <a:off x="480483" y="5082251"/>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8" name="Oval 6">
            <a:extLst>
              <a:ext uri="{FF2B5EF4-FFF2-40B4-BE49-F238E27FC236}">
                <a16:creationId xmlns:a16="http://schemas.microsoft.com/office/drawing/2014/main" id="{230717C6-217D-B42B-D584-6C338DE8E372}"/>
              </a:ext>
            </a:extLst>
          </p:cNvPr>
          <p:cNvSpPr>
            <a:spLocks noChangeArrowheads="1"/>
          </p:cNvSpPr>
          <p:nvPr userDrawn="1"/>
        </p:nvSpPr>
        <p:spPr bwMode="auto">
          <a:xfrm>
            <a:off x="6005687" y="2731757"/>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9" name="Oval 6">
            <a:extLst>
              <a:ext uri="{FF2B5EF4-FFF2-40B4-BE49-F238E27FC236}">
                <a16:creationId xmlns:a16="http://schemas.microsoft.com/office/drawing/2014/main" id="{1B015604-0705-1399-0AD4-0EC275BFBAA6}"/>
              </a:ext>
            </a:extLst>
          </p:cNvPr>
          <p:cNvSpPr>
            <a:spLocks noChangeArrowheads="1"/>
          </p:cNvSpPr>
          <p:nvPr userDrawn="1"/>
        </p:nvSpPr>
        <p:spPr bwMode="auto">
          <a:xfrm>
            <a:off x="6005687" y="3763388"/>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10" name="Oval 6">
            <a:extLst>
              <a:ext uri="{FF2B5EF4-FFF2-40B4-BE49-F238E27FC236}">
                <a16:creationId xmlns:a16="http://schemas.microsoft.com/office/drawing/2014/main" id="{39790355-E5A9-FF0D-DFE4-31D974FF4853}"/>
              </a:ext>
            </a:extLst>
          </p:cNvPr>
          <p:cNvSpPr>
            <a:spLocks noChangeArrowheads="1"/>
          </p:cNvSpPr>
          <p:nvPr userDrawn="1"/>
        </p:nvSpPr>
        <p:spPr bwMode="auto">
          <a:xfrm>
            <a:off x="6005687" y="4771572"/>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Tree>
    <p:extLst>
      <p:ext uri="{BB962C8B-B14F-4D97-AF65-F5344CB8AC3E}">
        <p14:creationId xmlns:p14="http://schemas.microsoft.com/office/powerpoint/2010/main" val="38322103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96EEF7D-1ABE-8DD6-0CD0-14265E66F7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1" y="1725492"/>
            <a:ext cx="11227199" cy="1540693"/>
          </a:xfrm>
        </p:spPr>
        <p:txBody>
          <a:bodyPr anchor="b" anchorCtr="0">
            <a:normAutofit/>
          </a:bodyPr>
          <a:lstStyle>
            <a:lvl1pPr algn="ctr">
              <a:defRPr sz="3733">
                <a:solidFill>
                  <a:schemeClr val="bg1"/>
                </a:solidFill>
              </a:defRPr>
            </a:lvl1pPr>
          </a:lstStyle>
          <a:p>
            <a:r>
              <a:rPr lang="en-GB"/>
              <a:t>Click to edit Section title</a:t>
            </a:r>
            <a:endParaRPr lang="en-US"/>
          </a:p>
        </p:txBody>
      </p:sp>
      <p:grpSp>
        <p:nvGrpSpPr>
          <p:cNvPr id="10" name="Group 9">
            <a:extLst>
              <a:ext uri="{FF2B5EF4-FFF2-40B4-BE49-F238E27FC236}">
                <a16:creationId xmlns:a16="http://schemas.microsoft.com/office/drawing/2014/main" id="{A418A26A-1CE7-6A65-87BD-545E6B1EF597}"/>
              </a:ext>
            </a:extLst>
          </p:cNvPr>
          <p:cNvGrpSpPr/>
          <p:nvPr userDrawn="1"/>
        </p:nvGrpSpPr>
        <p:grpSpPr>
          <a:xfrm>
            <a:off x="5550645" y="773217"/>
            <a:ext cx="1085908" cy="821904"/>
            <a:chOff x="1001339" y="887094"/>
            <a:chExt cx="814431" cy="616428"/>
          </a:xfrm>
        </p:grpSpPr>
        <p:sp>
          <p:nvSpPr>
            <p:cNvPr id="11" name="Freeform 10">
              <a:extLst>
                <a:ext uri="{FF2B5EF4-FFF2-40B4-BE49-F238E27FC236}">
                  <a16:creationId xmlns:a16="http://schemas.microsoft.com/office/drawing/2014/main" id="{30FB55EE-19A3-C1BC-0447-97E58E4D771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bg1"/>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FC4EF02E-8974-5DA8-4735-88CCCC3F75C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B23401E6-F085-31C6-7190-EE95376A6A6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bg1"/>
            </a:solidFill>
            <a:ln w="0" cap="flat">
              <a:noFill/>
              <a:prstDash val="solid"/>
              <a:miter/>
            </a:ln>
          </p:spPr>
          <p:txBody>
            <a:bodyPr rtlCol="0" anchor="ctr"/>
            <a:lstStyle/>
            <a:p>
              <a:endParaRPr lang="en-AD" sz="2400"/>
            </a:p>
          </p:txBody>
        </p:sp>
      </p:grpSp>
      <p:sp>
        <p:nvSpPr>
          <p:cNvPr id="5" name="Text Placeholder 16">
            <a:extLst>
              <a:ext uri="{FF2B5EF4-FFF2-40B4-BE49-F238E27FC236}">
                <a16:creationId xmlns:a16="http://schemas.microsoft.com/office/drawing/2014/main" id="{AEAD3B24-9902-395F-E3F0-DCACA31071F9}"/>
              </a:ext>
            </a:extLst>
          </p:cNvPr>
          <p:cNvSpPr>
            <a:spLocks noGrp="1"/>
          </p:cNvSpPr>
          <p:nvPr>
            <p:ph type="body" sz="quarter" idx="11"/>
          </p:nvPr>
        </p:nvSpPr>
        <p:spPr>
          <a:xfrm>
            <a:off x="1563158" y="3561190"/>
            <a:ext cx="9065684" cy="1863996"/>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US"/>
              <a:t>Click to edit Master text styles</a:t>
            </a:r>
          </a:p>
        </p:txBody>
      </p:sp>
      <p:sp>
        <p:nvSpPr>
          <p:cNvPr id="16" name="Rectangle 15">
            <a:extLst>
              <a:ext uri="{FF2B5EF4-FFF2-40B4-BE49-F238E27FC236}">
                <a16:creationId xmlns:a16="http://schemas.microsoft.com/office/drawing/2014/main" id="{AB2EBD45-EA4C-76FF-982F-C1D8DB27FCF2}"/>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7" name="TextBox 16">
            <a:extLst>
              <a:ext uri="{FF2B5EF4-FFF2-40B4-BE49-F238E27FC236}">
                <a16:creationId xmlns:a16="http://schemas.microsoft.com/office/drawing/2014/main" id="{54C2F8B5-F1CF-6290-DB2A-3C6294CABBDC}"/>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8" name="Slide Number Placeholder 6">
            <a:extLst>
              <a:ext uri="{FF2B5EF4-FFF2-40B4-BE49-F238E27FC236}">
                <a16:creationId xmlns:a16="http://schemas.microsoft.com/office/drawing/2014/main" id="{62C17109-13DC-AED0-8072-6C8D0C8C9854}"/>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61605258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number">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2A308BB-D0E7-5A70-AC9A-C28E8E3442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0" y="1814360"/>
            <a:ext cx="11232000" cy="1660800"/>
          </a:xfrm>
        </p:spPr>
        <p:txBody>
          <a:bodyPr anchor="b" anchorCtr="0">
            <a:normAutofit/>
          </a:bodyPr>
          <a:lstStyle>
            <a:lvl1pPr algn="ctr">
              <a:defRPr sz="10666">
                <a:solidFill>
                  <a:schemeClr val="bg1"/>
                </a:solidFill>
              </a:defRPr>
            </a:lvl1pPr>
          </a:lstStyle>
          <a:p>
            <a:r>
              <a:rPr lang="en-GB"/>
              <a:t>00%</a:t>
            </a:r>
            <a:endParaRPr lang="en-US"/>
          </a:p>
        </p:txBody>
      </p:sp>
      <p:grpSp>
        <p:nvGrpSpPr>
          <p:cNvPr id="8" name="Group 7">
            <a:extLst>
              <a:ext uri="{FF2B5EF4-FFF2-40B4-BE49-F238E27FC236}">
                <a16:creationId xmlns:a16="http://schemas.microsoft.com/office/drawing/2014/main" id="{62648347-84AF-1F78-710B-6CD01D4CC56D}"/>
              </a:ext>
            </a:extLst>
          </p:cNvPr>
          <p:cNvGrpSpPr/>
          <p:nvPr userDrawn="1"/>
        </p:nvGrpSpPr>
        <p:grpSpPr>
          <a:xfrm>
            <a:off x="5550645" y="773217"/>
            <a:ext cx="1085908" cy="821904"/>
            <a:chOff x="1001339" y="887094"/>
            <a:chExt cx="814431" cy="616428"/>
          </a:xfrm>
          <a:solidFill>
            <a:schemeClr val="bg1"/>
          </a:solidFill>
        </p:grpSpPr>
        <p:sp>
          <p:nvSpPr>
            <p:cNvPr id="9" name="Freeform 8">
              <a:extLst>
                <a:ext uri="{FF2B5EF4-FFF2-40B4-BE49-F238E27FC236}">
                  <a16:creationId xmlns:a16="http://schemas.microsoft.com/office/drawing/2014/main" id="{ADF33CD8-B2E4-E270-AC70-029DD16D2239}"/>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6D3E5A7A-EF2B-3B10-0F9A-D44282C0C1D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C3228EF9-7E94-B7F7-F043-E37DFEBD064E}"/>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7" name="Text Placeholder 16">
            <a:extLst>
              <a:ext uri="{FF2B5EF4-FFF2-40B4-BE49-F238E27FC236}">
                <a16:creationId xmlns:a16="http://schemas.microsoft.com/office/drawing/2014/main" id="{CFAC9775-690D-E752-5FEF-B3E0F8F26FCC}"/>
              </a:ext>
            </a:extLst>
          </p:cNvPr>
          <p:cNvSpPr>
            <a:spLocks noGrp="1"/>
          </p:cNvSpPr>
          <p:nvPr>
            <p:ph type="body" sz="quarter" idx="11" hasCustomPrompt="1"/>
          </p:nvPr>
        </p:nvSpPr>
        <p:spPr>
          <a:xfrm>
            <a:off x="1563158" y="3815341"/>
            <a:ext cx="9065684" cy="1864003"/>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GB"/>
              <a:t>Click to edit text</a:t>
            </a:r>
          </a:p>
        </p:txBody>
      </p:sp>
      <p:sp>
        <p:nvSpPr>
          <p:cNvPr id="20" name="Rectangle 19">
            <a:extLst>
              <a:ext uri="{FF2B5EF4-FFF2-40B4-BE49-F238E27FC236}">
                <a16:creationId xmlns:a16="http://schemas.microsoft.com/office/drawing/2014/main" id="{CB620435-880C-04A5-303F-F59FE6D62528}"/>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1" name="TextBox 20">
            <a:extLst>
              <a:ext uri="{FF2B5EF4-FFF2-40B4-BE49-F238E27FC236}">
                <a16:creationId xmlns:a16="http://schemas.microsoft.com/office/drawing/2014/main" id="{DB5E17C2-257F-41E3-92C0-6300AC854DF8}"/>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2" name="Slide Number Placeholder 6">
            <a:extLst>
              <a:ext uri="{FF2B5EF4-FFF2-40B4-BE49-F238E27FC236}">
                <a16:creationId xmlns:a16="http://schemas.microsoft.com/office/drawing/2014/main" id="{C09EF497-2FF4-BB47-411E-25EACD197A37}"/>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14705459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2" name="Text Placeholder 13">
            <a:extLst>
              <a:ext uri="{FF2B5EF4-FFF2-40B4-BE49-F238E27FC236}">
                <a16:creationId xmlns:a16="http://schemas.microsoft.com/office/drawing/2014/main" id="{529B456B-0612-05FD-3E27-C2E6F22CD5AC}"/>
              </a:ext>
            </a:extLst>
          </p:cNvPr>
          <p:cNvSpPr>
            <a:spLocks noGrp="1"/>
          </p:cNvSpPr>
          <p:nvPr>
            <p:ph type="body" sz="quarter" idx="11"/>
          </p:nvPr>
        </p:nvSpPr>
        <p:spPr>
          <a:xfrm>
            <a:off x="480000"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Text Placeholder 13">
            <a:extLst>
              <a:ext uri="{FF2B5EF4-FFF2-40B4-BE49-F238E27FC236}">
                <a16:creationId xmlns:a16="http://schemas.microsoft.com/office/drawing/2014/main" id="{572B6D15-EC12-3FF2-6149-9E41804CB944}"/>
              </a:ext>
            </a:extLst>
          </p:cNvPr>
          <p:cNvSpPr>
            <a:spLocks noGrp="1"/>
          </p:cNvSpPr>
          <p:nvPr>
            <p:ph type="body" sz="quarter" idx="14"/>
          </p:nvPr>
        </p:nvSpPr>
        <p:spPr>
          <a:xfrm>
            <a:off x="6434233"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6462104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5" name="Content Placeholder 4">
            <a:extLst>
              <a:ext uri="{FF2B5EF4-FFF2-40B4-BE49-F238E27FC236}">
                <a16:creationId xmlns:a16="http://schemas.microsoft.com/office/drawing/2014/main" id="{0C095A20-9422-8C24-BCD8-3E083BF2E503}"/>
              </a:ext>
            </a:extLst>
          </p:cNvPr>
          <p:cNvSpPr>
            <a:spLocks noGrp="1"/>
          </p:cNvSpPr>
          <p:nvPr>
            <p:ph sz="quarter" idx="15"/>
          </p:nvPr>
        </p:nvSpPr>
        <p:spPr>
          <a:xfrm>
            <a:off x="480483" y="1833033"/>
            <a:ext cx="11226716" cy="4045855"/>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1720000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mp; 3 column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4" name="Text Placeholder 13">
            <a:extLst>
              <a:ext uri="{FF2B5EF4-FFF2-40B4-BE49-F238E27FC236}">
                <a16:creationId xmlns:a16="http://schemas.microsoft.com/office/drawing/2014/main" id="{8BB18B9B-2391-D0A8-4FA3-2D01B1A6677C}"/>
              </a:ext>
            </a:extLst>
          </p:cNvPr>
          <p:cNvSpPr>
            <a:spLocks noGrp="1"/>
          </p:cNvSpPr>
          <p:nvPr>
            <p:ph type="body" sz="quarter" idx="11"/>
          </p:nvPr>
        </p:nvSpPr>
        <p:spPr>
          <a:xfrm>
            <a:off x="480000" y="2025690"/>
            <a:ext cx="3360000" cy="3870567"/>
          </a:xfrm>
          <a:prstGeom prst="rect">
            <a:avLst/>
          </a:prstGeom>
        </p:spPr>
        <p:txBody>
          <a:bodyPr>
            <a:normAutofit/>
          </a:bodyPr>
          <a:lstStyle>
            <a:lvl1pPr marL="0" indent="0">
              <a:lnSpc>
                <a:spcPts val="2000"/>
              </a:lnSpc>
              <a:spcBef>
                <a:spcPts val="667"/>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5" name="Text Placeholder 13">
            <a:extLst>
              <a:ext uri="{FF2B5EF4-FFF2-40B4-BE49-F238E27FC236}">
                <a16:creationId xmlns:a16="http://schemas.microsoft.com/office/drawing/2014/main" id="{F67B3F0D-AB91-7CE1-6C01-B0E3E7CD90A2}"/>
              </a:ext>
            </a:extLst>
          </p:cNvPr>
          <p:cNvSpPr>
            <a:spLocks noGrp="1"/>
          </p:cNvSpPr>
          <p:nvPr>
            <p:ph type="body" sz="quarter" idx="12"/>
          </p:nvPr>
        </p:nvSpPr>
        <p:spPr>
          <a:xfrm>
            <a:off x="4413600" y="2025690"/>
            <a:ext cx="3360000" cy="3870567"/>
          </a:xfrm>
          <a:prstGeom prst="rect">
            <a:avLst/>
          </a:prstGeom>
        </p:spPr>
        <p:txBody>
          <a:bodyPr>
            <a:normAutofit/>
          </a:bodyPr>
          <a:lstStyle>
            <a:lvl1pPr marL="228594" indent="-228594">
              <a:lnSpc>
                <a:spcPts val="2000"/>
              </a:lnSpc>
              <a:spcBef>
                <a:spcPts val="667"/>
              </a:spcBef>
              <a:buFont typeface="Arial" panose="020B0604020202020204" pitchFamily="34" charset="0"/>
              <a:buChar char="•"/>
              <a:defRPr sz="1600">
                <a:solidFill>
                  <a:schemeClr val="accent1"/>
                </a:solidFill>
              </a:defRPr>
            </a:lvl1pPr>
            <a:lvl2pPr marL="468588" indent="-228594">
              <a:lnSpc>
                <a:spcPts val="1867"/>
              </a:lnSpc>
              <a:buFont typeface="Arial" panose="020B0604020202020204" pitchFamily="34" charset="0"/>
              <a:buChar char="•"/>
              <a:defRPr sz="1200"/>
            </a:lvl2pPr>
            <a:lvl3pPr>
              <a:defRPr sz="1333"/>
            </a:lvl3pPr>
            <a:lvl4pPr>
              <a:defRPr sz="1333"/>
            </a:lvl4pPr>
            <a:lvl5pPr>
              <a:defRPr sz="1333"/>
            </a:lvl5pPr>
          </a:lstStyle>
          <a:p>
            <a:pPr lvl="0"/>
            <a:r>
              <a:rPr lang="en-US"/>
              <a:t>Click to edit Master text styles</a:t>
            </a:r>
          </a:p>
        </p:txBody>
      </p:sp>
      <p:sp>
        <p:nvSpPr>
          <p:cNvPr id="6" name="Text Placeholder 13">
            <a:extLst>
              <a:ext uri="{FF2B5EF4-FFF2-40B4-BE49-F238E27FC236}">
                <a16:creationId xmlns:a16="http://schemas.microsoft.com/office/drawing/2014/main" id="{F4708A08-CFF0-F9CB-735D-A9872BE5F447}"/>
              </a:ext>
            </a:extLst>
          </p:cNvPr>
          <p:cNvSpPr>
            <a:spLocks noGrp="1"/>
          </p:cNvSpPr>
          <p:nvPr>
            <p:ph type="body" sz="quarter" idx="13"/>
          </p:nvPr>
        </p:nvSpPr>
        <p:spPr>
          <a:xfrm>
            <a:off x="8347200" y="2025690"/>
            <a:ext cx="3360000" cy="3870567"/>
          </a:xfrm>
          <a:prstGeom prst="rect">
            <a:avLst/>
          </a:prstGeom>
        </p:spPr>
        <p:txBody>
          <a:bodyPr>
            <a:normAutofit/>
          </a:bodyPr>
          <a:lstStyle>
            <a:lvl1pPr marL="304792" indent="-304792">
              <a:lnSpc>
                <a:spcPts val="2000"/>
              </a:lnSpc>
              <a:spcBef>
                <a:spcPts val="667"/>
              </a:spcBef>
              <a:buFont typeface="+mj-lt"/>
              <a:buAutoNum type="arabicPeriod"/>
              <a:defRPr sz="1600">
                <a:solidFill>
                  <a:schemeClr val="accent1"/>
                </a:solidFill>
              </a:defRPr>
            </a:lvl1pPr>
            <a:lvl2pPr>
              <a:defRPr sz="1333"/>
            </a:lvl2pPr>
            <a:lvl3pPr>
              <a:defRPr sz="1333"/>
            </a:lvl3pPr>
            <a:lvl4pPr>
              <a:defRPr sz="1333"/>
            </a:lvl4pPr>
            <a:lvl5pPr>
              <a:defRPr sz="1333"/>
            </a:lvl5pPr>
          </a:lstStyle>
          <a:p>
            <a:pPr lvl="0"/>
            <a:r>
              <a:rPr lang="en-US"/>
              <a:t>Click to edit Master text styles</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Slide Number Placeholder 6">
            <a:extLst>
              <a:ext uri="{FF2B5EF4-FFF2-40B4-BE49-F238E27FC236}">
                <a16:creationId xmlns:a16="http://schemas.microsoft.com/office/drawing/2014/main" id="{A0F3835F-1AE9-0CEA-CF48-AB83177FE23D}"/>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15" name="TextBox 14">
            <a:extLst>
              <a:ext uri="{FF2B5EF4-FFF2-40B4-BE49-F238E27FC236}">
                <a16:creationId xmlns:a16="http://schemas.microsoft.com/office/drawing/2014/main" id="{6565B623-F3BC-FCBD-2F85-CFEEA2B31039}"/>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2323496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5A3FA-FA8F-6668-59B0-02B2062302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97EC66-2E41-413A-B831-FA601A0600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7DC65FD-8158-EE2A-0C95-BA17D0CE22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E9BBD5-05A8-6FD0-2CF5-04305114E2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216E95-C307-46A9-19C4-9C3CE98F3C9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D35B04-488D-A241-FBC5-E07DF3454CDF}"/>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8" name="Footer Placeholder 7">
            <a:extLst>
              <a:ext uri="{FF2B5EF4-FFF2-40B4-BE49-F238E27FC236}">
                <a16:creationId xmlns:a16="http://schemas.microsoft.com/office/drawing/2014/main" id="{1EE50E65-FF78-5465-3B20-87B6F350AA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8A41317-E1B9-966E-1C99-B65B38AD1E21}"/>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10072732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mp; 3 columns with 3 row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6" name="Slide Number Placeholder 6">
            <a:extLst>
              <a:ext uri="{FF2B5EF4-FFF2-40B4-BE49-F238E27FC236}">
                <a16:creationId xmlns:a16="http://schemas.microsoft.com/office/drawing/2014/main" id="{542C785A-D33C-2A78-7E52-BB0501C6080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29" name="TextBox 28">
            <a:extLst>
              <a:ext uri="{FF2B5EF4-FFF2-40B4-BE49-F238E27FC236}">
                <a16:creationId xmlns:a16="http://schemas.microsoft.com/office/drawing/2014/main" id="{9B7F8EF1-4674-BD18-BBEC-7A3FEC012B5F}"/>
              </a:ext>
            </a:extLst>
          </p:cNvPr>
          <p:cNvSpPr txBox="1"/>
          <p:nvPr userDrawn="1"/>
        </p:nvSpPr>
        <p:spPr>
          <a:xfrm>
            <a:off x="479999" y="6474084"/>
            <a:ext cx="6054151" cy="184665"/>
          </a:xfrm>
          <a:prstGeom prst="rect">
            <a:avLst/>
          </a:prstGeom>
          <a:noFill/>
        </p:spPr>
        <p:txBody>
          <a:bodyPr wrap="square" lIns="0" tIns="0" rIns="0" bIns="0" rtlCol="0">
            <a:norm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5" name="Text Placeholder 27">
            <a:extLst>
              <a:ext uri="{FF2B5EF4-FFF2-40B4-BE49-F238E27FC236}">
                <a16:creationId xmlns:a16="http://schemas.microsoft.com/office/drawing/2014/main" id="{768D37A0-EEAB-F5B0-922D-B3E47EF3A1B9}"/>
              </a:ext>
            </a:extLst>
          </p:cNvPr>
          <p:cNvSpPr>
            <a:spLocks noGrp="1"/>
          </p:cNvSpPr>
          <p:nvPr>
            <p:ph type="body" sz="quarter" idx="11"/>
          </p:nvPr>
        </p:nvSpPr>
        <p:spPr>
          <a:xfrm>
            <a:off x="480000"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13" name="Text Placeholder 28">
            <a:extLst>
              <a:ext uri="{FF2B5EF4-FFF2-40B4-BE49-F238E27FC236}">
                <a16:creationId xmlns:a16="http://schemas.microsoft.com/office/drawing/2014/main" id="{68A20F4A-AEAD-C08D-B90C-CF4BE36C7A7A}"/>
              </a:ext>
            </a:extLst>
          </p:cNvPr>
          <p:cNvSpPr>
            <a:spLocks noGrp="1"/>
          </p:cNvSpPr>
          <p:nvPr>
            <p:ph type="body" sz="quarter" idx="15"/>
          </p:nvPr>
        </p:nvSpPr>
        <p:spPr>
          <a:xfrm>
            <a:off x="480000"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0" name="Text Placeholder 29">
            <a:extLst>
              <a:ext uri="{FF2B5EF4-FFF2-40B4-BE49-F238E27FC236}">
                <a16:creationId xmlns:a16="http://schemas.microsoft.com/office/drawing/2014/main" id="{970204C3-97C8-AA86-CBB2-B7A9E2779E98}"/>
              </a:ext>
            </a:extLst>
          </p:cNvPr>
          <p:cNvSpPr>
            <a:spLocks noGrp="1"/>
          </p:cNvSpPr>
          <p:nvPr>
            <p:ph type="body" sz="quarter" idx="16"/>
          </p:nvPr>
        </p:nvSpPr>
        <p:spPr>
          <a:xfrm>
            <a:off x="4415072"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1" name="Text Placeholder 30">
            <a:extLst>
              <a:ext uri="{FF2B5EF4-FFF2-40B4-BE49-F238E27FC236}">
                <a16:creationId xmlns:a16="http://schemas.microsoft.com/office/drawing/2014/main" id="{C1BF6A50-E88C-D974-86D5-AD200C4D9850}"/>
              </a:ext>
            </a:extLst>
          </p:cNvPr>
          <p:cNvSpPr>
            <a:spLocks noGrp="1"/>
          </p:cNvSpPr>
          <p:nvPr>
            <p:ph type="body" sz="quarter" idx="17"/>
          </p:nvPr>
        </p:nvSpPr>
        <p:spPr>
          <a:xfrm>
            <a:off x="4415072"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2" name="Text Placeholder 31">
            <a:extLst>
              <a:ext uri="{FF2B5EF4-FFF2-40B4-BE49-F238E27FC236}">
                <a16:creationId xmlns:a16="http://schemas.microsoft.com/office/drawing/2014/main" id="{AABEB539-3C35-0CB4-EC3A-262957E77755}"/>
              </a:ext>
            </a:extLst>
          </p:cNvPr>
          <p:cNvSpPr>
            <a:spLocks noGrp="1"/>
          </p:cNvSpPr>
          <p:nvPr>
            <p:ph type="body" sz="quarter" idx="18"/>
          </p:nvPr>
        </p:nvSpPr>
        <p:spPr>
          <a:xfrm>
            <a:off x="8350145"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3" name="Text Placeholder 32">
            <a:extLst>
              <a:ext uri="{FF2B5EF4-FFF2-40B4-BE49-F238E27FC236}">
                <a16:creationId xmlns:a16="http://schemas.microsoft.com/office/drawing/2014/main" id="{28BC6F34-B8FF-8481-E9B3-1934219B4F19}"/>
              </a:ext>
            </a:extLst>
          </p:cNvPr>
          <p:cNvSpPr>
            <a:spLocks noGrp="1"/>
          </p:cNvSpPr>
          <p:nvPr>
            <p:ph type="body" sz="quarter" idx="19"/>
          </p:nvPr>
        </p:nvSpPr>
        <p:spPr>
          <a:xfrm>
            <a:off x="8350145"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4" name="Text Placeholder 33">
            <a:extLst>
              <a:ext uri="{FF2B5EF4-FFF2-40B4-BE49-F238E27FC236}">
                <a16:creationId xmlns:a16="http://schemas.microsoft.com/office/drawing/2014/main" id="{EC97A2E5-4D53-3B23-E411-78F3FB1468E2}"/>
              </a:ext>
            </a:extLst>
          </p:cNvPr>
          <p:cNvSpPr>
            <a:spLocks noGrp="1"/>
          </p:cNvSpPr>
          <p:nvPr>
            <p:ph type="body" sz="quarter" idx="20"/>
          </p:nvPr>
        </p:nvSpPr>
        <p:spPr>
          <a:xfrm>
            <a:off x="480000"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5" name="Text Placeholder 34">
            <a:extLst>
              <a:ext uri="{FF2B5EF4-FFF2-40B4-BE49-F238E27FC236}">
                <a16:creationId xmlns:a16="http://schemas.microsoft.com/office/drawing/2014/main" id="{BAC0B6E7-C956-1868-25F7-FB80EE9931D1}"/>
              </a:ext>
            </a:extLst>
          </p:cNvPr>
          <p:cNvSpPr>
            <a:spLocks noGrp="1"/>
          </p:cNvSpPr>
          <p:nvPr>
            <p:ph type="body" sz="quarter" idx="21"/>
          </p:nvPr>
        </p:nvSpPr>
        <p:spPr>
          <a:xfrm>
            <a:off x="480000"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6" name="Text Placeholder 35">
            <a:extLst>
              <a:ext uri="{FF2B5EF4-FFF2-40B4-BE49-F238E27FC236}">
                <a16:creationId xmlns:a16="http://schemas.microsoft.com/office/drawing/2014/main" id="{69654EAB-5EE3-A04B-DF94-7F18795A8D8B}"/>
              </a:ext>
            </a:extLst>
          </p:cNvPr>
          <p:cNvSpPr>
            <a:spLocks noGrp="1"/>
          </p:cNvSpPr>
          <p:nvPr>
            <p:ph type="body" sz="quarter" idx="22"/>
          </p:nvPr>
        </p:nvSpPr>
        <p:spPr>
          <a:xfrm>
            <a:off x="4415072"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7" name="Text Placeholder 36">
            <a:extLst>
              <a:ext uri="{FF2B5EF4-FFF2-40B4-BE49-F238E27FC236}">
                <a16:creationId xmlns:a16="http://schemas.microsoft.com/office/drawing/2014/main" id="{D7BE0FC5-4345-2A43-3E3A-001FF96A97FC}"/>
              </a:ext>
            </a:extLst>
          </p:cNvPr>
          <p:cNvSpPr>
            <a:spLocks noGrp="1"/>
          </p:cNvSpPr>
          <p:nvPr>
            <p:ph type="body" sz="quarter" idx="23"/>
          </p:nvPr>
        </p:nvSpPr>
        <p:spPr>
          <a:xfrm>
            <a:off x="4415072"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8" name="Text Placeholder 37">
            <a:extLst>
              <a:ext uri="{FF2B5EF4-FFF2-40B4-BE49-F238E27FC236}">
                <a16:creationId xmlns:a16="http://schemas.microsoft.com/office/drawing/2014/main" id="{9625ADA8-359A-DE7B-220B-878FBEBCFBC7}"/>
              </a:ext>
            </a:extLst>
          </p:cNvPr>
          <p:cNvSpPr>
            <a:spLocks noGrp="1"/>
          </p:cNvSpPr>
          <p:nvPr>
            <p:ph type="body" sz="quarter" idx="24"/>
          </p:nvPr>
        </p:nvSpPr>
        <p:spPr>
          <a:xfrm>
            <a:off x="8350145"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9" name="Text Placeholder 38">
            <a:extLst>
              <a:ext uri="{FF2B5EF4-FFF2-40B4-BE49-F238E27FC236}">
                <a16:creationId xmlns:a16="http://schemas.microsoft.com/office/drawing/2014/main" id="{D5048D3D-E97C-0017-E74F-7167172F44F5}"/>
              </a:ext>
            </a:extLst>
          </p:cNvPr>
          <p:cNvSpPr>
            <a:spLocks noGrp="1"/>
          </p:cNvSpPr>
          <p:nvPr>
            <p:ph type="body" sz="quarter" idx="25"/>
          </p:nvPr>
        </p:nvSpPr>
        <p:spPr>
          <a:xfrm>
            <a:off x="8350145"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Tree>
    <p:extLst>
      <p:ext uri="{BB962C8B-B14F-4D97-AF65-F5344CB8AC3E}">
        <p14:creationId xmlns:p14="http://schemas.microsoft.com/office/powerpoint/2010/main" val="9012307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198678632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ain Points 2">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Oval 1">
            <a:extLst>
              <a:ext uri="{FF2B5EF4-FFF2-40B4-BE49-F238E27FC236}">
                <a16:creationId xmlns:a16="http://schemas.microsoft.com/office/drawing/2014/main" id="{BD3EFA12-B5EA-18D1-8C87-D6A4B3D2C861}"/>
              </a:ext>
            </a:extLst>
          </p:cNvPr>
          <p:cNvSpPr/>
          <p:nvPr userDrawn="1"/>
        </p:nvSpPr>
        <p:spPr>
          <a:xfrm>
            <a:off x="4412222"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5" name="Oval 4">
            <a:extLst>
              <a:ext uri="{FF2B5EF4-FFF2-40B4-BE49-F238E27FC236}">
                <a16:creationId xmlns:a16="http://schemas.microsoft.com/office/drawing/2014/main" id="{D93047EC-5F7D-208F-AFB6-B978A01F3C6D}"/>
              </a:ext>
            </a:extLst>
          </p:cNvPr>
          <p:cNvSpPr/>
          <p:nvPr userDrawn="1"/>
        </p:nvSpPr>
        <p:spPr>
          <a:xfrm>
            <a:off x="8344445" y="2536256"/>
            <a:ext cx="3359999" cy="3360000"/>
          </a:xfrm>
          <a:prstGeom prst="ellipse">
            <a:avLst/>
          </a:prstGeom>
          <a:solidFill>
            <a:schemeClr val="tx2"/>
          </a:solidFill>
          <a:ln w="0" cap="flat">
            <a:noFill/>
            <a:prstDash val="solid"/>
            <a:miter/>
          </a:ln>
        </p:spPr>
        <p:txBody>
          <a:bodyPr rtlCol="0" anchor="ctr"/>
          <a:lstStyle/>
          <a:p>
            <a:pPr>
              <a:lnSpc>
                <a:spcPts val="1867"/>
              </a:lnSpc>
            </a:pPr>
            <a:endParaRPr lang="en-AD" sz="1467"/>
          </a:p>
        </p:txBody>
      </p:sp>
      <p:sp>
        <p:nvSpPr>
          <p:cNvPr id="6" name="Oval 5">
            <a:extLst>
              <a:ext uri="{FF2B5EF4-FFF2-40B4-BE49-F238E27FC236}">
                <a16:creationId xmlns:a16="http://schemas.microsoft.com/office/drawing/2014/main" id="{5950A459-C3EE-94A3-BCEF-BD7A3174325E}"/>
              </a:ext>
            </a:extLst>
          </p:cNvPr>
          <p:cNvSpPr/>
          <p:nvPr userDrawn="1"/>
        </p:nvSpPr>
        <p:spPr>
          <a:xfrm>
            <a:off x="479999"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15" name="Text Placeholder 18">
            <a:extLst>
              <a:ext uri="{FF2B5EF4-FFF2-40B4-BE49-F238E27FC236}">
                <a16:creationId xmlns:a16="http://schemas.microsoft.com/office/drawing/2014/main" id="{15F2F45E-CCC5-D2C1-EDA5-84B3BAD1F276}"/>
              </a:ext>
            </a:extLst>
          </p:cNvPr>
          <p:cNvSpPr>
            <a:spLocks noGrp="1"/>
          </p:cNvSpPr>
          <p:nvPr>
            <p:ph type="body" sz="quarter" idx="15"/>
          </p:nvPr>
        </p:nvSpPr>
        <p:spPr>
          <a:xfrm>
            <a:off x="728134"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6" name="Text Placeholder 18">
            <a:extLst>
              <a:ext uri="{FF2B5EF4-FFF2-40B4-BE49-F238E27FC236}">
                <a16:creationId xmlns:a16="http://schemas.microsoft.com/office/drawing/2014/main" id="{125A635C-A77A-4EB9-997F-CA64BF012A7E}"/>
              </a:ext>
            </a:extLst>
          </p:cNvPr>
          <p:cNvSpPr>
            <a:spLocks noGrp="1"/>
          </p:cNvSpPr>
          <p:nvPr>
            <p:ph type="body" sz="quarter" idx="16"/>
          </p:nvPr>
        </p:nvSpPr>
        <p:spPr>
          <a:xfrm>
            <a:off x="4655841"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7" name="Text Placeholder 18">
            <a:extLst>
              <a:ext uri="{FF2B5EF4-FFF2-40B4-BE49-F238E27FC236}">
                <a16:creationId xmlns:a16="http://schemas.microsoft.com/office/drawing/2014/main" id="{24EED960-BBA0-6EA8-714F-54CE5B4410CA}"/>
              </a:ext>
            </a:extLst>
          </p:cNvPr>
          <p:cNvSpPr>
            <a:spLocks noGrp="1"/>
          </p:cNvSpPr>
          <p:nvPr>
            <p:ph type="body" sz="quarter" idx="17"/>
          </p:nvPr>
        </p:nvSpPr>
        <p:spPr>
          <a:xfrm>
            <a:off x="8592278"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8" name="Text Placeholder 22">
            <a:extLst>
              <a:ext uri="{FF2B5EF4-FFF2-40B4-BE49-F238E27FC236}">
                <a16:creationId xmlns:a16="http://schemas.microsoft.com/office/drawing/2014/main" id="{91693202-A0C1-3ABC-6467-587C6B1D2E0E}"/>
              </a:ext>
            </a:extLst>
          </p:cNvPr>
          <p:cNvSpPr>
            <a:spLocks noGrp="1"/>
          </p:cNvSpPr>
          <p:nvPr>
            <p:ph type="body" sz="quarter" idx="18" hasCustomPrompt="1"/>
          </p:nvPr>
        </p:nvSpPr>
        <p:spPr>
          <a:xfrm>
            <a:off x="1493274"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19" name="Text Placeholder 22">
            <a:extLst>
              <a:ext uri="{FF2B5EF4-FFF2-40B4-BE49-F238E27FC236}">
                <a16:creationId xmlns:a16="http://schemas.microsoft.com/office/drawing/2014/main" id="{1478FC6B-377C-853E-F4C7-5E50E3C1B7BB}"/>
              </a:ext>
            </a:extLst>
          </p:cNvPr>
          <p:cNvSpPr>
            <a:spLocks noGrp="1"/>
          </p:cNvSpPr>
          <p:nvPr>
            <p:ph type="body" sz="quarter" idx="19" hasCustomPrompt="1"/>
          </p:nvPr>
        </p:nvSpPr>
        <p:spPr>
          <a:xfrm>
            <a:off x="5423926"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0" name="Text Placeholder 22">
            <a:extLst>
              <a:ext uri="{FF2B5EF4-FFF2-40B4-BE49-F238E27FC236}">
                <a16:creationId xmlns:a16="http://schemas.microsoft.com/office/drawing/2014/main" id="{B0F20950-9A8D-CE63-A9B5-406D7BCDE4F8}"/>
              </a:ext>
            </a:extLst>
          </p:cNvPr>
          <p:cNvSpPr>
            <a:spLocks noGrp="1"/>
          </p:cNvSpPr>
          <p:nvPr>
            <p:ph type="body" sz="quarter" idx="20" hasCustomPrompt="1"/>
          </p:nvPr>
        </p:nvSpPr>
        <p:spPr>
          <a:xfrm>
            <a:off x="9360363"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298516878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ain Points 3">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Freeform 1">
            <a:extLst>
              <a:ext uri="{FF2B5EF4-FFF2-40B4-BE49-F238E27FC236}">
                <a16:creationId xmlns:a16="http://schemas.microsoft.com/office/drawing/2014/main" id="{7FC68C33-E029-6C22-0762-EC6581267FEF}"/>
              </a:ext>
            </a:extLst>
          </p:cNvPr>
          <p:cNvSpPr/>
          <p:nvPr userDrawn="1"/>
        </p:nvSpPr>
        <p:spPr>
          <a:xfrm>
            <a:off x="4412222"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5" name="Freeform 4">
            <a:extLst>
              <a:ext uri="{FF2B5EF4-FFF2-40B4-BE49-F238E27FC236}">
                <a16:creationId xmlns:a16="http://schemas.microsoft.com/office/drawing/2014/main" id="{879D6BC5-8D63-5278-B1D2-94F5A9DF891E}"/>
              </a:ext>
            </a:extLst>
          </p:cNvPr>
          <p:cNvSpPr/>
          <p:nvPr userDrawn="1"/>
        </p:nvSpPr>
        <p:spPr>
          <a:xfrm>
            <a:off x="8344445"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1"/>
          </a:solidFill>
          <a:ln w="0" cap="flat">
            <a:noFill/>
            <a:prstDash val="solid"/>
            <a:miter/>
          </a:ln>
        </p:spPr>
        <p:txBody>
          <a:bodyPr rtlCol="0" anchor="ctr">
            <a:normAutofit/>
          </a:bodyPr>
          <a:lstStyle/>
          <a:p>
            <a:pPr>
              <a:lnSpc>
                <a:spcPts val="1867"/>
              </a:lnSpc>
            </a:pPr>
            <a:endParaRPr lang="en-AD" sz="1467"/>
          </a:p>
        </p:txBody>
      </p:sp>
      <p:sp>
        <p:nvSpPr>
          <p:cNvPr id="6" name="Freeform 5">
            <a:extLst>
              <a:ext uri="{FF2B5EF4-FFF2-40B4-BE49-F238E27FC236}">
                <a16:creationId xmlns:a16="http://schemas.microsoft.com/office/drawing/2014/main" id="{2F8011D0-DE62-A449-C043-5F9B6FBF8E6C}"/>
              </a:ext>
            </a:extLst>
          </p:cNvPr>
          <p:cNvSpPr/>
          <p:nvPr userDrawn="1"/>
        </p:nvSpPr>
        <p:spPr>
          <a:xfrm>
            <a:off x="9300177" y="1812723"/>
            <a:ext cx="1448535" cy="1449112"/>
          </a:xfrm>
          <a:custGeom>
            <a:avLst/>
            <a:gdLst>
              <a:gd name="connsiteX0" fmla="*/ 1271413 w 1271413"/>
              <a:gd name="connsiteY0" fmla="*/ 635960 h 1271920"/>
              <a:gd name="connsiteX1" fmla="*/ 635706 w 1271413"/>
              <a:gd name="connsiteY1" fmla="*/ 1271920 h 1271920"/>
              <a:gd name="connsiteX2" fmla="*/ 0 w 1271413"/>
              <a:gd name="connsiteY2" fmla="*/ 635960 h 1271920"/>
              <a:gd name="connsiteX3" fmla="*/ 635706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6" y="1271920"/>
                </a:cubicBezTo>
                <a:cubicBezTo>
                  <a:pt x="284615" y="1271920"/>
                  <a:pt x="0" y="987191"/>
                  <a:pt x="0" y="635960"/>
                </a:cubicBezTo>
                <a:cubicBezTo>
                  <a:pt x="0" y="284729"/>
                  <a:pt x="284615" y="0"/>
                  <a:pt x="635706"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7" name="Freeform 6">
            <a:extLst>
              <a:ext uri="{FF2B5EF4-FFF2-40B4-BE49-F238E27FC236}">
                <a16:creationId xmlns:a16="http://schemas.microsoft.com/office/drawing/2014/main" id="{DA94656C-A3EC-662B-9E00-92E0A5D9EE61}"/>
              </a:ext>
            </a:extLst>
          </p:cNvPr>
          <p:cNvSpPr/>
          <p:nvPr userDrawn="1"/>
        </p:nvSpPr>
        <p:spPr>
          <a:xfrm>
            <a:off x="5367954" y="1812723"/>
            <a:ext cx="1448535" cy="1449112"/>
          </a:xfrm>
          <a:custGeom>
            <a:avLst/>
            <a:gdLst>
              <a:gd name="connsiteX0" fmla="*/ 1271414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4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4" y="635960"/>
                </a:moveTo>
                <a:cubicBezTo>
                  <a:pt x="1271414" y="987191"/>
                  <a:pt x="986798" y="1271920"/>
                  <a:pt x="635707" y="1271920"/>
                </a:cubicBezTo>
                <a:cubicBezTo>
                  <a:pt x="284616" y="1271920"/>
                  <a:pt x="0" y="987191"/>
                  <a:pt x="0" y="635960"/>
                </a:cubicBezTo>
                <a:cubicBezTo>
                  <a:pt x="0" y="284729"/>
                  <a:pt x="284616" y="0"/>
                  <a:pt x="635707" y="0"/>
                </a:cubicBezTo>
                <a:cubicBezTo>
                  <a:pt x="986798" y="0"/>
                  <a:pt x="1271414" y="284729"/>
                  <a:pt x="1271414"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8" name="Freeform 7">
            <a:extLst>
              <a:ext uri="{FF2B5EF4-FFF2-40B4-BE49-F238E27FC236}">
                <a16:creationId xmlns:a16="http://schemas.microsoft.com/office/drawing/2014/main" id="{C39C3043-69AE-A3AA-A59E-D2C1E1295FFB}"/>
              </a:ext>
            </a:extLst>
          </p:cNvPr>
          <p:cNvSpPr/>
          <p:nvPr userDrawn="1"/>
        </p:nvSpPr>
        <p:spPr>
          <a:xfrm>
            <a:off x="479999"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9" name="Freeform 8">
            <a:extLst>
              <a:ext uri="{FF2B5EF4-FFF2-40B4-BE49-F238E27FC236}">
                <a16:creationId xmlns:a16="http://schemas.microsoft.com/office/drawing/2014/main" id="{76FFDF97-71F7-F237-8E41-CD102B85FB06}"/>
              </a:ext>
            </a:extLst>
          </p:cNvPr>
          <p:cNvSpPr/>
          <p:nvPr userDrawn="1"/>
        </p:nvSpPr>
        <p:spPr>
          <a:xfrm>
            <a:off x="1435731" y="1812723"/>
            <a:ext cx="1448535" cy="1449112"/>
          </a:xfrm>
          <a:custGeom>
            <a:avLst/>
            <a:gdLst>
              <a:gd name="connsiteX0" fmla="*/ 1271413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7" y="1271920"/>
                </a:cubicBezTo>
                <a:cubicBezTo>
                  <a:pt x="284616" y="1271920"/>
                  <a:pt x="0" y="987191"/>
                  <a:pt x="0" y="635960"/>
                </a:cubicBezTo>
                <a:cubicBezTo>
                  <a:pt x="0" y="284729"/>
                  <a:pt x="284616" y="0"/>
                  <a:pt x="635707"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19" name="Text Placeholder 18">
            <a:extLst>
              <a:ext uri="{FF2B5EF4-FFF2-40B4-BE49-F238E27FC236}">
                <a16:creationId xmlns:a16="http://schemas.microsoft.com/office/drawing/2014/main" id="{158AF768-21A9-A7F4-D716-466F7075126E}"/>
              </a:ext>
            </a:extLst>
          </p:cNvPr>
          <p:cNvSpPr>
            <a:spLocks noGrp="1"/>
          </p:cNvSpPr>
          <p:nvPr>
            <p:ph type="body" sz="quarter" idx="15"/>
          </p:nvPr>
        </p:nvSpPr>
        <p:spPr>
          <a:xfrm>
            <a:off x="728134"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0" name="Text Placeholder 18">
            <a:extLst>
              <a:ext uri="{FF2B5EF4-FFF2-40B4-BE49-F238E27FC236}">
                <a16:creationId xmlns:a16="http://schemas.microsoft.com/office/drawing/2014/main" id="{EC9FDA71-85F6-DE5B-52B7-F9E3A5CD2388}"/>
              </a:ext>
            </a:extLst>
          </p:cNvPr>
          <p:cNvSpPr>
            <a:spLocks noGrp="1"/>
          </p:cNvSpPr>
          <p:nvPr>
            <p:ph type="body" sz="quarter" idx="16"/>
          </p:nvPr>
        </p:nvSpPr>
        <p:spPr>
          <a:xfrm>
            <a:off x="4655841"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F924DA4B-FFBB-F222-E5ED-ECE36B483B8E}"/>
              </a:ext>
            </a:extLst>
          </p:cNvPr>
          <p:cNvSpPr>
            <a:spLocks noGrp="1"/>
          </p:cNvSpPr>
          <p:nvPr>
            <p:ph type="body" sz="quarter" idx="17"/>
          </p:nvPr>
        </p:nvSpPr>
        <p:spPr>
          <a:xfrm>
            <a:off x="8592278"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3" name="Text Placeholder 22">
            <a:extLst>
              <a:ext uri="{FF2B5EF4-FFF2-40B4-BE49-F238E27FC236}">
                <a16:creationId xmlns:a16="http://schemas.microsoft.com/office/drawing/2014/main" id="{55720C65-C33F-8DA5-0847-AF133FE44783}"/>
              </a:ext>
            </a:extLst>
          </p:cNvPr>
          <p:cNvSpPr>
            <a:spLocks noGrp="1"/>
          </p:cNvSpPr>
          <p:nvPr>
            <p:ph type="body" sz="quarter" idx="18" hasCustomPrompt="1"/>
          </p:nvPr>
        </p:nvSpPr>
        <p:spPr>
          <a:xfrm>
            <a:off x="1493274"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24" name="Text Placeholder 22">
            <a:extLst>
              <a:ext uri="{FF2B5EF4-FFF2-40B4-BE49-F238E27FC236}">
                <a16:creationId xmlns:a16="http://schemas.microsoft.com/office/drawing/2014/main" id="{8AB935E3-9ED2-CD07-AC0A-F49FDF41FEDD}"/>
              </a:ext>
            </a:extLst>
          </p:cNvPr>
          <p:cNvSpPr>
            <a:spLocks noGrp="1"/>
          </p:cNvSpPr>
          <p:nvPr>
            <p:ph type="body" sz="quarter" idx="19" hasCustomPrompt="1"/>
          </p:nvPr>
        </p:nvSpPr>
        <p:spPr>
          <a:xfrm>
            <a:off x="5423926"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5" name="Text Placeholder 22">
            <a:extLst>
              <a:ext uri="{FF2B5EF4-FFF2-40B4-BE49-F238E27FC236}">
                <a16:creationId xmlns:a16="http://schemas.microsoft.com/office/drawing/2014/main" id="{9B512850-2B9C-8D95-E0DD-D4C810D8FD3A}"/>
              </a:ext>
            </a:extLst>
          </p:cNvPr>
          <p:cNvSpPr>
            <a:spLocks noGrp="1"/>
          </p:cNvSpPr>
          <p:nvPr>
            <p:ph type="body" sz="quarter" idx="20" hasCustomPrompt="1"/>
          </p:nvPr>
        </p:nvSpPr>
        <p:spPr>
          <a:xfrm>
            <a:off x="9360363" y="1794789"/>
            <a:ext cx="1322916" cy="1267884"/>
          </a:xfrm>
          <a:prstGeom prst="rect">
            <a:avLst/>
          </a:prstGeom>
        </p:spPr>
        <p:txBody>
          <a:bodyPr anchor="ctr" anchorCtr="0">
            <a:normAutofit/>
          </a:bodyPr>
          <a:lstStyle>
            <a:lvl1pPr marL="0" indent="0" algn="ctr">
              <a:buNone/>
              <a:defRPr sz="6400">
                <a:solidFill>
                  <a:schemeClr val="accent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5532746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in Points &amp; Pictur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5" name="Text Placeholder 14">
            <a:extLst>
              <a:ext uri="{FF2B5EF4-FFF2-40B4-BE49-F238E27FC236}">
                <a16:creationId xmlns:a16="http://schemas.microsoft.com/office/drawing/2014/main" id="{ACA5B2AB-796F-0F40-6E8C-FD5E295DC2D7}"/>
              </a:ext>
            </a:extLst>
          </p:cNvPr>
          <p:cNvSpPr>
            <a:spLocks noGrp="1"/>
          </p:cNvSpPr>
          <p:nvPr>
            <p:ph type="body" sz="quarter" idx="15"/>
          </p:nvPr>
        </p:nvSpPr>
        <p:spPr>
          <a:xfrm>
            <a:off x="6088994" y="2178635"/>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16" name="Text Placeholder 14">
            <a:extLst>
              <a:ext uri="{FF2B5EF4-FFF2-40B4-BE49-F238E27FC236}">
                <a16:creationId xmlns:a16="http://schemas.microsoft.com/office/drawing/2014/main" id="{B79418CE-7C06-8CFE-1F2F-DD15C296A773}"/>
              </a:ext>
            </a:extLst>
          </p:cNvPr>
          <p:cNvSpPr>
            <a:spLocks noGrp="1"/>
          </p:cNvSpPr>
          <p:nvPr>
            <p:ph type="body" sz="quarter" idx="16"/>
          </p:nvPr>
        </p:nvSpPr>
        <p:spPr>
          <a:xfrm>
            <a:off x="6088994" y="2653159"/>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17" name="Text Placeholder 14">
            <a:extLst>
              <a:ext uri="{FF2B5EF4-FFF2-40B4-BE49-F238E27FC236}">
                <a16:creationId xmlns:a16="http://schemas.microsoft.com/office/drawing/2014/main" id="{8D6DBA23-45CE-00C6-8D4F-0A6F8E079D21}"/>
              </a:ext>
            </a:extLst>
          </p:cNvPr>
          <p:cNvSpPr>
            <a:spLocks noGrp="1"/>
          </p:cNvSpPr>
          <p:nvPr>
            <p:ph type="body" sz="quarter" idx="17"/>
          </p:nvPr>
        </p:nvSpPr>
        <p:spPr>
          <a:xfrm>
            <a:off x="6088994" y="3457028"/>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18" name="Text Placeholder 14">
            <a:extLst>
              <a:ext uri="{FF2B5EF4-FFF2-40B4-BE49-F238E27FC236}">
                <a16:creationId xmlns:a16="http://schemas.microsoft.com/office/drawing/2014/main" id="{A0B61CFC-F9BD-265E-F0E0-6326EABA2D16}"/>
              </a:ext>
            </a:extLst>
          </p:cNvPr>
          <p:cNvSpPr>
            <a:spLocks noGrp="1"/>
          </p:cNvSpPr>
          <p:nvPr>
            <p:ph type="body" sz="quarter" idx="18"/>
          </p:nvPr>
        </p:nvSpPr>
        <p:spPr>
          <a:xfrm>
            <a:off x="6088994" y="3931552"/>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19" name="Text Placeholder 14">
            <a:extLst>
              <a:ext uri="{FF2B5EF4-FFF2-40B4-BE49-F238E27FC236}">
                <a16:creationId xmlns:a16="http://schemas.microsoft.com/office/drawing/2014/main" id="{5A468320-D2F3-B39F-E547-2E4C9510F6BD}"/>
              </a:ext>
            </a:extLst>
          </p:cNvPr>
          <p:cNvSpPr>
            <a:spLocks noGrp="1"/>
          </p:cNvSpPr>
          <p:nvPr>
            <p:ph type="body" sz="quarter" idx="19"/>
          </p:nvPr>
        </p:nvSpPr>
        <p:spPr>
          <a:xfrm>
            <a:off x="6088994" y="4743036"/>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20" name="Text Placeholder 14">
            <a:extLst>
              <a:ext uri="{FF2B5EF4-FFF2-40B4-BE49-F238E27FC236}">
                <a16:creationId xmlns:a16="http://schemas.microsoft.com/office/drawing/2014/main" id="{86CD6EEC-FC91-60BF-2274-2EA132EDDE5C}"/>
              </a:ext>
            </a:extLst>
          </p:cNvPr>
          <p:cNvSpPr>
            <a:spLocks noGrp="1"/>
          </p:cNvSpPr>
          <p:nvPr>
            <p:ph type="body" sz="quarter" idx="20"/>
          </p:nvPr>
        </p:nvSpPr>
        <p:spPr>
          <a:xfrm>
            <a:off x="6088994" y="5217560"/>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33" name="Picture Placeholder 32">
            <a:extLst>
              <a:ext uri="{FF2B5EF4-FFF2-40B4-BE49-F238E27FC236}">
                <a16:creationId xmlns:a16="http://schemas.microsoft.com/office/drawing/2014/main" id="{EA6C729B-D79E-CB3D-68EF-CBF32D017BD4}"/>
              </a:ext>
            </a:extLst>
          </p:cNvPr>
          <p:cNvSpPr>
            <a:spLocks noGrp="1"/>
          </p:cNvSpPr>
          <p:nvPr>
            <p:ph type="pic" sz="quarter" idx="21"/>
          </p:nvPr>
        </p:nvSpPr>
        <p:spPr>
          <a:xfrm>
            <a:off x="476251" y="1982661"/>
            <a:ext cx="4000500" cy="4000500"/>
          </a:xfrm>
          <a:prstGeom prst="ellipse">
            <a:avLst/>
          </a:prstGeom>
          <a:solidFill>
            <a:schemeClr val="tx2"/>
          </a:solidFill>
        </p:spPr>
        <p:txBody>
          <a:bodyPr anchor="ctr" anchorCtr="0"/>
          <a:lstStyle>
            <a:lvl1pPr marL="0" indent="0" algn="ctr">
              <a:buNone/>
              <a:defRPr>
                <a:solidFill>
                  <a:schemeClr val="bg1"/>
                </a:solidFill>
              </a:defRPr>
            </a:lvl1pPr>
          </a:lstStyle>
          <a:p>
            <a:r>
              <a:rPr lang="en-US"/>
              <a:t>Click icon to add picture</a:t>
            </a:r>
            <a:endParaRPr lang="en-AD"/>
          </a:p>
        </p:txBody>
      </p:sp>
      <p:sp>
        <p:nvSpPr>
          <p:cNvPr id="36" name="Picture Placeholder 35">
            <a:extLst>
              <a:ext uri="{FF2B5EF4-FFF2-40B4-BE49-F238E27FC236}">
                <a16:creationId xmlns:a16="http://schemas.microsoft.com/office/drawing/2014/main" id="{5E0023AC-FDAF-72FC-6414-693ED4362CBB}"/>
              </a:ext>
            </a:extLst>
          </p:cNvPr>
          <p:cNvSpPr>
            <a:spLocks noGrp="1"/>
          </p:cNvSpPr>
          <p:nvPr>
            <p:ph type="pic" sz="quarter" idx="22"/>
          </p:nvPr>
        </p:nvSpPr>
        <p:spPr>
          <a:xfrm>
            <a:off x="5107444" y="2230408"/>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37" name="Picture Placeholder 35">
            <a:extLst>
              <a:ext uri="{FF2B5EF4-FFF2-40B4-BE49-F238E27FC236}">
                <a16:creationId xmlns:a16="http://schemas.microsoft.com/office/drawing/2014/main" id="{A861DEA2-7FC3-05F4-B6B4-EBCF36A1041F}"/>
              </a:ext>
            </a:extLst>
          </p:cNvPr>
          <p:cNvSpPr>
            <a:spLocks noGrp="1"/>
          </p:cNvSpPr>
          <p:nvPr>
            <p:ph type="pic" sz="quarter" idx="23"/>
          </p:nvPr>
        </p:nvSpPr>
        <p:spPr>
          <a:xfrm>
            <a:off x="5107444" y="3505282"/>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38" name="Picture Placeholder 35">
            <a:extLst>
              <a:ext uri="{FF2B5EF4-FFF2-40B4-BE49-F238E27FC236}">
                <a16:creationId xmlns:a16="http://schemas.microsoft.com/office/drawing/2014/main" id="{BB565A45-2609-3047-B5D5-0C5F25ADF4AD}"/>
              </a:ext>
            </a:extLst>
          </p:cNvPr>
          <p:cNvSpPr>
            <a:spLocks noGrp="1"/>
          </p:cNvSpPr>
          <p:nvPr>
            <p:ph type="pic" sz="quarter" idx="24"/>
          </p:nvPr>
        </p:nvSpPr>
        <p:spPr>
          <a:xfrm>
            <a:off x="5107444" y="4780157"/>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Tree>
    <p:extLst>
      <p:ext uri="{BB962C8B-B14F-4D97-AF65-F5344CB8AC3E}">
        <p14:creationId xmlns:p14="http://schemas.microsoft.com/office/powerpoint/2010/main" val="402239029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255216C-CAA9-C9C9-5D69-B81FBE12C654}"/>
              </a:ext>
            </a:extLst>
          </p:cNvPr>
          <p:cNvSpPr/>
          <p:nvPr userDrawn="1"/>
        </p:nvSpPr>
        <p:spPr>
          <a:xfrm>
            <a:off x="-30480" y="5064370"/>
            <a:ext cx="12252960" cy="1793631"/>
          </a:xfrm>
          <a:prstGeom prst="rect">
            <a:avLst/>
          </a:pr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5" name="Title 4">
            <a:extLst>
              <a:ext uri="{FF2B5EF4-FFF2-40B4-BE49-F238E27FC236}">
                <a16:creationId xmlns:a16="http://schemas.microsoft.com/office/drawing/2014/main" id="{3CBD18EC-0875-404E-A266-49733530A63C}"/>
              </a:ext>
            </a:extLst>
          </p:cNvPr>
          <p:cNvSpPr>
            <a:spLocks noGrp="1"/>
          </p:cNvSpPr>
          <p:nvPr>
            <p:ph type="title" hasCustomPrompt="1"/>
          </p:nvPr>
        </p:nvSpPr>
        <p:spPr>
          <a:xfrm>
            <a:off x="1574400" y="1625718"/>
            <a:ext cx="9043200" cy="614695"/>
          </a:xfrm>
        </p:spPr>
        <p:txBody>
          <a:bodyPr anchor="t" anchorCtr="0">
            <a:normAutofit/>
          </a:bodyPr>
          <a:lstStyle>
            <a:lvl1pPr algn="ctr">
              <a:defRPr sz="4000">
                <a:solidFill>
                  <a:schemeClr val="tx1"/>
                </a:solidFill>
              </a:defRPr>
            </a:lvl1pPr>
          </a:lstStyle>
          <a:p>
            <a:r>
              <a:rPr lang="en-GB"/>
              <a:t>Click to edit Title</a:t>
            </a:r>
            <a:endParaRPr lang="en-AD"/>
          </a:p>
        </p:txBody>
      </p:sp>
      <p:grpSp>
        <p:nvGrpSpPr>
          <p:cNvPr id="6" name="Group 5">
            <a:extLst>
              <a:ext uri="{FF2B5EF4-FFF2-40B4-BE49-F238E27FC236}">
                <a16:creationId xmlns:a16="http://schemas.microsoft.com/office/drawing/2014/main" id="{A21C726A-84F9-D608-B026-C1EC59990CC8}"/>
              </a:ext>
            </a:extLst>
          </p:cNvPr>
          <p:cNvGrpSpPr/>
          <p:nvPr userDrawn="1"/>
        </p:nvGrpSpPr>
        <p:grpSpPr>
          <a:xfrm>
            <a:off x="5550645" y="577025"/>
            <a:ext cx="1085908" cy="821904"/>
            <a:chOff x="1001339" y="887094"/>
            <a:chExt cx="814431" cy="616428"/>
          </a:xfrm>
        </p:grpSpPr>
        <p:sp>
          <p:nvSpPr>
            <p:cNvPr id="7" name="Freeform 6">
              <a:extLst>
                <a:ext uri="{FF2B5EF4-FFF2-40B4-BE49-F238E27FC236}">
                  <a16:creationId xmlns:a16="http://schemas.microsoft.com/office/drawing/2014/main" id="{2F5BD163-194D-F255-4C16-95C03F165BC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tx1"/>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14A5B99E-420C-FD01-9214-B6D65653389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FF34452E-2EA4-FCAE-04EE-3AFED31C6C28}"/>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tx1"/>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E8943E7-8570-AC73-0517-46C334A91DD9}"/>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12" name="TextBox 11">
            <a:extLst>
              <a:ext uri="{FF2B5EF4-FFF2-40B4-BE49-F238E27FC236}">
                <a16:creationId xmlns:a16="http://schemas.microsoft.com/office/drawing/2014/main" id="{AB14A78E-5E06-D40A-F634-F7755B4B9CA6}"/>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3" name="Picture Placeholder 2">
            <a:extLst>
              <a:ext uri="{FF2B5EF4-FFF2-40B4-BE49-F238E27FC236}">
                <a16:creationId xmlns:a16="http://schemas.microsoft.com/office/drawing/2014/main" id="{E249DE92-6651-6FF8-4E28-8A1EFC66B7C9}"/>
              </a:ext>
            </a:extLst>
          </p:cNvPr>
          <p:cNvSpPr>
            <a:spLocks noGrp="1" noChangeAspect="1"/>
          </p:cNvSpPr>
          <p:nvPr>
            <p:ph type="pic" sz="quarter" idx="15"/>
          </p:nvPr>
        </p:nvSpPr>
        <p:spPr>
          <a:xfrm>
            <a:off x="479999" y="3267165"/>
            <a:ext cx="2400000" cy="2400000"/>
          </a:xfrm>
          <a:prstGeom prst="rect">
            <a:avLst/>
          </a:prstGeom>
          <a:solidFill>
            <a:schemeClr val="tx2"/>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14" name="Picture Placeholder 4">
            <a:extLst>
              <a:ext uri="{FF2B5EF4-FFF2-40B4-BE49-F238E27FC236}">
                <a16:creationId xmlns:a16="http://schemas.microsoft.com/office/drawing/2014/main" id="{D4E50AF2-9895-0A4E-678B-BD2EC21747A4}"/>
              </a:ext>
            </a:extLst>
          </p:cNvPr>
          <p:cNvSpPr>
            <a:spLocks noGrp="1" noChangeAspect="1"/>
          </p:cNvSpPr>
          <p:nvPr>
            <p:ph type="pic" sz="quarter" idx="16"/>
          </p:nvPr>
        </p:nvSpPr>
        <p:spPr>
          <a:xfrm>
            <a:off x="6364799" y="3267165"/>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15" name="Picture Placeholder 6">
            <a:extLst>
              <a:ext uri="{FF2B5EF4-FFF2-40B4-BE49-F238E27FC236}">
                <a16:creationId xmlns:a16="http://schemas.microsoft.com/office/drawing/2014/main" id="{F21C3926-BECE-E662-13AC-758E3DCFF808}"/>
              </a:ext>
            </a:extLst>
          </p:cNvPr>
          <p:cNvSpPr>
            <a:spLocks noGrp="1" noChangeAspect="1"/>
          </p:cNvSpPr>
          <p:nvPr>
            <p:ph type="pic" sz="quarter" idx="17"/>
          </p:nvPr>
        </p:nvSpPr>
        <p:spPr>
          <a:xfrm>
            <a:off x="9307200"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17" name="Picture Placeholder 10">
            <a:extLst>
              <a:ext uri="{FF2B5EF4-FFF2-40B4-BE49-F238E27FC236}">
                <a16:creationId xmlns:a16="http://schemas.microsoft.com/office/drawing/2014/main" id="{0F715FC3-04C5-462E-CF77-F8D811E524CC}"/>
              </a:ext>
            </a:extLst>
          </p:cNvPr>
          <p:cNvSpPr>
            <a:spLocks noGrp="1" noChangeAspect="1"/>
          </p:cNvSpPr>
          <p:nvPr>
            <p:ph type="pic" sz="quarter" idx="18"/>
          </p:nvPr>
        </p:nvSpPr>
        <p:spPr>
          <a:xfrm>
            <a:off x="3422399"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2" name="Text Placeholder 11">
            <a:extLst>
              <a:ext uri="{FF2B5EF4-FFF2-40B4-BE49-F238E27FC236}">
                <a16:creationId xmlns:a16="http://schemas.microsoft.com/office/drawing/2014/main" id="{C64B6702-7ADD-5C93-24CA-4CE82ADA5C5A}"/>
              </a:ext>
            </a:extLst>
          </p:cNvPr>
          <p:cNvSpPr>
            <a:spLocks noGrp="1"/>
          </p:cNvSpPr>
          <p:nvPr>
            <p:ph type="body" sz="quarter" idx="13" hasCustomPrompt="1"/>
          </p:nvPr>
        </p:nvSpPr>
        <p:spPr>
          <a:xfrm>
            <a:off x="1574400" y="2256491"/>
            <a:ext cx="9043200" cy="370416"/>
          </a:xfrm>
          <a:prstGeom prst="rect">
            <a:avLst/>
          </a:prstGeom>
        </p:spPr>
        <p:txBody>
          <a:bodyPr>
            <a:normAutofit/>
          </a:bodyPr>
          <a:lstStyle>
            <a:lvl1pPr marL="0" indent="0" algn="ctr">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Tree>
    <p:extLst>
      <p:ext uri="{BB962C8B-B14F-4D97-AF65-F5344CB8AC3E}">
        <p14:creationId xmlns:p14="http://schemas.microsoft.com/office/powerpoint/2010/main" val="26043312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in point">
    <p:bg>
      <p:bgPr>
        <a:solidFill>
          <a:schemeClr val="accent4"/>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8EF2230-BF37-377D-8ED5-D5F99B2BCB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17272"/>
            <a:ext cx="12252960" cy="6875272"/>
          </a:xfrm>
          <a:prstGeom prst="rect">
            <a:avLst/>
          </a:prstGeom>
        </p:spPr>
      </p:pic>
      <p:sp>
        <p:nvSpPr>
          <p:cNvPr id="5" name="Title 4">
            <a:extLst>
              <a:ext uri="{FF2B5EF4-FFF2-40B4-BE49-F238E27FC236}">
                <a16:creationId xmlns:a16="http://schemas.microsoft.com/office/drawing/2014/main" id="{3CBD18EC-0875-404E-A266-49733530A63C}"/>
              </a:ext>
            </a:extLst>
          </p:cNvPr>
          <p:cNvSpPr>
            <a:spLocks noGrp="1"/>
          </p:cNvSpPr>
          <p:nvPr>
            <p:ph type="title"/>
          </p:nvPr>
        </p:nvSpPr>
        <p:spPr>
          <a:xfrm>
            <a:off x="480000" y="2111857"/>
            <a:ext cx="11232000" cy="2634287"/>
          </a:xfrm>
        </p:spPr>
        <p:txBody>
          <a:bodyPr anchor="ctr" anchorCtr="0">
            <a:normAutofit/>
          </a:bodyPr>
          <a:lstStyle>
            <a:lvl1pPr algn="ctr">
              <a:defRPr sz="4800" cap="all" baseline="0">
                <a:solidFill>
                  <a:schemeClr val="bg1"/>
                </a:solidFill>
              </a:defRPr>
            </a:lvl1pPr>
          </a:lstStyle>
          <a:p>
            <a:r>
              <a:rPr lang="en-US"/>
              <a:t>Click to edit Master title style</a:t>
            </a:r>
            <a:endParaRPr lang="en-AD"/>
          </a:p>
        </p:txBody>
      </p:sp>
      <p:grpSp>
        <p:nvGrpSpPr>
          <p:cNvPr id="3" name="Group 2">
            <a:extLst>
              <a:ext uri="{FF2B5EF4-FFF2-40B4-BE49-F238E27FC236}">
                <a16:creationId xmlns:a16="http://schemas.microsoft.com/office/drawing/2014/main" id="{92699F5E-D96E-24CF-679E-5CBE94876446}"/>
              </a:ext>
            </a:extLst>
          </p:cNvPr>
          <p:cNvGrpSpPr/>
          <p:nvPr userDrawn="1"/>
        </p:nvGrpSpPr>
        <p:grpSpPr>
          <a:xfrm>
            <a:off x="5550645" y="773217"/>
            <a:ext cx="1085908" cy="821904"/>
            <a:chOff x="1001339" y="887094"/>
            <a:chExt cx="814431" cy="616428"/>
          </a:xfrm>
          <a:solidFill>
            <a:schemeClr val="bg1"/>
          </a:solidFill>
        </p:grpSpPr>
        <p:sp>
          <p:nvSpPr>
            <p:cNvPr id="6" name="Freeform 5">
              <a:extLst>
                <a:ext uri="{FF2B5EF4-FFF2-40B4-BE49-F238E27FC236}">
                  <a16:creationId xmlns:a16="http://schemas.microsoft.com/office/drawing/2014/main" id="{FCDE8D57-E53E-6F98-08CA-268A52397CAA}"/>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6B622938-F292-F475-A979-97107B3A72F6}"/>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28E3FADD-F7FF-AC37-3901-4EF50470602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2" name="Rectangle 11">
            <a:extLst>
              <a:ext uri="{FF2B5EF4-FFF2-40B4-BE49-F238E27FC236}">
                <a16:creationId xmlns:a16="http://schemas.microsoft.com/office/drawing/2014/main" id="{D2A7B2E4-44EA-C4D3-6FE7-FB9F67723427}"/>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3" name="TextBox 12">
            <a:extLst>
              <a:ext uri="{FF2B5EF4-FFF2-40B4-BE49-F238E27FC236}">
                <a16:creationId xmlns:a16="http://schemas.microsoft.com/office/drawing/2014/main" id="{79A53763-2BB6-9B6B-6985-7EA40AC52A1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4" name="Slide Number Placeholder 6">
            <a:extLst>
              <a:ext uri="{FF2B5EF4-FFF2-40B4-BE49-F238E27FC236}">
                <a16:creationId xmlns:a16="http://schemas.microsoft.com/office/drawing/2014/main" id="{531BFB04-86E1-1D8F-3BB9-1A3DE83A5701}"/>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1868152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13575758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Freeform 5">
            <a:extLst>
              <a:ext uri="{FF2B5EF4-FFF2-40B4-BE49-F238E27FC236}">
                <a16:creationId xmlns:a16="http://schemas.microsoft.com/office/drawing/2014/main" id="{B3CC76C5-19E8-9FE6-C7A4-6CB31AF4E399}"/>
              </a:ext>
            </a:extLst>
          </p:cNvPr>
          <p:cNvSpPr>
            <a:spLocks/>
          </p:cNvSpPr>
          <p:nvPr userDrawn="1"/>
        </p:nvSpPr>
        <p:spPr bwMode="auto">
          <a:xfrm>
            <a:off x="480001"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5" name="Rectangle 6">
            <a:extLst>
              <a:ext uri="{FF2B5EF4-FFF2-40B4-BE49-F238E27FC236}">
                <a16:creationId xmlns:a16="http://schemas.microsoft.com/office/drawing/2014/main" id="{F3B446C0-E98A-9AC6-A599-4A4D82985C21}"/>
              </a:ext>
            </a:extLst>
          </p:cNvPr>
          <p:cNvSpPr>
            <a:spLocks noChangeArrowheads="1"/>
          </p:cNvSpPr>
          <p:nvPr userDrawn="1"/>
        </p:nvSpPr>
        <p:spPr bwMode="auto">
          <a:xfrm>
            <a:off x="1786127"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6" name="TextBox 5">
            <a:extLst>
              <a:ext uri="{FF2B5EF4-FFF2-40B4-BE49-F238E27FC236}">
                <a16:creationId xmlns:a16="http://schemas.microsoft.com/office/drawing/2014/main" id="{AB637AB1-A742-DC7A-4C46-2FCF2281220B}"/>
              </a:ext>
            </a:extLst>
          </p:cNvPr>
          <p:cNvSpPr txBox="1"/>
          <p:nvPr userDrawn="1"/>
        </p:nvSpPr>
        <p:spPr>
          <a:xfrm>
            <a:off x="727602" y="2010778"/>
            <a:ext cx="755335" cy="769441"/>
          </a:xfrm>
          <a:prstGeom prst="rect">
            <a:avLst/>
          </a:prstGeom>
          <a:noFill/>
        </p:spPr>
        <p:txBody>
          <a:bodyPr wrap="none" rtlCol="0">
            <a:spAutoFit/>
          </a:bodyPr>
          <a:lstStyle/>
          <a:p>
            <a:pPr algn="ctr"/>
            <a:r>
              <a:rPr lang="en-US" sz="4400" b="0" i="0">
                <a:solidFill>
                  <a:schemeClr val="bg2"/>
                </a:solidFill>
                <a:latin typeface="+mj-lt"/>
                <a:ea typeface="Open Sans" pitchFamily="2" charset="0"/>
                <a:cs typeface="Calibri" panose="020F0502020204030204" pitchFamily="34" charset="0"/>
              </a:rPr>
              <a:t>01</a:t>
            </a:r>
          </a:p>
        </p:txBody>
      </p:sp>
      <p:sp>
        <p:nvSpPr>
          <p:cNvPr id="11" name="Text Placeholder 10">
            <a:extLst>
              <a:ext uri="{FF2B5EF4-FFF2-40B4-BE49-F238E27FC236}">
                <a16:creationId xmlns:a16="http://schemas.microsoft.com/office/drawing/2014/main" id="{499C8CB2-2C3A-AE1B-D70B-3965853FA605}"/>
              </a:ext>
            </a:extLst>
          </p:cNvPr>
          <p:cNvSpPr>
            <a:spLocks noGrp="1"/>
          </p:cNvSpPr>
          <p:nvPr>
            <p:ph type="body" sz="quarter" idx="15"/>
          </p:nvPr>
        </p:nvSpPr>
        <p:spPr>
          <a:xfrm>
            <a:off x="1955801"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2" name="Text Placeholder 10">
            <a:extLst>
              <a:ext uri="{FF2B5EF4-FFF2-40B4-BE49-F238E27FC236}">
                <a16:creationId xmlns:a16="http://schemas.microsoft.com/office/drawing/2014/main" id="{B95A92F5-9E27-67A4-9D2A-B1DBA78CCCA0}"/>
              </a:ext>
            </a:extLst>
          </p:cNvPr>
          <p:cNvSpPr>
            <a:spLocks noGrp="1"/>
          </p:cNvSpPr>
          <p:nvPr>
            <p:ph type="body" sz="quarter" idx="16"/>
          </p:nvPr>
        </p:nvSpPr>
        <p:spPr>
          <a:xfrm>
            <a:off x="1955801"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3" name="Freeform 5">
            <a:extLst>
              <a:ext uri="{FF2B5EF4-FFF2-40B4-BE49-F238E27FC236}">
                <a16:creationId xmlns:a16="http://schemas.microsoft.com/office/drawing/2014/main" id="{15C9888C-5CD6-A244-13C4-14EF3CE7080D}"/>
              </a:ext>
            </a:extLst>
          </p:cNvPr>
          <p:cNvSpPr>
            <a:spLocks/>
          </p:cNvSpPr>
          <p:nvPr userDrawn="1"/>
        </p:nvSpPr>
        <p:spPr bwMode="auto">
          <a:xfrm>
            <a:off x="480001"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14" name="Rectangle 6">
            <a:extLst>
              <a:ext uri="{FF2B5EF4-FFF2-40B4-BE49-F238E27FC236}">
                <a16:creationId xmlns:a16="http://schemas.microsoft.com/office/drawing/2014/main" id="{8F381367-B1C0-8A51-6DB1-29784584CBF3}"/>
              </a:ext>
            </a:extLst>
          </p:cNvPr>
          <p:cNvSpPr>
            <a:spLocks noChangeArrowheads="1"/>
          </p:cNvSpPr>
          <p:nvPr userDrawn="1"/>
        </p:nvSpPr>
        <p:spPr bwMode="auto">
          <a:xfrm>
            <a:off x="1786127"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15" name="TextBox 14">
            <a:extLst>
              <a:ext uri="{FF2B5EF4-FFF2-40B4-BE49-F238E27FC236}">
                <a16:creationId xmlns:a16="http://schemas.microsoft.com/office/drawing/2014/main" id="{0839BF74-CD5B-BD74-A948-EE0E50D62545}"/>
              </a:ext>
            </a:extLst>
          </p:cNvPr>
          <p:cNvSpPr txBox="1"/>
          <p:nvPr userDrawn="1"/>
        </p:nvSpPr>
        <p:spPr>
          <a:xfrm>
            <a:off x="727602" y="3431329"/>
            <a:ext cx="755335" cy="769441"/>
          </a:xfrm>
          <a:prstGeom prst="rect">
            <a:avLst/>
          </a:prstGeom>
          <a:noFill/>
        </p:spPr>
        <p:txBody>
          <a:bodyPr wrap="none" rtlCol="0">
            <a:spAutoFit/>
          </a:bodyPr>
          <a:lstStyle/>
          <a:p>
            <a:pPr algn="ctr"/>
            <a:r>
              <a:rPr lang="en-US" sz="4400" b="0" i="0">
                <a:solidFill>
                  <a:schemeClr val="bg2"/>
                </a:solidFill>
                <a:latin typeface="+mj-lt"/>
                <a:ea typeface="Open Sans" pitchFamily="2" charset="0"/>
                <a:cs typeface="Calibri" panose="020F0502020204030204" pitchFamily="34" charset="0"/>
              </a:rPr>
              <a:t>02</a:t>
            </a:r>
          </a:p>
        </p:txBody>
      </p:sp>
      <p:sp>
        <p:nvSpPr>
          <p:cNvPr id="16" name="Text Placeholder 10">
            <a:extLst>
              <a:ext uri="{FF2B5EF4-FFF2-40B4-BE49-F238E27FC236}">
                <a16:creationId xmlns:a16="http://schemas.microsoft.com/office/drawing/2014/main" id="{A0D3E293-B029-06A4-BC39-08EA9C4980AF}"/>
              </a:ext>
            </a:extLst>
          </p:cNvPr>
          <p:cNvSpPr>
            <a:spLocks noGrp="1"/>
          </p:cNvSpPr>
          <p:nvPr>
            <p:ph type="body" sz="quarter" idx="17"/>
          </p:nvPr>
        </p:nvSpPr>
        <p:spPr>
          <a:xfrm>
            <a:off x="1955801"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7" name="Text Placeholder 10">
            <a:extLst>
              <a:ext uri="{FF2B5EF4-FFF2-40B4-BE49-F238E27FC236}">
                <a16:creationId xmlns:a16="http://schemas.microsoft.com/office/drawing/2014/main" id="{0D1A51A7-2450-5353-41E8-B09A6FEBDDBB}"/>
              </a:ext>
            </a:extLst>
          </p:cNvPr>
          <p:cNvSpPr>
            <a:spLocks noGrp="1"/>
          </p:cNvSpPr>
          <p:nvPr>
            <p:ph type="body" sz="quarter" idx="18"/>
          </p:nvPr>
        </p:nvSpPr>
        <p:spPr>
          <a:xfrm>
            <a:off x="1955801"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8" name="Freeform 5">
            <a:extLst>
              <a:ext uri="{FF2B5EF4-FFF2-40B4-BE49-F238E27FC236}">
                <a16:creationId xmlns:a16="http://schemas.microsoft.com/office/drawing/2014/main" id="{8F37A73C-9C6D-5FF9-CE7F-88D20BBD4F3D}"/>
              </a:ext>
            </a:extLst>
          </p:cNvPr>
          <p:cNvSpPr>
            <a:spLocks/>
          </p:cNvSpPr>
          <p:nvPr userDrawn="1"/>
        </p:nvSpPr>
        <p:spPr bwMode="auto">
          <a:xfrm>
            <a:off x="480001"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b="0" i="0">
              <a:latin typeface="Calibri" panose="020F0502020204030204" pitchFamily="34" charset="0"/>
            </a:endParaRPr>
          </a:p>
        </p:txBody>
      </p:sp>
      <p:sp>
        <p:nvSpPr>
          <p:cNvPr id="19" name="Rectangle 6">
            <a:extLst>
              <a:ext uri="{FF2B5EF4-FFF2-40B4-BE49-F238E27FC236}">
                <a16:creationId xmlns:a16="http://schemas.microsoft.com/office/drawing/2014/main" id="{03940F0A-32FC-375A-4AC4-012D17096C7E}"/>
              </a:ext>
            </a:extLst>
          </p:cNvPr>
          <p:cNvSpPr>
            <a:spLocks noChangeArrowheads="1"/>
          </p:cNvSpPr>
          <p:nvPr userDrawn="1"/>
        </p:nvSpPr>
        <p:spPr bwMode="auto">
          <a:xfrm>
            <a:off x="1786127"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0" name="TextBox 19">
            <a:extLst>
              <a:ext uri="{FF2B5EF4-FFF2-40B4-BE49-F238E27FC236}">
                <a16:creationId xmlns:a16="http://schemas.microsoft.com/office/drawing/2014/main" id="{5A9C7508-270B-768A-BF30-FCCA228BD3F6}"/>
              </a:ext>
            </a:extLst>
          </p:cNvPr>
          <p:cNvSpPr txBox="1"/>
          <p:nvPr userDrawn="1"/>
        </p:nvSpPr>
        <p:spPr>
          <a:xfrm>
            <a:off x="727602" y="4871489"/>
            <a:ext cx="755335" cy="769441"/>
          </a:xfrm>
          <a:prstGeom prst="rect">
            <a:avLst/>
          </a:prstGeom>
          <a:noFill/>
        </p:spPr>
        <p:txBody>
          <a:bodyPr wrap="none" rtlCol="0">
            <a:spAutoFit/>
          </a:bodyPr>
          <a:lstStyle/>
          <a:p>
            <a:pPr algn="ctr"/>
            <a:r>
              <a:rPr lang="en-US" sz="4400" b="0" i="0">
                <a:solidFill>
                  <a:schemeClr val="bg2"/>
                </a:solidFill>
                <a:latin typeface="+mj-lt"/>
                <a:ea typeface="Open Sans" pitchFamily="2" charset="0"/>
                <a:cs typeface="Calibri" panose="020F0502020204030204" pitchFamily="34" charset="0"/>
              </a:rPr>
              <a:t>03</a:t>
            </a:r>
          </a:p>
        </p:txBody>
      </p:sp>
      <p:sp>
        <p:nvSpPr>
          <p:cNvPr id="21" name="Text Placeholder 10">
            <a:extLst>
              <a:ext uri="{FF2B5EF4-FFF2-40B4-BE49-F238E27FC236}">
                <a16:creationId xmlns:a16="http://schemas.microsoft.com/office/drawing/2014/main" id="{BA0A190D-5635-E297-A116-F00B4E16E366}"/>
              </a:ext>
            </a:extLst>
          </p:cNvPr>
          <p:cNvSpPr>
            <a:spLocks noGrp="1"/>
          </p:cNvSpPr>
          <p:nvPr>
            <p:ph type="body" sz="quarter" idx="19"/>
          </p:nvPr>
        </p:nvSpPr>
        <p:spPr>
          <a:xfrm>
            <a:off x="1955801"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22" name="Text Placeholder 10">
            <a:extLst>
              <a:ext uri="{FF2B5EF4-FFF2-40B4-BE49-F238E27FC236}">
                <a16:creationId xmlns:a16="http://schemas.microsoft.com/office/drawing/2014/main" id="{E4E43EB9-D574-3FE7-E077-B9A27E2A4518}"/>
              </a:ext>
            </a:extLst>
          </p:cNvPr>
          <p:cNvSpPr>
            <a:spLocks noGrp="1"/>
          </p:cNvSpPr>
          <p:nvPr>
            <p:ph type="body" sz="quarter" idx="20"/>
          </p:nvPr>
        </p:nvSpPr>
        <p:spPr>
          <a:xfrm>
            <a:off x="1955801"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23" name="Freeform 5">
            <a:extLst>
              <a:ext uri="{FF2B5EF4-FFF2-40B4-BE49-F238E27FC236}">
                <a16:creationId xmlns:a16="http://schemas.microsoft.com/office/drawing/2014/main" id="{5C4DBB4F-B097-E611-5957-015725C19365}"/>
              </a:ext>
            </a:extLst>
          </p:cNvPr>
          <p:cNvSpPr>
            <a:spLocks/>
          </p:cNvSpPr>
          <p:nvPr userDrawn="1"/>
        </p:nvSpPr>
        <p:spPr bwMode="auto">
          <a:xfrm>
            <a:off x="6192012"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4" name="Rectangle 6">
            <a:extLst>
              <a:ext uri="{FF2B5EF4-FFF2-40B4-BE49-F238E27FC236}">
                <a16:creationId xmlns:a16="http://schemas.microsoft.com/office/drawing/2014/main" id="{9A8FD685-9057-A4C8-698D-7497A4734189}"/>
              </a:ext>
            </a:extLst>
          </p:cNvPr>
          <p:cNvSpPr>
            <a:spLocks noChangeArrowheads="1"/>
          </p:cNvSpPr>
          <p:nvPr userDrawn="1"/>
        </p:nvSpPr>
        <p:spPr bwMode="auto">
          <a:xfrm>
            <a:off x="7498138"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25" name="TextBox 24">
            <a:extLst>
              <a:ext uri="{FF2B5EF4-FFF2-40B4-BE49-F238E27FC236}">
                <a16:creationId xmlns:a16="http://schemas.microsoft.com/office/drawing/2014/main" id="{90B53B5F-A7BD-C110-ABA0-9AC9DA036EF7}"/>
              </a:ext>
            </a:extLst>
          </p:cNvPr>
          <p:cNvSpPr txBox="1"/>
          <p:nvPr userDrawn="1"/>
        </p:nvSpPr>
        <p:spPr>
          <a:xfrm>
            <a:off x="6357539" y="2010777"/>
            <a:ext cx="919483" cy="800219"/>
          </a:xfrm>
          <a:prstGeom prst="rect">
            <a:avLst/>
          </a:prstGeom>
          <a:noFill/>
        </p:spPr>
        <p:txBody>
          <a:bodyPr wrap="none" rtlCol="0">
            <a:normAutofit/>
          </a:bodyPr>
          <a:lstStyle/>
          <a:p>
            <a:pPr algn="ctr"/>
            <a:r>
              <a:rPr lang="en-US" sz="4400" b="0" i="0">
                <a:solidFill>
                  <a:schemeClr val="bg2"/>
                </a:solidFill>
                <a:latin typeface="+mj-lt"/>
                <a:ea typeface="Open Sans" pitchFamily="2" charset="0"/>
                <a:cs typeface="Calibri" panose="020F0502020204030204" pitchFamily="34" charset="0"/>
              </a:rPr>
              <a:t>04</a:t>
            </a:r>
          </a:p>
        </p:txBody>
      </p:sp>
      <p:sp>
        <p:nvSpPr>
          <p:cNvPr id="30" name="Text Placeholder 10">
            <a:extLst>
              <a:ext uri="{FF2B5EF4-FFF2-40B4-BE49-F238E27FC236}">
                <a16:creationId xmlns:a16="http://schemas.microsoft.com/office/drawing/2014/main" id="{F8C91952-5C53-0A97-0D04-1B24BC16D86C}"/>
              </a:ext>
            </a:extLst>
          </p:cNvPr>
          <p:cNvSpPr>
            <a:spLocks noGrp="1"/>
          </p:cNvSpPr>
          <p:nvPr>
            <p:ph type="body" sz="quarter" idx="21"/>
          </p:nvPr>
        </p:nvSpPr>
        <p:spPr>
          <a:xfrm>
            <a:off x="7667812"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1" name="Text Placeholder 10">
            <a:extLst>
              <a:ext uri="{FF2B5EF4-FFF2-40B4-BE49-F238E27FC236}">
                <a16:creationId xmlns:a16="http://schemas.microsoft.com/office/drawing/2014/main" id="{B3EEDB7F-AAA5-77EB-6E76-E1F13F79E059}"/>
              </a:ext>
            </a:extLst>
          </p:cNvPr>
          <p:cNvSpPr>
            <a:spLocks noGrp="1"/>
          </p:cNvSpPr>
          <p:nvPr>
            <p:ph type="body" sz="quarter" idx="22"/>
          </p:nvPr>
        </p:nvSpPr>
        <p:spPr>
          <a:xfrm>
            <a:off x="7667812"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2" name="Freeform 5">
            <a:extLst>
              <a:ext uri="{FF2B5EF4-FFF2-40B4-BE49-F238E27FC236}">
                <a16:creationId xmlns:a16="http://schemas.microsoft.com/office/drawing/2014/main" id="{8E8062AA-04CD-3790-EE20-201DFF72492D}"/>
              </a:ext>
            </a:extLst>
          </p:cNvPr>
          <p:cNvSpPr>
            <a:spLocks/>
          </p:cNvSpPr>
          <p:nvPr userDrawn="1"/>
        </p:nvSpPr>
        <p:spPr bwMode="auto">
          <a:xfrm>
            <a:off x="6192012"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3" name="Rectangle 6">
            <a:extLst>
              <a:ext uri="{FF2B5EF4-FFF2-40B4-BE49-F238E27FC236}">
                <a16:creationId xmlns:a16="http://schemas.microsoft.com/office/drawing/2014/main" id="{B4EDDC68-BD20-164A-3B79-F566ABC213E1}"/>
              </a:ext>
            </a:extLst>
          </p:cNvPr>
          <p:cNvSpPr>
            <a:spLocks noChangeArrowheads="1"/>
          </p:cNvSpPr>
          <p:nvPr userDrawn="1"/>
        </p:nvSpPr>
        <p:spPr bwMode="auto">
          <a:xfrm>
            <a:off x="7498138"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4" name="TextBox 33">
            <a:extLst>
              <a:ext uri="{FF2B5EF4-FFF2-40B4-BE49-F238E27FC236}">
                <a16:creationId xmlns:a16="http://schemas.microsoft.com/office/drawing/2014/main" id="{21304A92-F76F-908F-F91C-0F1EDC723E79}"/>
              </a:ext>
            </a:extLst>
          </p:cNvPr>
          <p:cNvSpPr txBox="1"/>
          <p:nvPr userDrawn="1"/>
        </p:nvSpPr>
        <p:spPr>
          <a:xfrm>
            <a:off x="6358607" y="3431328"/>
            <a:ext cx="917347" cy="800219"/>
          </a:xfrm>
          <a:prstGeom prst="rect">
            <a:avLst/>
          </a:prstGeom>
          <a:noFill/>
        </p:spPr>
        <p:txBody>
          <a:bodyPr wrap="none" rtlCol="0">
            <a:normAutofit/>
          </a:bodyPr>
          <a:lstStyle/>
          <a:p>
            <a:pPr algn="ctr"/>
            <a:r>
              <a:rPr lang="en-US" sz="4400" b="0" i="0">
                <a:solidFill>
                  <a:schemeClr val="bg2"/>
                </a:solidFill>
                <a:latin typeface="+mj-lt"/>
                <a:ea typeface="Open Sans" pitchFamily="2" charset="0"/>
                <a:cs typeface="Calibri" panose="020F0502020204030204" pitchFamily="34" charset="0"/>
              </a:rPr>
              <a:t>05</a:t>
            </a:r>
          </a:p>
        </p:txBody>
      </p:sp>
      <p:sp>
        <p:nvSpPr>
          <p:cNvPr id="35" name="Text Placeholder 10">
            <a:extLst>
              <a:ext uri="{FF2B5EF4-FFF2-40B4-BE49-F238E27FC236}">
                <a16:creationId xmlns:a16="http://schemas.microsoft.com/office/drawing/2014/main" id="{F9D5E73C-E4D5-0BA8-39AD-09C3B1CDBEF4}"/>
              </a:ext>
            </a:extLst>
          </p:cNvPr>
          <p:cNvSpPr>
            <a:spLocks noGrp="1"/>
          </p:cNvSpPr>
          <p:nvPr>
            <p:ph type="body" sz="quarter" idx="23"/>
          </p:nvPr>
        </p:nvSpPr>
        <p:spPr>
          <a:xfrm>
            <a:off x="7667812"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6" name="Text Placeholder 10">
            <a:extLst>
              <a:ext uri="{FF2B5EF4-FFF2-40B4-BE49-F238E27FC236}">
                <a16:creationId xmlns:a16="http://schemas.microsoft.com/office/drawing/2014/main" id="{1C378C82-C51E-15C5-5591-BF0BBA0D310D}"/>
              </a:ext>
            </a:extLst>
          </p:cNvPr>
          <p:cNvSpPr>
            <a:spLocks noGrp="1"/>
          </p:cNvSpPr>
          <p:nvPr>
            <p:ph type="body" sz="quarter" idx="24"/>
          </p:nvPr>
        </p:nvSpPr>
        <p:spPr>
          <a:xfrm>
            <a:off x="7667812"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7" name="Freeform 5">
            <a:extLst>
              <a:ext uri="{FF2B5EF4-FFF2-40B4-BE49-F238E27FC236}">
                <a16:creationId xmlns:a16="http://schemas.microsoft.com/office/drawing/2014/main" id="{B7D91923-9CC4-BA3A-9305-1F645749E126}"/>
              </a:ext>
            </a:extLst>
          </p:cNvPr>
          <p:cNvSpPr>
            <a:spLocks/>
          </p:cNvSpPr>
          <p:nvPr userDrawn="1"/>
        </p:nvSpPr>
        <p:spPr bwMode="auto">
          <a:xfrm>
            <a:off x="6192012"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8" name="Rectangle 6">
            <a:extLst>
              <a:ext uri="{FF2B5EF4-FFF2-40B4-BE49-F238E27FC236}">
                <a16:creationId xmlns:a16="http://schemas.microsoft.com/office/drawing/2014/main" id="{B8CE9864-008E-919F-4FFB-899F9660E651}"/>
              </a:ext>
            </a:extLst>
          </p:cNvPr>
          <p:cNvSpPr>
            <a:spLocks noChangeArrowheads="1"/>
          </p:cNvSpPr>
          <p:nvPr userDrawn="1"/>
        </p:nvSpPr>
        <p:spPr bwMode="auto">
          <a:xfrm>
            <a:off x="7498138"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b="0" i="0">
              <a:latin typeface="Calibri" panose="020F0502020204030204" pitchFamily="34" charset="0"/>
            </a:endParaRPr>
          </a:p>
        </p:txBody>
      </p:sp>
      <p:sp>
        <p:nvSpPr>
          <p:cNvPr id="39" name="TextBox 38">
            <a:extLst>
              <a:ext uri="{FF2B5EF4-FFF2-40B4-BE49-F238E27FC236}">
                <a16:creationId xmlns:a16="http://schemas.microsoft.com/office/drawing/2014/main" id="{D489511B-C1DC-D8D4-9E16-91245E1B80B6}"/>
              </a:ext>
            </a:extLst>
          </p:cNvPr>
          <p:cNvSpPr txBox="1"/>
          <p:nvPr userDrawn="1"/>
        </p:nvSpPr>
        <p:spPr>
          <a:xfrm>
            <a:off x="6358607" y="4871488"/>
            <a:ext cx="917347" cy="800219"/>
          </a:xfrm>
          <a:prstGeom prst="rect">
            <a:avLst/>
          </a:prstGeom>
          <a:noFill/>
        </p:spPr>
        <p:txBody>
          <a:bodyPr wrap="none" rtlCol="0">
            <a:normAutofit/>
          </a:bodyPr>
          <a:lstStyle/>
          <a:p>
            <a:pPr algn="ctr"/>
            <a:r>
              <a:rPr lang="en-US" sz="4400" b="0" i="0">
                <a:solidFill>
                  <a:schemeClr val="bg2"/>
                </a:solidFill>
                <a:latin typeface="+mj-lt"/>
                <a:ea typeface="Open Sans" pitchFamily="2" charset="0"/>
                <a:cs typeface="Calibri" panose="020F0502020204030204" pitchFamily="34" charset="0"/>
              </a:rPr>
              <a:t>06</a:t>
            </a:r>
          </a:p>
        </p:txBody>
      </p:sp>
      <p:sp>
        <p:nvSpPr>
          <p:cNvPr id="40" name="Text Placeholder 10">
            <a:extLst>
              <a:ext uri="{FF2B5EF4-FFF2-40B4-BE49-F238E27FC236}">
                <a16:creationId xmlns:a16="http://schemas.microsoft.com/office/drawing/2014/main" id="{64434AA6-F75E-11B3-78A0-C17193D5CD58}"/>
              </a:ext>
            </a:extLst>
          </p:cNvPr>
          <p:cNvSpPr>
            <a:spLocks noGrp="1"/>
          </p:cNvSpPr>
          <p:nvPr>
            <p:ph type="body" sz="quarter" idx="25"/>
          </p:nvPr>
        </p:nvSpPr>
        <p:spPr>
          <a:xfrm>
            <a:off x="7667812"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41" name="Text Placeholder 10">
            <a:extLst>
              <a:ext uri="{FF2B5EF4-FFF2-40B4-BE49-F238E27FC236}">
                <a16:creationId xmlns:a16="http://schemas.microsoft.com/office/drawing/2014/main" id="{CFABD436-1AB0-B845-77F0-4A88C81F2E79}"/>
              </a:ext>
            </a:extLst>
          </p:cNvPr>
          <p:cNvSpPr>
            <a:spLocks noGrp="1"/>
          </p:cNvSpPr>
          <p:nvPr>
            <p:ph type="body" sz="quarter" idx="26"/>
          </p:nvPr>
        </p:nvSpPr>
        <p:spPr>
          <a:xfrm>
            <a:off x="7667812"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Tree>
    <p:extLst>
      <p:ext uri="{BB962C8B-B14F-4D97-AF65-F5344CB8AC3E}">
        <p14:creationId xmlns:p14="http://schemas.microsoft.com/office/powerpoint/2010/main" val="38242658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A1D85051-351D-960A-2BB4-A2628AEEDB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0"/>
            <a:ext cx="12252960" cy="6875272"/>
          </a:xfrm>
          <a:prstGeom prst="rect">
            <a:avLst/>
          </a:prstGeom>
        </p:spPr>
      </p:pic>
      <p:sp>
        <p:nvSpPr>
          <p:cNvPr id="15" name="Text Placeholder 14">
            <a:extLst>
              <a:ext uri="{FF2B5EF4-FFF2-40B4-BE49-F238E27FC236}">
                <a16:creationId xmlns:a16="http://schemas.microsoft.com/office/drawing/2014/main" id="{76E2CDF4-F367-7945-84D0-303D9A8B0730}"/>
              </a:ext>
            </a:extLst>
          </p:cNvPr>
          <p:cNvSpPr>
            <a:spLocks noGrp="1"/>
          </p:cNvSpPr>
          <p:nvPr>
            <p:ph type="body" sz="quarter" idx="13" hasCustomPrompt="1"/>
          </p:nvPr>
        </p:nvSpPr>
        <p:spPr>
          <a:xfrm>
            <a:off x="2605223" y="1652979"/>
            <a:ext cx="6259751" cy="1039276"/>
          </a:xfrm>
          <a:prstGeom prst="rect">
            <a:avLst/>
          </a:prstGeom>
        </p:spPr>
        <p:txBody>
          <a:bodyPr>
            <a:normAutofit/>
          </a:bodyPr>
          <a:lstStyle>
            <a:lvl1pPr marL="0" indent="0">
              <a:buNone/>
              <a:defRPr sz="1467">
                <a:solidFill>
                  <a:schemeClr val="bg1"/>
                </a:solidFill>
              </a:defRPr>
            </a:lvl1pPr>
          </a:lstStyle>
          <a:p>
            <a:pPr lvl="0"/>
            <a:r>
              <a:rPr lang="en-GB"/>
              <a:t>Click to edit text</a:t>
            </a:r>
          </a:p>
        </p:txBody>
      </p:sp>
      <p:sp>
        <p:nvSpPr>
          <p:cNvPr id="5" name="TextBox 4">
            <a:extLst>
              <a:ext uri="{FF2B5EF4-FFF2-40B4-BE49-F238E27FC236}">
                <a16:creationId xmlns:a16="http://schemas.microsoft.com/office/drawing/2014/main" id="{F263C0FB-656C-A8EF-97F0-F5275A93836A}"/>
              </a:ext>
            </a:extLst>
          </p:cNvPr>
          <p:cNvSpPr txBox="1"/>
          <p:nvPr userDrawn="1"/>
        </p:nvSpPr>
        <p:spPr>
          <a:xfrm>
            <a:off x="2605224" y="4239680"/>
            <a:ext cx="6288385" cy="1133195"/>
          </a:xfrm>
          <a:prstGeom prst="rect">
            <a:avLst/>
          </a:prstGeom>
          <a:noFill/>
        </p:spPr>
        <p:txBody>
          <a:bodyPr wrap="square" lIns="0" tIns="0" rIns="0" bIns="0" rtlCol="0">
            <a:spAutoFit/>
          </a:bodyPr>
          <a:lstStyle/>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a:t>
            </a:r>
          </a:p>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e JU receives support from the European Union’s Horizon Europe research and innovation programme and COCIR, EFPIA, Europa Bío, MedTech Europe, and Vaccines Europe and Instem Scientific Limited.</a:t>
            </a:r>
          </a:p>
          <a:p>
            <a:pPr>
              <a:lnSpc>
                <a:spcPts val="1467"/>
              </a:lnSpc>
            </a:pPr>
            <a:r>
              <a:rPr lang="en-GB" sz="800" kern="800" cap="none" baseline="0">
                <a:solidFill>
                  <a:schemeClr val="bg1"/>
                </a:solidFill>
                <a:effectLst/>
                <a:latin typeface="+mn-lt"/>
                <a:ea typeface="Times New Roman" panose="02020603050405020304" pitchFamily="18" charset="0"/>
                <a:cs typeface="Archivo Regular (Body)" pitchFamily="2" charset="77"/>
              </a:rPr>
              <a:t>Funded by the European Union, the private members, and those contributing partners of the IHI JU. Views and opinions expressed are however those of the author(s) only and do not necessarily reflect those of the aforementioned parties. Neither of the aforementioned parties can be held responsible for them.</a:t>
            </a:r>
            <a:endParaRPr lang="en-AD" sz="800" kern="800" cap="none" baseline="0">
              <a:solidFill>
                <a:schemeClr val="bg1"/>
              </a:solidFill>
              <a:effectLst/>
              <a:latin typeface="+mn-lt"/>
              <a:ea typeface="Times New Roman" panose="02020603050405020304" pitchFamily="18" charset="0"/>
              <a:cs typeface="Archivo Regular (Body)" pitchFamily="2" charset="77"/>
            </a:endParaRPr>
          </a:p>
        </p:txBody>
      </p:sp>
      <p:sp>
        <p:nvSpPr>
          <p:cNvPr id="29" name="Title 28">
            <a:extLst>
              <a:ext uri="{FF2B5EF4-FFF2-40B4-BE49-F238E27FC236}">
                <a16:creationId xmlns:a16="http://schemas.microsoft.com/office/drawing/2014/main" id="{8D5677C5-D224-6593-B747-8719A5320EF2}"/>
              </a:ext>
            </a:extLst>
          </p:cNvPr>
          <p:cNvSpPr>
            <a:spLocks noGrp="1"/>
          </p:cNvSpPr>
          <p:nvPr>
            <p:ph type="title" hasCustomPrompt="1"/>
          </p:nvPr>
        </p:nvSpPr>
        <p:spPr>
          <a:xfrm>
            <a:off x="2605222" y="831126"/>
            <a:ext cx="6259769" cy="647657"/>
          </a:xfrm>
        </p:spPr>
        <p:txBody>
          <a:bodyPr anchor="t" anchorCtr="0">
            <a:normAutofit/>
          </a:bodyPr>
          <a:lstStyle>
            <a:lvl1pPr>
              <a:defRPr sz="4800">
                <a:solidFill>
                  <a:schemeClr val="bg1"/>
                </a:solidFill>
              </a:defRPr>
            </a:lvl1pPr>
          </a:lstStyle>
          <a:p>
            <a:r>
              <a:rPr lang="en-GB"/>
              <a:t>Click to edit title</a:t>
            </a:r>
            <a:endParaRPr lang="en-AD"/>
          </a:p>
        </p:txBody>
      </p:sp>
      <p:cxnSp>
        <p:nvCxnSpPr>
          <p:cNvPr id="32" name="Straight Connector 31">
            <a:extLst>
              <a:ext uri="{FF2B5EF4-FFF2-40B4-BE49-F238E27FC236}">
                <a16:creationId xmlns:a16="http://schemas.microsoft.com/office/drawing/2014/main" id="{8FBD51AA-D171-D8CA-9CEF-F51DCE073507}"/>
              </a:ext>
            </a:extLst>
          </p:cNvPr>
          <p:cNvCxnSpPr>
            <a:cxnSpLocks/>
          </p:cNvCxnSpPr>
          <p:nvPr userDrawn="1"/>
        </p:nvCxnSpPr>
        <p:spPr>
          <a:xfrm>
            <a:off x="2295397" y="697779"/>
            <a:ext cx="0" cy="54527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78649EE-CFD7-203A-4205-1299BEEF098E}"/>
              </a:ext>
            </a:extLst>
          </p:cNvPr>
          <p:cNvGrpSpPr/>
          <p:nvPr userDrawn="1"/>
        </p:nvGrpSpPr>
        <p:grpSpPr>
          <a:xfrm>
            <a:off x="821449" y="767311"/>
            <a:ext cx="1085908" cy="821904"/>
            <a:chOff x="1001339" y="887094"/>
            <a:chExt cx="814431" cy="616428"/>
          </a:xfrm>
          <a:solidFill>
            <a:schemeClr val="bg1"/>
          </a:solidFill>
        </p:grpSpPr>
        <p:sp>
          <p:nvSpPr>
            <p:cNvPr id="3" name="Freeform 2">
              <a:extLst>
                <a:ext uri="{FF2B5EF4-FFF2-40B4-BE49-F238E27FC236}">
                  <a16:creationId xmlns:a16="http://schemas.microsoft.com/office/drawing/2014/main" id="{89B5577D-12B5-4564-5C82-8A08CC82ACD3}"/>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E11DEB67-151C-2F2E-6D87-67FFD9EEBAF8}"/>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chemeClr val="tx2"/>
            </a:solidFill>
            <a:ln w="0" cap="flat">
              <a:noFill/>
              <a:prstDash val="solid"/>
              <a:miter/>
            </a:ln>
          </p:spPr>
          <p:txBody>
            <a:bodyPr rtlCol="0" anchor="ctr"/>
            <a:lstStyle/>
            <a:p>
              <a:endParaRPr lang="en-AD" sz="2400"/>
            </a:p>
          </p:txBody>
        </p:sp>
        <p:sp>
          <p:nvSpPr>
            <p:cNvPr id="8" name="Freeform 7">
              <a:extLst>
                <a:ext uri="{FF2B5EF4-FFF2-40B4-BE49-F238E27FC236}">
                  <a16:creationId xmlns:a16="http://schemas.microsoft.com/office/drawing/2014/main" id="{98263C2C-01E9-55AF-66FB-A0974C5A64BA}"/>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grpSp>
        <p:nvGrpSpPr>
          <p:cNvPr id="9" name="Group 8">
            <a:extLst>
              <a:ext uri="{FF2B5EF4-FFF2-40B4-BE49-F238E27FC236}">
                <a16:creationId xmlns:a16="http://schemas.microsoft.com/office/drawing/2014/main" id="{BD0405E7-A95A-7F80-2BE2-F8CBA522594F}"/>
              </a:ext>
            </a:extLst>
          </p:cNvPr>
          <p:cNvGrpSpPr/>
          <p:nvPr userDrawn="1"/>
        </p:nvGrpSpPr>
        <p:grpSpPr>
          <a:xfrm>
            <a:off x="4147816" y="3650978"/>
            <a:ext cx="1948185" cy="393699"/>
            <a:chOff x="5361094" y="4708016"/>
            <a:chExt cx="788075" cy="159258"/>
          </a:xfrm>
        </p:grpSpPr>
        <p:sp>
          <p:nvSpPr>
            <p:cNvPr id="10" name="Freeform 9">
              <a:extLst>
                <a:ext uri="{FF2B5EF4-FFF2-40B4-BE49-F238E27FC236}">
                  <a16:creationId xmlns:a16="http://schemas.microsoft.com/office/drawing/2014/main" id="{44B9A714-6576-A44A-523B-400F28817668}"/>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D83CC2AB-55F9-4D20-07D0-AACE771AB9D2}"/>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BD7376CC-90E2-8E16-59A1-F238C0C85812}"/>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FC280F38-13F3-EDB9-F905-AFA59D725E93}"/>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14" name="Freeform 13">
              <a:extLst>
                <a:ext uri="{FF2B5EF4-FFF2-40B4-BE49-F238E27FC236}">
                  <a16:creationId xmlns:a16="http://schemas.microsoft.com/office/drawing/2014/main" id="{A21E4AC2-4E1A-8500-05C2-0C221A5CA573}"/>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16" name="Freeform 15">
              <a:extLst>
                <a:ext uri="{FF2B5EF4-FFF2-40B4-BE49-F238E27FC236}">
                  <a16:creationId xmlns:a16="http://schemas.microsoft.com/office/drawing/2014/main" id="{15098D30-395C-9CC3-B494-7124AD7B922F}"/>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17" name="Freeform 16">
              <a:extLst>
                <a:ext uri="{FF2B5EF4-FFF2-40B4-BE49-F238E27FC236}">
                  <a16:creationId xmlns:a16="http://schemas.microsoft.com/office/drawing/2014/main" id="{CE46CFB2-784D-EF94-DDA9-20E79810061F}"/>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18" name="Freeform 17">
              <a:extLst>
                <a:ext uri="{FF2B5EF4-FFF2-40B4-BE49-F238E27FC236}">
                  <a16:creationId xmlns:a16="http://schemas.microsoft.com/office/drawing/2014/main" id="{C1842E2D-85E6-6422-6C46-9A9C51F7AA6C}"/>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19" name="Freeform 18">
              <a:extLst>
                <a:ext uri="{FF2B5EF4-FFF2-40B4-BE49-F238E27FC236}">
                  <a16:creationId xmlns:a16="http://schemas.microsoft.com/office/drawing/2014/main" id="{A6956361-CD0A-1E4C-C0F3-50356F4C5D4C}"/>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20" name="Freeform 19">
              <a:extLst>
                <a:ext uri="{FF2B5EF4-FFF2-40B4-BE49-F238E27FC236}">
                  <a16:creationId xmlns:a16="http://schemas.microsoft.com/office/drawing/2014/main" id="{E85108C2-FBE9-3A08-11C5-577A13443871}"/>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21" name="Freeform 20">
              <a:extLst>
                <a:ext uri="{FF2B5EF4-FFF2-40B4-BE49-F238E27FC236}">
                  <a16:creationId xmlns:a16="http://schemas.microsoft.com/office/drawing/2014/main" id="{A2A15B75-3D23-2D40-DD9C-662D5E3CAF8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22" name="Freeform 21">
              <a:extLst>
                <a:ext uri="{FF2B5EF4-FFF2-40B4-BE49-F238E27FC236}">
                  <a16:creationId xmlns:a16="http://schemas.microsoft.com/office/drawing/2014/main" id="{8DEBF081-F558-6DB9-2C61-23873EB6CFBA}"/>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23" name="Freeform 22">
              <a:extLst>
                <a:ext uri="{FF2B5EF4-FFF2-40B4-BE49-F238E27FC236}">
                  <a16:creationId xmlns:a16="http://schemas.microsoft.com/office/drawing/2014/main" id="{D5AAAA85-AD85-E6AD-F856-A57231C9DCE5}"/>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24" name="Freeform 23">
              <a:extLst>
                <a:ext uri="{FF2B5EF4-FFF2-40B4-BE49-F238E27FC236}">
                  <a16:creationId xmlns:a16="http://schemas.microsoft.com/office/drawing/2014/main" id="{4B99427C-DA39-B9AB-E6D5-6C4ACF47A6E3}"/>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25" name="Freeform 24">
              <a:extLst>
                <a:ext uri="{FF2B5EF4-FFF2-40B4-BE49-F238E27FC236}">
                  <a16:creationId xmlns:a16="http://schemas.microsoft.com/office/drawing/2014/main" id="{DAF34E0C-D0DB-999F-5F63-A7F7C87D3C9A}"/>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26" name="Freeform 25">
              <a:extLst>
                <a:ext uri="{FF2B5EF4-FFF2-40B4-BE49-F238E27FC236}">
                  <a16:creationId xmlns:a16="http://schemas.microsoft.com/office/drawing/2014/main" id="{5036C387-5461-D58C-C49B-0218AE03D639}"/>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27" name="Freeform 26">
              <a:extLst>
                <a:ext uri="{FF2B5EF4-FFF2-40B4-BE49-F238E27FC236}">
                  <a16:creationId xmlns:a16="http://schemas.microsoft.com/office/drawing/2014/main" id="{4396F606-999C-B861-BE54-FE076EC6A31F}"/>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3F85E44E-FE28-15ED-0B68-B9EFAD2D392B}"/>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5F8C4A9A-A578-05AA-EA81-68407CB3E8CE}"/>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33" name="Freeform 32">
              <a:extLst>
                <a:ext uri="{FF2B5EF4-FFF2-40B4-BE49-F238E27FC236}">
                  <a16:creationId xmlns:a16="http://schemas.microsoft.com/office/drawing/2014/main" id="{530812FF-6123-FEB8-7A2F-875AF47E78EB}"/>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34" name="Freeform 33">
              <a:extLst>
                <a:ext uri="{FF2B5EF4-FFF2-40B4-BE49-F238E27FC236}">
                  <a16:creationId xmlns:a16="http://schemas.microsoft.com/office/drawing/2014/main" id="{5D9032EE-18FC-A497-8F07-DEB90F4A1E20}"/>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35" name="Freeform 34">
              <a:extLst>
                <a:ext uri="{FF2B5EF4-FFF2-40B4-BE49-F238E27FC236}">
                  <a16:creationId xmlns:a16="http://schemas.microsoft.com/office/drawing/2014/main" id="{8F8C57E5-DBC1-38D0-EEA4-F4F8435DD6E9}"/>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36" name="Freeform 35">
              <a:extLst>
                <a:ext uri="{FF2B5EF4-FFF2-40B4-BE49-F238E27FC236}">
                  <a16:creationId xmlns:a16="http://schemas.microsoft.com/office/drawing/2014/main" id="{B923FA0F-A8BB-5DEB-D12F-83D4DBDDBD45}"/>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37" name="Freeform 36">
              <a:extLst>
                <a:ext uri="{FF2B5EF4-FFF2-40B4-BE49-F238E27FC236}">
                  <a16:creationId xmlns:a16="http://schemas.microsoft.com/office/drawing/2014/main" id="{7158FDFA-C2BB-E108-F99D-FDBC8C7568D7}"/>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38" name="Freeform 37">
              <a:extLst>
                <a:ext uri="{FF2B5EF4-FFF2-40B4-BE49-F238E27FC236}">
                  <a16:creationId xmlns:a16="http://schemas.microsoft.com/office/drawing/2014/main" id="{A2381784-A24C-0F18-37DC-726810B4DD7E}"/>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39" name="Freeform 38">
              <a:extLst>
                <a:ext uri="{FF2B5EF4-FFF2-40B4-BE49-F238E27FC236}">
                  <a16:creationId xmlns:a16="http://schemas.microsoft.com/office/drawing/2014/main" id="{E32D0BAC-3315-8AD4-964D-8C7B3D670C64}"/>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0" name="Freeform 39">
              <a:extLst>
                <a:ext uri="{FF2B5EF4-FFF2-40B4-BE49-F238E27FC236}">
                  <a16:creationId xmlns:a16="http://schemas.microsoft.com/office/drawing/2014/main" id="{84128A8D-E923-8673-B3E1-4BBE600B2A40}"/>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1" name="Freeform 40">
              <a:extLst>
                <a:ext uri="{FF2B5EF4-FFF2-40B4-BE49-F238E27FC236}">
                  <a16:creationId xmlns:a16="http://schemas.microsoft.com/office/drawing/2014/main" id="{806300D1-54CD-6B43-5A00-483836AD101C}"/>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sp>
        <p:nvSpPr>
          <p:cNvPr id="42" name="Rounded Rectangle 41">
            <a:hlinkClick r:id="rId4"/>
            <a:extLst>
              <a:ext uri="{FF2B5EF4-FFF2-40B4-BE49-F238E27FC236}">
                <a16:creationId xmlns:a16="http://schemas.microsoft.com/office/drawing/2014/main" id="{8C801818-E483-AE9F-DB3E-0668766C8F47}"/>
              </a:ext>
            </a:extLst>
          </p:cNvPr>
          <p:cNvSpPr/>
          <p:nvPr userDrawn="1"/>
        </p:nvSpPr>
        <p:spPr>
          <a:xfrm>
            <a:off x="2605223" y="2907907"/>
            <a:ext cx="1708363" cy="447675"/>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D" sz="2400">
                <a:latin typeface="+mj-lt"/>
              </a:rPr>
              <a:t>vict3r.eu</a:t>
            </a:r>
          </a:p>
        </p:txBody>
      </p:sp>
      <p:pic>
        <p:nvPicPr>
          <p:cNvPr id="43" name="Graphic 42">
            <a:hlinkClick r:id="rId5"/>
            <a:extLst>
              <a:ext uri="{FF2B5EF4-FFF2-40B4-BE49-F238E27FC236}">
                <a16:creationId xmlns:a16="http://schemas.microsoft.com/office/drawing/2014/main" id="{8FBE50C1-1F10-13BB-F92F-87CE59083BB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21147" y="2905212"/>
            <a:ext cx="450371" cy="450371"/>
          </a:xfrm>
          <a:prstGeom prst="rect">
            <a:avLst/>
          </a:prstGeom>
        </p:spPr>
      </p:pic>
      <p:grpSp>
        <p:nvGrpSpPr>
          <p:cNvPr id="4" name="Group 3">
            <a:extLst>
              <a:ext uri="{FF2B5EF4-FFF2-40B4-BE49-F238E27FC236}">
                <a16:creationId xmlns:a16="http://schemas.microsoft.com/office/drawing/2014/main" id="{1765F451-F106-D4A7-4F16-9E70EA6B09E4}"/>
              </a:ext>
            </a:extLst>
          </p:cNvPr>
          <p:cNvGrpSpPr/>
          <p:nvPr userDrawn="1"/>
        </p:nvGrpSpPr>
        <p:grpSpPr>
          <a:xfrm>
            <a:off x="2635519" y="3667133"/>
            <a:ext cx="1212265" cy="349368"/>
            <a:chOff x="4623944" y="4701540"/>
            <a:chExt cx="569348" cy="164083"/>
          </a:xfrm>
        </p:grpSpPr>
        <p:sp>
          <p:nvSpPr>
            <p:cNvPr id="6" name="Freeform 5">
              <a:extLst>
                <a:ext uri="{FF2B5EF4-FFF2-40B4-BE49-F238E27FC236}">
                  <a16:creationId xmlns:a16="http://schemas.microsoft.com/office/drawing/2014/main" id="{0C99EB82-D1FB-E513-E6B9-D36BCE981521}"/>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E7F100C4-BA11-5A58-3A58-9849154D70C9}"/>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4" name="Freeform 43">
              <a:extLst>
                <a:ext uri="{FF2B5EF4-FFF2-40B4-BE49-F238E27FC236}">
                  <a16:creationId xmlns:a16="http://schemas.microsoft.com/office/drawing/2014/main" id="{BA61CF18-7493-8E96-CF9A-96A7E0B3C752}"/>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6" name="Freeform 45">
              <a:extLst>
                <a:ext uri="{FF2B5EF4-FFF2-40B4-BE49-F238E27FC236}">
                  <a16:creationId xmlns:a16="http://schemas.microsoft.com/office/drawing/2014/main" id="{DD58B830-E8AA-A0DA-8D52-ABC96DCD5B24}"/>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7" name="Freeform 46">
              <a:extLst>
                <a:ext uri="{FF2B5EF4-FFF2-40B4-BE49-F238E27FC236}">
                  <a16:creationId xmlns:a16="http://schemas.microsoft.com/office/drawing/2014/main" id="{1E253AF6-C2F4-A732-A648-CB7290BAFD84}"/>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8" name="Freeform 47">
              <a:extLst>
                <a:ext uri="{FF2B5EF4-FFF2-40B4-BE49-F238E27FC236}">
                  <a16:creationId xmlns:a16="http://schemas.microsoft.com/office/drawing/2014/main" id="{C446775F-0899-25FF-010B-04009A03B365}"/>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9" name="Freeform 48">
              <a:extLst>
                <a:ext uri="{FF2B5EF4-FFF2-40B4-BE49-F238E27FC236}">
                  <a16:creationId xmlns:a16="http://schemas.microsoft.com/office/drawing/2014/main" id="{65BCAE4E-CA04-A518-35CD-302BFE989269}"/>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0" name="Freeform 49">
              <a:extLst>
                <a:ext uri="{FF2B5EF4-FFF2-40B4-BE49-F238E27FC236}">
                  <a16:creationId xmlns:a16="http://schemas.microsoft.com/office/drawing/2014/main" id="{A9CE3B17-36E3-6D8F-16CF-3C1E49FD93F5}"/>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51" name="Freeform 50">
              <a:extLst>
                <a:ext uri="{FF2B5EF4-FFF2-40B4-BE49-F238E27FC236}">
                  <a16:creationId xmlns:a16="http://schemas.microsoft.com/office/drawing/2014/main" id="{1947C458-3EE4-0FB4-E1F1-C8FA1B7C753A}"/>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52" name="Freeform 51">
              <a:extLst>
                <a:ext uri="{FF2B5EF4-FFF2-40B4-BE49-F238E27FC236}">
                  <a16:creationId xmlns:a16="http://schemas.microsoft.com/office/drawing/2014/main" id="{D660F156-8113-0529-CB4D-783E366440C1}"/>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53" name="Freeform 52">
              <a:extLst>
                <a:ext uri="{FF2B5EF4-FFF2-40B4-BE49-F238E27FC236}">
                  <a16:creationId xmlns:a16="http://schemas.microsoft.com/office/drawing/2014/main" id="{1D3BAE90-AAAE-97DB-D009-E86DEEDCFDB8}"/>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4" name="Freeform 53">
              <a:extLst>
                <a:ext uri="{FF2B5EF4-FFF2-40B4-BE49-F238E27FC236}">
                  <a16:creationId xmlns:a16="http://schemas.microsoft.com/office/drawing/2014/main" id="{133704ED-0B62-72B4-5E7D-28E5C142842F}"/>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55" name="Freeform 54">
              <a:extLst>
                <a:ext uri="{FF2B5EF4-FFF2-40B4-BE49-F238E27FC236}">
                  <a16:creationId xmlns:a16="http://schemas.microsoft.com/office/drawing/2014/main" id="{9BB32066-2BFA-2345-44F5-143A2A046A1C}"/>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56" name="Freeform 55">
              <a:extLst>
                <a:ext uri="{FF2B5EF4-FFF2-40B4-BE49-F238E27FC236}">
                  <a16:creationId xmlns:a16="http://schemas.microsoft.com/office/drawing/2014/main" id="{F48B236B-5E1F-66DD-2A1F-4736323CC57B}"/>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57" name="Freeform 56">
              <a:extLst>
                <a:ext uri="{FF2B5EF4-FFF2-40B4-BE49-F238E27FC236}">
                  <a16:creationId xmlns:a16="http://schemas.microsoft.com/office/drawing/2014/main" id="{CE27DC6D-91A1-A789-C871-81DC4755665A}"/>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8" name="Freeform 57">
              <a:extLst>
                <a:ext uri="{FF2B5EF4-FFF2-40B4-BE49-F238E27FC236}">
                  <a16:creationId xmlns:a16="http://schemas.microsoft.com/office/drawing/2014/main" id="{21953200-4705-BE48-39AA-2A212B04765C}"/>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9" name="Freeform 58">
              <a:extLst>
                <a:ext uri="{FF2B5EF4-FFF2-40B4-BE49-F238E27FC236}">
                  <a16:creationId xmlns:a16="http://schemas.microsoft.com/office/drawing/2014/main" id="{ED4A5A14-CC03-B767-275D-17A884DDB7F3}"/>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0" name="Freeform 59">
              <a:extLst>
                <a:ext uri="{FF2B5EF4-FFF2-40B4-BE49-F238E27FC236}">
                  <a16:creationId xmlns:a16="http://schemas.microsoft.com/office/drawing/2014/main" id="{9D1370A1-62C2-4026-0BA1-D0D7372B0F4C}"/>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61" name="Freeform 60">
              <a:extLst>
                <a:ext uri="{FF2B5EF4-FFF2-40B4-BE49-F238E27FC236}">
                  <a16:creationId xmlns:a16="http://schemas.microsoft.com/office/drawing/2014/main" id="{B16F7522-3216-DA10-4718-060EC5D68D7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62" name="Freeform 61">
              <a:extLst>
                <a:ext uri="{FF2B5EF4-FFF2-40B4-BE49-F238E27FC236}">
                  <a16:creationId xmlns:a16="http://schemas.microsoft.com/office/drawing/2014/main" id="{5316F852-93D2-FCD4-18C6-BF43AF43BB20}"/>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3" name="Freeform 62">
              <a:extLst>
                <a:ext uri="{FF2B5EF4-FFF2-40B4-BE49-F238E27FC236}">
                  <a16:creationId xmlns:a16="http://schemas.microsoft.com/office/drawing/2014/main" id="{9FDE802C-C9DF-A05C-1C4F-D32AA7BAE330}"/>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64" name="Freeform 63">
              <a:extLst>
                <a:ext uri="{FF2B5EF4-FFF2-40B4-BE49-F238E27FC236}">
                  <a16:creationId xmlns:a16="http://schemas.microsoft.com/office/drawing/2014/main" id="{C0E24F27-1727-2B62-5E18-61B615C727EB}"/>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65" name="Freeform 64">
              <a:extLst>
                <a:ext uri="{FF2B5EF4-FFF2-40B4-BE49-F238E27FC236}">
                  <a16:creationId xmlns:a16="http://schemas.microsoft.com/office/drawing/2014/main" id="{B790772E-C457-3AAB-781F-938CDE2011C3}"/>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6" name="Freeform 65">
              <a:extLst>
                <a:ext uri="{FF2B5EF4-FFF2-40B4-BE49-F238E27FC236}">
                  <a16:creationId xmlns:a16="http://schemas.microsoft.com/office/drawing/2014/main" id="{8E1FF16D-FB7C-055B-810F-9F0EF42169B9}"/>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7" name="Freeform 66">
              <a:extLst>
                <a:ext uri="{FF2B5EF4-FFF2-40B4-BE49-F238E27FC236}">
                  <a16:creationId xmlns:a16="http://schemas.microsoft.com/office/drawing/2014/main" id="{949ABA7A-ACED-840C-E9D6-8CDF089B0585}"/>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68" name="Freeform 67">
              <a:extLst>
                <a:ext uri="{FF2B5EF4-FFF2-40B4-BE49-F238E27FC236}">
                  <a16:creationId xmlns:a16="http://schemas.microsoft.com/office/drawing/2014/main" id="{587D927B-4143-175D-1958-99783B49894F}"/>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69" name="Freeform 68">
              <a:extLst>
                <a:ext uri="{FF2B5EF4-FFF2-40B4-BE49-F238E27FC236}">
                  <a16:creationId xmlns:a16="http://schemas.microsoft.com/office/drawing/2014/main" id="{6E05909D-F84D-6C6D-0F4A-431661905EAD}"/>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0" name="Freeform 69">
              <a:extLst>
                <a:ext uri="{FF2B5EF4-FFF2-40B4-BE49-F238E27FC236}">
                  <a16:creationId xmlns:a16="http://schemas.microsoft.com/office/drawing/2014/main" id="{1D2C3A23-F710-9243-E868-EFA0A0BD68A9}"/>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1" name="Freeform 70">
              <a:extLst>
                <a:ext uri="{FF2B5EF4-FFF2-40B4-BE49-F238E27FC236}">
                  <a16:creationId xmlns:a16="http://schemas.microsoft.com/office/drawing/2014/main" id="{ECDDA8AE-C3AB-DFCD-AE30-B4C446B702F2}"/>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2" name="Freeform 71">
              <a:extLst>
                <a:ext uri="{FF2B5EF4-FFF2-40B4-BE49-F238E27FC236}">
                  <a16:creationId xmlns:a16="http://schemas.microsoft.com/office/drawing/2014/main" id="{AA52B2D5-440B-51F4-6131-850AA22DBD91}"/>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74" name="Group 73">
            <a:extLst>
              <a:ext uri="{FF2B5EF4-FFF2-40B4-BE49-F238E27FC236}">
                <a16:creationId xmlns:a16="http://schemas.microsoft.com/office/drawing/2014/main" id="{20C2D567-121F-8CEA-DE07-C817307B95E7}"/>
              </a:ext>
            </a:extLst>
          </p:cNvPr>
          <p:cNvGrpSpPr/>
          <p:nvPr userDrawn="1"/>
        </p:nvGrpSpPr>
        <p:grpSpPr>
          <a:xfrm>
            <a:off x="3531023" y="5585267"/>
            <a:ext cx="407784" cy="240567"/>
            <a:chOff x="962128" y="4702047"/>
            <a:chExt cx="260485" cy="153670"/>
          </a:xfrm>
        </p:grpSpPr>
        <p:sp>
          <p:nvSpPr>
            <p:cNvPr id="75" name="Freeform 74">
              <a:extLst>
                <a:ext uri="{FF2B5EF4-FFF2-40B4-BE49-F238E27FC236}">
                  <a16:creationId xmlns:a16="http://schemas.microsoft.com/office/drawing/2014/main" id="{DAC12C79-31E6-41BB-E914-B3808E35639E}"/>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76" name="Freeform 75">
              <a:extLst>
                <a:ext uri="{FF2B5EF4-FFF2-40B4-BE49-F238E27FC236}">
                  <a16:creationId xmlns:a16="http://schemas.microsoft.com/office/drawing/2014/main" id="{7E77DF5E-14A9-C0C7-42CC-9CB8C3135E53}"/>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77" name="Freeform 76">
              <a:extLst>
                <a:ext uri="{FF2B5EF4-FFF2-40B4-BE49-F238E27FC236}">
                  <a16:creationId xmlns:a16="http://schemas.microsoft.com/office/drawing/2014/main" id="{9CCCF5BB-0116-490A-0A31-8CCC4A6CA5A4}"/>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78" name="Freeform 77">
              <a:extLst>
                <a:ext uri="{FF2B5EF4-FFF2-40B4-BE49-F238E27FC236}">
                  <a16:creationId xmlns:a16="http://schemas.microsoft.com/office/drawing/2014/main" id="{67C83991-6696-C0D1-2652-3ED10C261D3A}"/>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79" name="Freeform 78">
              <a:extLst>
                <a:ext uri="{FF2B5EF4-FFF2-40B4-BE49-F238E27FC236}">
                  <a16:creationId xmlns:a16="http://schemas.microsoft.com/office/drawing/2014/main" id="{C00AD8DB-3083-976C-CE52-95A6C18548E3}"/>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80" name="Freeform 79">
              <a:extLst>
                <a:ext uri="{FF2B5EF4-FFF2-40B4-BE49-F238E27FC236}">
                  <a16:creationId xmlns:a16="http://schemas.microsoft.com/office/drawing/2014/main" id="{8FCECD21-2559-A41C-5A0C-228AEC997D2B}"/>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81" name="Graphic 3">
            <a:extLst>
              <a:ext uri="{FF2B5EF4-FFF2-40B4-BE49-F238E27FC236}">
                <a16:creationId xmlns:a16="http://schemas.microsoft.com/office/drawing/2014/main" id="{87365E47-031F-C34F-BE4B-9B17D41D9EBE}"/>
              </a:ext>
            </a:extLst>
          </p:cNvPr>
          <p:cNvGrpSpPr/>
          <p:nvPr userDrawn="1"/>
        </p:nvGrpSpPr>
        <p:grpSpPr>
          <a:xfrm>
            <a:off x="6491763" y="5613585"/>
            <a:ext cx="1226539" cy="195747"/>
            <a:chOff x="2968984" y="4720136"/>
            <a:chExt cx="783492" cy="125040"/>
          </a:xfrm>
          <a:solidFill>
            <a:srgbClr val="FFFFFF"/>
          </a:solidFill>
        </p:grpSpPr>
        <p:sp>
          <p:nvSpPr>
            <p:cNvPr id="82" name="Freeform 81">
              <a:extLst>
                <a:ext uri="{FF2B5EF4-FFF2-40B4-BE49-F238E27FC236}">
                  <a16:creationId xmlns:a16="http://schemas.microsoft.com/office/drawing/2014/main" id="{EE62196B-61FF-E06E-3785-74D624648C58}"/>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83" name="Freeform 82">
              <a:extLst>
                <a:ext uri="{FF2B5EF4-FFF2-40B4-BE49-F238E27FC236}">
                  <a16:creationId xmlns:a16="http://schemas.microsoft.com/office/drawing/2014/main" id="{59F9CE8A-2384-59F2-E4C7-CB3C6FF2932C}"/>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84" name="Freeform 83">
              <a:extLst>
                <a:ext uri="{FF2B5EF4-FFF2-40B4-BE49-F238E27FC236}">
                  <a16:creationId xmlns:a16="http://schemas.microsoft.com/office/drawing/2014/main" id="{BC7CB9E0-9AC2-0156-3587-D90E35EC2412}"/>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85" name="Freeform 84">
              <a:extLst>
                <a:ext uri="{FF2B5EF4-FFF2-40B4-BE49-F238E27FC236}">
                  <a16:creationId xmlns:a16="http://schemas.microsoft.com/office/drawing/2014/main" id="{F21510C4-646D-99E3-A884-056865561687}"/>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86" name="Freeform 85">
              <a:extLst>
                <a:ext uri="{FF2B5EF4-FFF2-40B4-BE49-F238E27FC236}">
                  <a16:creationId xmlns:a16="http://schemas.microsoft.com/office/drawing/2014/main" id="{6EC49DD9-29AF-EB7F-A781-F89310A4F665}"/>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87" name="Freeform 86">
              <a:extLst>
                <a:ext uri="{FF2B5EF4-FFF2-40B4-BE49-F238E27FC236}">
                  <a16:creationId xmlns:a16="http://schemas.microsoft.com/office/drawing/2014/main" id="{99D15A9E-C09E-D6F1-1D73-F3E7AE52D6B0}"/>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88" name="Freeform 87">
              <a:extLst>
                <a:ext uri="{FF2B5EF4-FFF2-40B4-BE49-F238E27FC236}">
                  <a16:creationId xmlns:a16="http://schemas.microsoft.com/office/drawing/2014/main" id="{A2E47B6D-F98E-7365-F5CB-11D9DCC6280A}"/>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89" name="Freeform 88">
              <a:extLst>
                <a:ext uri="{FF2B5EF4-FFF2-40B4-BE49-F238E27FC236}">
                  <a16:creationId xmlns:a16="http://schemas.microsoft.com/office/drawing/2014/main" id="{6A5E6FA5-1C4A-4BE3-D806-40B3696BCA40}"/>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90" name="Freeform 89">
              <a:extLst>
                <a:ext uri="{FF2B5EF4-FFF2-40B4-BE49-F238E27FC236}">
                  <a16:creationId xmlns:a16="http://schemas.microsoft.com/office/drawing/2014/main" id="{EC8BF8B4-8523-3AC9-B8C7-08F431690A47}"/>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91" name="Freeform 90">
              <a:extLst>
                <a:ext uri="{FF2B5EF4-FFF2-40B4-BE49-F238E27FC236}">
                  <a16:creationId xmlns:a16="http://schemas.microsoft.com/office/drawing/2014/main" id="{444D64D6-DBE5-77CE-E610-BB6F23430D8A}"/>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92" name="Freeform 91">
              <a:extLst>
                <a:ext uri="{FF2B5EF4-FFF2-40B4-BE49-F238E27FC236}">
                  <a16:creationId xmlns:a16="http://schemas.microsoft.com/office/drawing/2014/main" id="{4621CCC3-00AE-AD38-FB0A-6DD2ADEA0423}"/>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93" name="Freeform 92">
              <a:extLst>
                <a:ext uri="{FF2B5EF4-FFF2-40B4-BE49-F238E27FC236}">
                  <a16:creationId xmlns:a16="http://schemas.microsoft.com/office/drawing/2014/main" id="{815DAC76-1EF6-981D-EFCA-674F1D038F5F}"/>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94" name="Freeform 93">
              <a:extLst>
                <a:ext uri="{FF2B5EF4-FFF2-40B4-BE49-F238E27FC236}">
                  <a16:creationId xmlns:a16="http://schemas.microsoft.com/office/drawing/2014/main" id="{3EDCFEFF-E98C-00CB-A04D-CA2DEF40C3DC}"/>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95" name="Freeform 94">
              <a:extLst>
                <a:ext uri="{FF2B5EF4-FFF2-40B4-BE49-F238E27FC236}">
                  <a16:creationId xmlns:a16="http://schemas.microsoft.com/office/drawing/2014/main" id="{E5F75A1B-80E1-CC7F-F655-787607571FB1}"/>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96" name="Freeform 95">
              <a:extLst>
                <a:ext uri="{FF2B5EF4-FFF2-40B4-BE49-F238E27FC236}">
                  <a16:creationId xmlns:a16="http://schemas.microsoft.com/office/drawing/2014/main" id="{E424345B-B85B-5EAA-98F6-B7FDA231E492}"/>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97" name="Freeform 96">
            <a:extLst>
              <a:ext uri="{FF2B5EF4-FFF2-40B4-BE49-F238E27FC236}">
                <a16:creationId xmlns:a16="http://schemas.microsoft.com/office/drawing/2014/main" id="{2E2A207F-1B82-DDEC-932D-09A2A6196CF0}"/>
              </a:ext>
            </a:extLst>
          </p:cNvPr>
          <p:cNvSpPr/>
          <p:nvPr userDrawn="1"/>
        </p:nvSpPr>
        <p:spPr>
          <a:xfrm>
            <a:off x="2632464" y="5503355"/>
            <a:ext cx="696181" cy="406179"/>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98" name="Group 97">
            <a:extLst>
              <a:ext uri="{FF2B5EF4-FFF2-40B4-BE49-F238E27FC236}">
                <a16:creationId xmlns:a16="http://schemas.microsoft.com/office/drawing/2014/main" id="{7C713503-A19C-D80F-ADB9-20EFA6324F02}"/>
              </a:ext>
            </a:extLst>
          </p:cNvPr>
          <p:cNvGrpSpPr/>
          <p:nvPr userDrawn="1"/>
        </p:nvGrpSpPr>
        <p:grpSpPr>
          <a:xfrm>
            <a:off x="4141185" y="5333649"/>
            <a:ext cx="778892" cy="535727"/>
            <a:chOff x="1390414" y="4541317"/>
            <a:chExt cx="497543" cy="342213"/>
          </a:xfrm>
        </p:grpSpPr>
        <p:sp>
          <p:nvSpPr>
            <p:cNvPr id="99" name="Freeform 98">
              <a:extLst>
                <a:ext uri="{FF2B5EF4-FFF2-40B4-BE49-F238E27FC236}">
                  <a16:creationId xmlns:a16="http://schemas.microsoft.com/office/drawing/2014/main" id="{899BBCC0-285C-7C13-D781-3506E403FE08}"/>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100" name="Freeform 99">
              <a:extLst>
                <a:ext uri="{FF2B5EF4-FFF2-40B4-BE49-F238E27FC236}">
                  <a16:creationId xmlns:a16="http://schemas.microsoft.com/office/drawing/2014/main" id="{6DE26E78-8C17-107B-B558-775FD944D9EB}"/>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101" name="Freeform 100">
              <a:extLst>
                <a:ext uri="{FF2B5EF4-FFF2-40B4-BE49-F238E27FC236}">
                  <a16:creationId xmlns:a16="http://schemas.microsoft.com/office/drawing/2014/main" id="{B5BE26B7-1911-0A1B-0BE3-421E24708BF6}"/>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102" name="Freeform 101">
              <a:extLst>
                <a:ext uri="{FF2B5EF4-FFF2-40B4-BE49-F238E27FC236}">
                  <a16:creationId xmlns:a16="http://schemas.microsoft.com/office/drawing/2014/main" id="{F53C6938-7121-4A2F-4E27-651B585DBE2F}"/>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3" name="Freeform 102">
              <a:extLst>
                <a:ext uri="{FF2B5EF4-FFF2-40B4-BE49-F238E27FC236}">
                  <a16:creationId xmlns:a16="http://schemas.microsoft.com/office/drawing/2014/main" id="{B2E392DB-9DE5-CAB1-3DC0-6C8B80EC7C1D}"/>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104" name="Freeform 103">
              <a:extLst>
                <a:ext uri="{FF2B5EF4-FFF2-40B4-BE49-F238E27FC236}">
                  <a16:creationId xmlns:a16="http://schemas.microsoft.com/office/drawing/2014/main" id="{29AD8A69-CA6B-F82B-4B69-4D236AA9CDDB}"/>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105" name="Freeform 104">
              <a:extLst>
                <a:ext uri="{FF2B5EF4-FFF2-40B4-BE49-F238E27FC236}">
                  <a16:creationId xmlns:a16="http://schemas.microsoft.com/office/drawing/2014/main" id="{208311B9-9689-7848-5CFA-C22925EE9FCD}"/>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106" name="Freeform 105">
              <a:extLst>
                <a:ext uri="{FF2B5EF4-FFF2-40B4-BE49-F238E27FC236}">
                  <a16:creationId xmlns:a16="http://schemas.microsoft.com/office/drawing/2014/main" id="{BD3AE371-85E7-3C73-A07B-94E84CA6C091}"/>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107" name="Freeform 106">
              <a:extLst>
                <a:ext uri="{FF2B5EF4-FFF2-40B4-BE49-F238E27FC236}">
                  <a16:creationId xmlns:a16="http://schemas.microsoft.com/office/drawing/2014/main" id="{B9B35628-A13E-F149-AD51-912B58156F36}"/>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8" name="Freeform 107">
              <a:extLst>
                <a:ext uri="{FF2B5EF4-FFF2-40B4-BE49-F238E27FC236}">
                  <a16:creationId xmlns:a16="http://schemas.microsoft.com/office/drawing/2014/main" id="{C5C58166-647A-E057-8DFD-D5DDC2DF17B3}"/>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109" name="Freeform 108">
              <a:extLst>
                <a:ext uri="{FF2B5EF4-FFF2-40B4-BE49-F238E27FC236}">
                  <a16:creationId xmlns:a16="http://schemas.microsoft.com/office/drawing/2014/main" id="{992550A3-28EE-5B40-20F4-B99C4C3D7F6E}"/>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110" name="Freeform 109">
              <a:extLst>
                <a:ext uri="{FF2B5EF4-FFF2-40B4-BE49-F238E27FC236}">
                  <a16:creationId xmlns:a16="http://schemas.microsoft.com/office/drawing/2014/main" id="{D6B431AC-F629-EA96-E3C4-201DA8773E8F}"/>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111" name="Freeform 110">
              <a:extLst>
                <a:ext uri="{FF2B5EF4-FFF2-40B4-BE49-F238E27FC236}">
                  <a16:creationId xmlns:a16="http://schemas.microsoft.com/office/drawing/2014/main" id="{7C0B1D0A-4A82-4FCB-4C4C-AAD4106B3917}"/>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12" name="Freeform 111">
              <a:extLst>
                <a:ext uri="{FF2B5EF4-FFF2-40B4-BE49-F238E27FC236}">
                  <a16:creationId xmlns:a16="http://schemas.microsoft.com/office/drawing/2014/main" id="{CC5CFF29-06CF-80EA-E1B5-BB593A57E2F3}"/>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113" name="Freeform 112">
              <a:extLst>
                <a:ext uri="{FF2B5EF4-FFF2-40B4-BE49-F238E27FC236}">
                  <a16:creationId xmlns:a16="http://schemas.microsoft.com/office/drawing/2014/main" id="{59DB5B6A-0866-9F22-6E51-F639FE3FB782}"/>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14" name="Freeform 113">
              <a:extLst>
                <a:ext uri="{FF2B5EF4-FFF2-40B4-BE49-F238E27FC236}">
                  <a16:creationId xmlns:a16="http://schemas.microsoft.com/office/drawing/2014/main" id="{3FDCD468-E287-9E8E-CA79-DE1515A5ACA6}"/>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15" name="Freeform 114">
              <a:extLst>
                <a:ext uri="{FF2B5EF4-FFF2-40B4-BE49-F238E27FC236}">
                  <a16:creationId xmlns:a16="http://schemas.microsoft.com/office/drawing/2014/main" id="{0197F2E9-158E-3091-E231-D9F6A007E4DB}"/>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16" name="Freeform 115">
              <a:extLst>
                <a:ext uri="{FF2B5EF4-FFF2-40B4-BE49-F238E27FC236}">
                  <a16:creationId xmlns:a16="http://schemas.microsoft.com/office/drawing/2014/main" id="{4B0E6884-3310-7C9B-1D1C-740D225A456B}"/>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117" name="Freeform 116">
              <a:extLst>
                <a:ext uri="{FF2B5EF4-FFF2-40B4-BE49-F238E27FC236}">
                  <a16:creationId xmlns:a16="http://schemas.microsoft.com/office/drawing/2014/main" id="{252707F6-5855-6F52-38D6-12D9AAC73965}"/>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118" name="Freeform 117">
              <a:extLst>
                <a:ext uri="{FF2B5EF4-FFF2-40B4-BE49-F238E27FC236}">
                  <a16:creationId xmlns:a16="http://schemas.microsoft.com/office/drawing/2014/main" id="{ACC81139-D59D-7D34-506D-A174B24A5D2D}"/>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119" name="Freeform 118">
              <a:extLst>
                <a:ext uri="{FF2B5EF4-FFF2-40B4-BE49-F238E27FC236}">
                  <a16:creationId xmlns:a16="http://schemas.microsoft.com/office/drawing/2014/main" id="{1869EDCF-A1A5-6142-EDF9-5D2EEA767093}"/>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20" name="Freeform 119">
              <a:extLst>
                <a:ext uri="{FF2B5EF4-FFF2-40B4-BE49-F238E27FC236}">
                  <a16:creationId xmlns:a16="http://schemas.microsoft.com/office/drawing/2014/main" id="{B866164F-D42B-AEDC-5D8E-E5B34660E147}"/>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121" name="Freeform 120">
              <a:extLst>
                <a:ext uri="{FF2B5EF4-FFF2-40B4-BE49-F238E27FC236}">
                  <a16:creationId xmlns:a16="http://schemas.microsoft.com/office/drawing/2014/main" id="{F3F5849E-5D40-B929-8B8B-6E4473714E8A}"/>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122" name="Freeform 121">
              <a:extLst>
                <a:ext uri="{FF2B5EF4-FFF2-40B4-BE49-F238E27FC236}">
                  <a16:creationId xmlns:a16="http://schemas.microsoft.com/office/drawing/2014/main" id="{875FFDA4-7794-97A1-AC2F-CAF5F721BED5}"/>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23" name="Freeform 122">
              <a:extLst>
                <a:ext uri="{FF2B5EF4-FFF2-40B4-BE49-F238E27FC236}">
                  <a16:creationId xmlns:a16="http://schemas.microsoft.com/office/drawing/2014/main" id="{7D678A01-BE15-848E-F888-E871D1D8AC36}"/>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24" name="Freeform 123">
              <a:extLst>
                <a:ext uri="{FF2B5EF4-FFF2-40B4-BE49-F238E27FC236}">
                  <a16:creationId xmlns:a16="http://schemas.microsoft.com/office/drawing/2014/main" id="{6E3899DC-9C51-AB9D-17A4-C0062BA35A10}"/>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125" name="Freeform 124">
              <a:extLst>
                <a:ext uri="{FF2B5EF4-FFF2-40B4-BE49-F238E27FC236}">
                  <a16:creationId xmlns:a16="http://schemas.microsoft.com/office/drawing/2014/main" id="{38DEC20F-B70D-5EE1-D571-667DC5B78D3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126" name="Freeform 125">
              <a:extLst>
                <a:ext uri="{FF2B5EF4-FFF2-40B4-BE49-F238E27FC236}">
                  <a16:creationId xmlns:a16="http://schemas.microsoft.com/office/drawing/2014/main" id="{6E2D0706-C72B-03D7-0DF0-82F9E780074A}"/>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127" name="Freeform 126">
              <a:extLst>
                <a:ext uri="{FF2B5EF4-FFF2-40B4-BE49-F238E27FC236}">
                  <a16:creationId xmlns:a16="http://schemas.microsoft.com/office/drawing/2014/main" id="{2B1E063A-889A-C6F4-1A1A-132D097B2756}"/>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28" name="Freeform 127">
              <a:extLst>
                <a:ext uri="{FF2B5EF4-FFF2-40B4-BE49-F238E27FC236}">
                  <a16:creationId xmlns:a16="http://schemas.microsoft.com/office/drawing/2014/main" id="{942A95C6-F419-C195-1E8E-1D38A485BCB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29" name="Freeform 128">
              <a:extLst>
                <a:ext uri="{FF2B5EF4-FFF2-40B4-BE49-F238E27FC236}">
                  <a16:creationId xmlns:a16="http://schemas.microsoft.com/office/drawing/2014/main" id="{73CADDDF-92BD-DB87-7F4B-5CBD8F45E254}"/>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0" name="Freeform 129">
              <a:extLst>
                <a:ext uri="{FF2B5EF4-FFF2-40B4-BE49-F238E27FC236}">
                  <a16:creationId xmlns:a16="http://schemas.microsoft.com/office/drawing/2014/main" id="{6A247109-9F8E-6242-D859-D8DF0B939DB6}"/>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1" name="Freeform 130">
              <a:extLst>
                <a:ext uri="{FF2B5EF4-FFF2-40B4-BE49-F238E27FC236}">
                  <a16:creationId xmlns:a16="http://schemas.microsoft.com/office/drawing/2014/main" id="{FDCE460F-C759-E0F8-1A33-679AF8F951CD}"/>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132" name="Freeform 131">
              <a:extLst>
                <a:ext uri="{FF2B5EF4-FFF2-40B4-BE49-F238E27FC236}">
                  <a16:creationId xmlns:a16="http://schemas.microsoft.com/office/drawing/2014/main" id="{A90A7833-A937-9ABB-7780-F2A14713D49F}"/>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3" name="Freeform 132">
              <a:extLst>
                <a:ext uri="{FF2B5EF4-FFF2-40B4-BE49-F238E27FC236}">
                  <a16:creationId xmlns:a16="http://schemas.microsoft.com/office/drawing/2014/main" id="{8FB24485-1D09-4BD7-50CE-034C19E90444}"/>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4" name="Freeform 133">
              <a:extLst>
                <a:ext uri="{FF2B5EF4-FFF2-40B4-BE49-F238E27FC236}">
                  <a16:creationId xmlns:a16="http://schemas.microsoft.com/office/drawing/2014/main" id="{520E6473-C403-3B3A-34A3-426E9789BFBA}"/>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135" name="Freeform 134">
              <a:extLst>
                <a:ext uri="{FF2B5EF4-FFF2-40B4-BE49-F238E27FC236}">
                  <a16:creationId xmlns:a16="http://schemas.microsoft.com/office/drawing/2014/main" id="{E3F4EF59-0D1F-9CEC-18F1-D94892F70BCA}"/>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6" name="Freeform 135">
              <a:extLst>
                <a:ext uri="{FF2B5EF4-FFF2-40B4-BE49-F238E27FC236}">
                  <a16:creationId xmlns:a16="http://schemas.microsoft.com/office/drawing/2014/main" id="{C38741A1-C050-5EC4-9D6C-32051D997F94}"/>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7" name="Freeform 136">
              <a:extLst>
                <a:ext uri="{FF2B5EF4-FFF2-40B4-BE49-F238E27FC236}">
                  <a16:creationId xmlns:a16="http://schemas.microsoft.com/office/drawing/2014/main" id="{A4D560B1-77B8-6439-677A-803421B1CA4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8" name="Freeform 137">
              <a:extLst>
                <a:ext uri="{FF2B5EF4-FFF2-40B4-BE49-F238E27FC236}">
                  <a16:creationId xmlns:a16="http://schemas.microsoft.com/office/drawing/2014/main" id="{3E4649C2-0D6F-169F-23D7-581795A4B8DA}"/>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9" name="Freeform 138">
              <a:extLst>
                <a:ext uri="{FF2B5EF4-FFF2-40B4-BE49-F238E27FC236}">
                  <a16:creationId xmlns:a16="http://schemas.microsoft.com/office/drawing/2014/main" id="{70C9160D-8E77-8734-FA03-55D6A78B96B6}"/>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140" name="Freeform 139">
              <a:extLst>
                <a:ext uri="{FF2B5EF4-FFF2-40B4-BE49-F238E27FC236}">
                  <a16:creationId xmlns:a16="http://schemas.microsoft.com/office/drawing/2014/main" id="{B548623A-37DE-C94B-E475-5680F1D72A86}"/>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41" name="Freeform 140">
              <a:extLst>
                <a:ext uri="{FF2B5EF4-FFF2-40B4-BE49-F238E27FC236}">
                  <a16:creationId xmlns:a16="http://schemas.microsoft.com/office/drawing/2014/main" id="{C9618CDB-95D5-F525-9D47-95FC09242DE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2" name="Freeform 141">
              <a:extLst>
                <a:ext uri="{FF2B5EF4-FFF2-40B4-BE49-F238E27FC236}">
                  <a16:creationId xmlns:a16="http://schemas.microsoft.com/office/drawing/2014/main" id="{08D68C73-001F-A9F9-7893-B21BED37FC6D}"/>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43" name="Freeform 142">
              <a:extLst>
                <a:ext uri="{FF2B5EF4-FFF2-40B4-BE49-F238E27FC236}">
                  <a16:creationId xmlns:a16="http://schemas.microsoft.com/office/drawing/2014/main" id="{A18DE7DF-BCB9-E41A-6B46-4A4EDA377EC2}"/>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44" name="Freeform 143">
              <a:extLst>
                <a:ext uri="{FF2B5EF4-FFF2-40B4-BE49-F238E27FC236}">
                  <a16:creationId xmlns:a16="http://schemas.microsoft.com/office/drawing/2014/main" id="{29551BFA-7203-4CFC-94E1-7554E125569D}"/>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45" name="Freeform 144">
              <a:extLst>
                <a:ext uri="{FF2B5EF4-FFF2-40B4-BE49-F238E27FC236}">
                  <a16:creationId xmlns:a16="http://schemas.microsoft.com/office/drawing/2014/main" id="{5A34BFF7-C79D-A63B-5A93-F7B714826EA9}"/>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46" name="Freeform 145">
              <a:extLst>
                <a:ext uri="{FF2B5EF4-FFF2-40B4-BE49-F238E27FC236}">
                  <a16:creationId xmlns:a16="http://schemas.microsoft.com/office/drawing/2014/main" id="{518B0942-0181-341E-464D-5A852F8B5C1C}"/>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7" name="Freeform 146">
              <a:extLst>
                <a:ext uri="{FF2B5EF4-FFF2-40B4-BE49-F238E27FC236}">
                  <a16:creationId xmlns:a16="http://schemas.microsoft.com/office/drawing/2014/main" id="{A0F4A810-1619-2DDB-F336-96F732D0D907}"/>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148" name="Group 147">
            <a:extLst>
              <a:ext uri="{FF2B5EF4-FFF2-40B4-BE49-F238E27FC236}">
                <a16:creationId xmlns:a16="http://schemas.microsoft.com/office/drawing/2014/main" id="{DEEC9297-37D9-7E06-E732-4CA4EB7D2C2B}"/>
              </a:ext>
            </a:extLst>
          </p:cNvPr>
          <p:cNvGrpSpPr/>
          <p:nvPr userDrawn="1"/>
        </p:nvGrpSpPr>
        <p:grpSpPr>
          <a:xfrm>
            <a:off x="5122454" y="5618670"/>
            <a:ext cx="1166932" cy="192452"/>
            <a:chOff x="2055895" y="4723384"/>
            <a:chExt cx="745416" cy="122935"/>
          </a:xfrm>
        </p:grpSpPr>
        <p:sp>
          <p:nvSpPr>
            <p:cNvPr id="149" name="Freeform 148">
              <a:extLst>
                <a:ext uri="{FF2B5EF4-FFF2-40B4-BE49-F238E27FC236}">
                  <a16:creationId xmlns:a16="http://schemas.microsoft.com/office/drawing/2014/main" id="{FDDF0770-7BB1-6775-D3C3-B512E8AC98FD}"/>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150" name="Freeform 149">
              <a:extLst>
                <a:ext uri="{FF2B5EF4-FFF2-40B4-BE49-F238E27FC236}">
                  <a16:creationId xmlns:a16="http://schemas.microsoft.com/office/drawing/2014/main" id="{F0D48609-2DA9-725B-005E-CAAD042B4030}"/>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151" name="Freeform 150">
              <a:extLst>
                <a:ext uri="{FF2B5EF4-FFF2-40B4-BE49-F238E27FC236}">
                  <a16:creationId xmlns:a16="http://schemas.microsoft.com/office/drawing/2014/main" id="{FC2DF16F-629D-865A-7AE3-C9EEA8E8376B}"/>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152" name="Freeform 151">
              <a:extLst>
                <a:ext uri="{FF2B5EF4-FFF2-40B4-BE49-F238E27FC236}">
                  <a16:creationId xmlns:a16="http://schemas.microsoft.com/office/drawing/2014/main" id="{B541503A-7527-63F0-B1CC-E2E4EAD462D2}"/>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153" name="Freeform 152">
              <a:extLst>
                <a:ext uri="{FF2B5EF4-FFF2-40B4-BE49-F238E27FC236}">
                  <a16:creationId xmlns:a16="http://schemas.microsoft.com/office/drawing/2014/main" id="{40A30385-C7B5-7EE3-5756-5F29F6C92A86}"/>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54" name="Freeform 153">
              <a:extLst>
                <a:ext uri="{FF2B5EF4-FFF2-40B4-BE49-F238E27FC236}">
                  <a16:creationId xmlns:a16="http://schemas.microsoft.com/office/drawing/2014/main" id="{4770EF50-D2CD-D5EA-C10E-574A5F7A870F}"/>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155" name="Freeform 154">
              <a:extLst>
                <a:ext uri="{FF2B5EF4-FFF2-40B4-BE49-F238E27FC236}">
                  <a16:creationId xmlns:a16="http://schemas.microsoft.com/office/drawing/2014/main" id="{EB135527-87C8-47E4-978E-708A218562B4}"/>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156" name="Freeform 155">
              <a:extLst>
                <a:ext uri="{FF2B5EF4-FFF2-40B4-BE49-F238E27FC236}">
                  <a16:creationId xmlns:a16="http://schemas.microsoft.com/office/drawing/2014/main" id="{55779791-1BBE-BC47-C9CC-7C5386737853}"/>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157" name="Freeform 156">
              <a:extLst>
                <a:ext uri="{FF2B5EF4-FFF2-40B4-BE49-F238E27FC236}">
                  <a16:creationId xmlns:a16="http://schemas.microsoft.com/office/drawing/2014/main" id="{51804D5B-3CE1-5C92-2894-4C9C78FA9EAA}"/>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158" name="Freeform 157">
              <a:extLst>
                <a:ext uri="{FF2B5EF4-FFF2-40B4-BE49-F238E27FC236}">
                  <a16:creationId xmlns:a16="http://schemas.microsoft.com/office/drawing/2014/main" id="{685F1780-B925-4DDC-C7EF-11C184D5B0CD}"/>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159" name="Freeform 158">
              <a:extLst>
                <a:ext uri="{FF2B5EF4-FFF2-40B4-BE49-F238E27FC236}">
                  <a16:creationId xmlns:a16="http://schemas.microsoft.com/office/drawing/2014/main" id="{E3BB474B-C2F2-24B8-6EBD-65B962F15DC3}"/>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160" name="Freeform 159">
              <a:extLst>
                <a:ext uri="{FF2B5EF4-FFF2-40B4-BE49-F238E27FC236}">
                  <a16:creationId xmlns:a16="http://schemas.microsoft.com/office/drawing/2014/main" id="{29A39EF5-CE68-E3A8-C0AD-8D7258A752DA}"/>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161" name="Freeform 160">
              <a:extLst>
                <a:ext uri="{FF2B5EF4-FFF2-40B4-BE49-F238E27FC236}">
                  <a16:creationId xmlns:a16="http://schemas.microsoft.com/office/drawing/2014/main" id="{DDFFB3F6-7387-CCCC-00C6-77A889187792}"/>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62" name="Freeform 161">
              <a:extLst>
                <a:ext uri="{FF2B5EF4-FFF2-40B4-BE49-F238E27FC236}">
                  <a16:creationId xmlns:a16="http://schemas.microsoft.com/office/drawing/2014/main" id="{8DBEB748-6D5D-D79D-0FCF-C8D8C9C71A0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163" name="Freeform 162">
              <a:extLst>
                <a:ext uri="{FF2B5EF4-FFF2-40B4-BE49-F238E27FC236}">
                  <a16:creationId xmlns:a16="http://schemas.microsoft.com/office/drawing/2014/main" id="{85B92C1F-2F27-B07F-09B9-841A12AB1888}"/>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64" name="Freeform 163">
              <a:extLst>
                <a:ext uri="{FF2B5EF4-FFF2-40B4-BE49-F238E27FC236}">
                  <a16:creationId xmlns:a16="http://schemas.microsoft.com/office/drawing/2014/main" id="{F54578BF-2886-DB26-5083-46EE93F1774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65" name="Freeform 164">
              <a:extLst>
                <a:ext uri="{FF2B5EF4-FFF2-40B4-BE49-F238E27FC236}">
                  <a16:creationId xmlns:a16="http://schemas.microsoft.com/office/drawing/2014/main" id="{AAE17236-0445-E422-0914-8DBD3915FDCB}"/>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166" name="Freeform 165">
              <a:extLst>
                <a:ext uri="{FF2B5EF4-FFF2-40B4-BE49-F238E27FC236}">
                  <a16:creationId xmlns:a16="http://schemas.microsoft.com/office/drawing/2014/main" id="{706F6EEC-2067-8CE1-00D9-E005FCEB3FF6}"/>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167" name="Freeform 166">
              <a:extLst>
                <a:ext uri="{FF2B5EF4-FFF2-40B4-BE49-F238E27FC236}">
                  <a16:creationId xmlns:a16="http://schemas.microsoft.com/office/drawing/2014/main" id="{9A295F37-8D07-AE48-7E83-813345FB8C2F}"/>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68" name="Freeform 167">
              <a:extLst>
                <a:ext uri="{FF2B5EF4-FFF2-40B4-BE49-F238E27FC236}">
                  <a16:creationId xmlns:a16="http://schemas.microsoft.com/office/drawing/2014/main" id="{400E847F-E6B4-B413-466D-42568147B3AA}"/>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169" name="Freeform 168">
              <a:extLst>
                <a:ext uri="{FF2B5EF4-FFF2-40B4-BE49-F238E27FC236}">
                  <a16:creationId xmlns:a16="http://schemas.microsoft.com/office/drawing/2014/main" id="{BB031B9F-6718-B0B8-2D55-5572522626F9}"/>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170" name="Freeform 169">
              <a:extLst>
                <a:ext uri="{FF2B5EF4-FFF2-40B4-BE49-F238E27FC236}">
                  <a16:creationId xmlns:a16="http://schemas.microsoft.com/office/drawing/2014/main" id="{EABA66B8-290F-0CC7-4490-CB807E8CF4E5}"/>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171" name="Freeform 170">
              <a:extLst>
                <a:ext uri="{FF2B5EF4-FFF2-40B4-BE49-F238E27FC236}">
                  <a16:creationId xmlns:a16="http://schemas.microsoft.com/office/drawing/2014/main" id="{984826A5-23FE-6360-0361-286B628AE800}"/>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72" name="Freeform 171">
              <a:extLst>
                <a:ext uri="{FF2B5EF4-FFF2-40B4-BE49-F238E27FC236}">
                  <a16:creationId xmlns:a16="http://schemas.microsoft.com/office/drawing/2014/main" id="{1700022D-4682-615F-7213-A46C8702E8C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173" name="Freeform 172">
              <a:extLst>
                <a:ext uri="{FF2B5EF4-FFF2-40B4-BE49-F238E27FC236}">
                  <a16:creationId xmlns:a16="http://schemas.microsoft.com/office/drawing/2014/main" id="{9EED21B7-05C4-B748-2977-F6CE02EF60DC}"/>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74" name="Freeform 173">
              <a:extLst>
                <a:ext uri="{FF2B5EF4-FFF2-40B4-BE49-F238E27FC236}">
                  <a16:creationId xmlns:a16="http://schemas.microsoft.com/office/drawing/2014/main" id="{1AAF8220-3060-0E06-95B5-5A4FAD8138D7}"/>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175" name="Freeform 174">
              <a:extLst>
                <a:ext uri="{FF2B5EF4-FFF2-40B4-BE49-F238E27FC236}">
                  <a16:creationId xmlns:a16="http://schemas.microsoft.com/office/drawing/2014/main" id="{1CF28879-DA37-5FE0-5A92-6DA5D04DA468}"/>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176" name="Freeform 175">
              <a:extLst>
                <a:ext uri="{FF2B5EF4-FFF2-40B4-BE49-F238E27FC236}">
                  <a16:creationId xmlns:a16="http://schemas.microsoft.com/office/drawing/2014/main" id="{597FC06B-2FD6-3F2B-9841-C6942247F7E7}"/>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177" name="Freeform 176">
              <a:extLst>
                <a:ext uri="{FF2B5EF4-FFF2-40B4-BE49-F238E27FC236}">
                  <a16:creationId xmlns:a16="http://schemas.microsoft.com/office/drawing/2014/main" id="{15E36EEB-1903-4130-A00D-35899F9F9D5F}"/>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178" name="Freeform 177">
              <a:extLst>
                <a:ext uri="{FF2B5EF4-FFF2-40B4-BE49-F238E27FC236}">
                  <a16:creationId xmlns:a16="http://schemas.microsoft.com/office/drawing/2014/main" id="{AB4127C4-E377-3CCA-E532-B9270EA872F1}"/>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179" name="Freeform 178">
              <a:extLst>
                <a:ext uri="{FF2B5EF4-FFF2-40B4-BE49-F238E27FC236}">
                  <a16:creationId xmlns:a16="http://schemas.microsoft.com/office/drawing/2014/main" id="{C17A6CF3-FB03-82B9-6A8A-DAEC11E8730B}"/>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80" name="Freeform 179">
              <a:extLst>
                <a:ext uri="{FF2B5EF4-FFF2-40B4-BE49-F238E27FC236}">
                  <a16:creationId xmlns:a16="http://schemas.microsoft.com/office/drawing/2014/main" id="{A63D904E-ED1B-8808-94FB-1328970E7CCF}"/>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181" name="Freeform 180">
              <a:extLst>
                <a:ext uri="{FF2B5EF4-FFF2-40B4-BE49-F238E27FC236}">
                  <a16:creationId xmlns:a16="http://schemas.microsoft.com/office/drawing/2014/main" id="{6ED24B26-BE14-2FAB-D3BA-747450B5DE20}"/>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pic>
        <p:nvPicPr>
          <p:cNvPr id="232" name="Graphic 231">
            <a:extLst>
              <a:ext uri="{FF2B5EF4-FFF2-40B4-BE49-F238E27FC236}">
                <a16:creationId xmlns:a16="http://schemas.microsoft.com/office/drawing/2014/main" id="{958898F8-C171-9ADE-0DE8-7110F877F3A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13605" y="5590162"/>
            <a:ext cx="817412" cy="237313"/>
          </a:xfrm>
          <a:prstGeom prst="rect">
            <a:avLst/>
          </a:prstGeom>
        </p:spPr>
      </p:pic>
    </p:spTree>
    <p:extLst>
      <p:ext uri="{BB962C8B-B14F-4D97-AF65-F5344CB8AC3E}">
        <p14:creationId xmlns:p14="http://schemas.microsoft.com/office/powerpoint/2010/main" val="168720617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48AC2-AE3E-67A7-9A89-3A12E27024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5D39A4-D3B7-E128-5ACC-11D8AEBD5D1F}"/>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4" name="Footer Placeholder 3">
            <a:extLst>
              <a:ext uri="{FF2B5EF4-FFF2-40B4-BE49-F238E27FC236}">
                <a16:creationId xmlns:a16="http://schemas.microsoft.com/office/drawing/2014/main" id="{2E6DD7F7-062B-EDF6-B2F9-21D158EEB5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99840DE-CB0B-9CE5-E45F-C4F04541955D}"/>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38978416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7035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cSld name="1_Title, subtitle, 1 column &amp; picture left">
    <p:bg>
      <p:bgPr>
        <a:solidFill>
          <a:schemeClr val="accent6">
            <a:hueOff val="-12342858"/>
            <a:satOff val="-17948"/>
            <a:lumOff val="7647"/>
          </a:schemeClr>
        </a:solidFill>
        <a:effectLst/>
      </p:bgPr>
    </p:bg>
    <p:spTree>
      <p:nvGrpSpPr>
        <p:cNvPr id="1" name=""/>
        <p:cNvGrpSpPr/>
        <p:nvPr/>
      </p:nvGrpSpPr>
      <p:grpSpPr>
        <a:xfrm>
          <a:off x="0" y="0"/>
          <a:ext cx="0" cy="0"/>
          <a:chOff x="0" y="0"/>
          <a:chExt cx="0" cy="0"/>
        </a:xfrm>
      </p:grpSpPr>
      <p:sp>
        <p:nvSpPr>
          <p:cNvPr id="296" name="Picture Placeholder 13"/>
          <p:cNvSpPr>
            <a:spLocks noGrp="1"/>
          </p:cNvSpPr>
          <p:nvPr>
            <p:ph type="pic" idx="21"/>
          </p:nvPr>
        </p:nvSpPr>
        <p:spPr>
          <a:xfrm>
            <a:off x="-3" y="-2"/>
            <a:ext cx="4953000" cy="6854401"/>
          </a:xfrm>
          <a:prstGeom prst="rect">
            <a:avLst/>
          </a:prstGeom>
        </p:spPr>
        <p:txBody>
          <a:bodyPr lIns="91439" tIns="45719" rIns="91439" bIns="45719">
            <a:noAutofit/>
          </a:bodyPr>
          <a:lstStyle/>
          <a:p>
            <a:endParaRPr/>
          </a:p>
        </p:txBody>
      </p:sp>
      <p:sp>
        <p:nvSpPr>
          <p:cNvPr id="297" name="Click to edit title"/>
          <p:cNvSpPr txBox="1">
            <a:spLocks noGrp="1"/>
          </p:cNvSpPr>
          <p:nvPr>
            <p:ph type="title" hasCustomPrompt="1"/>
          </p:nvPr>
        </p:nvSpPr>
        <p:spPr>
          <a:xfrm>
            <a:off x="5486401" y="1454603"/>
            <a:ext cx="6220799" cy="1521819"/>
          </a:xfrm>
          <a:prstGeom prst="rect">
            <a:avLst/>
          </a:prstGeom>
        </p:spPr>
        <p:txBody>
          <a:bodyPr anchor="b"/>
          <a:lstStyle>
            <a:lvl1pPr algn="l">
              <a:defRPr sz="3200" cap="none">
                <a:solidFill>
                  <a:schemeClr val="accent1"/>
                </a:solidFill>
              </a:defRPr>
            </a:lvl1pPr>
          </a:lstStyle>
          <a:p>
            <a:r>
              <a:t>Click to edit title</a:t>
            </a:r>
          </a:p>
        </p:txBody>
      </p:sp>
      <p:sp>
        <p:nvSpPr>
          <p:cNvPr id="298" name="Slide Number"/>
          <p:cNvSpPr txBox="1">
            <a:spLocks noGrp="1"/>
          </p:cNvSpPr>
          <p:nvPr>
            <p:ph type="sldNum" sz="quarter" idx="2"/>
          </p:nvPr>
        </p:nvSpPr>
        <p:spPr>
          <a:prstGeom prst="rect">
            <a:avLst/>
          </a:prstGeom>
        </p:spPr>
        <p:txBody>
          <a:bodyPr/>
          <a:lstStyle/>
          <a:p>
            <a:fld id="{86CB4B4D-7CA3-9044-876B-883B54F8677D}" type="slidenum">
              <a:t>‹#›</a:t>
            </a:fld>
            <a:endParaRPr/>
          </a:p>
        </p:txBody>
      </p:sp>
      <p:grpSp>
        <p:nvGrpSpPr>
          <p:cNvPr id="302" name="Group 5"/>
          <p:cNvGrpSpPr/>
          <p:nvPr/>
        </p:nvGrpSpPr>
        <p:grpSpPr>
          <a:xfrm>
            <a:off x="10607326" y="307201"/>
            <a:ext cx="1099876" cy="821905"/>
            <a:chOff x="0" y="0"/>
            <a:chExt cx="824906" cy="616428"/>
          </a:xfrm>
        </p:grpSpPr>
        <p:sp>
          <p:nvSpPr>
            <p:cNvPr id="299" name="Freeform 7"/>
            <p:cNvSpPr/>
            <p:nvPr/>
          </p:nvSpPr>
          <p:spPr>
            <a:xfrm rot="21228600">
              <a:off x="10474" y="238778"/>
              <a:ext cx="155579" cy="202693"/>
            </a:xfrm>
            <a:prstGeom prst="ellipse">
              <a:avLst/>
            </a:prstGeom>
            <a:solidFill>
              <a:schemeClr val="accent1"/>
            </a:solidFill>
            <a:ln w="12700" cap="flat">
              <a:noFill/>
              <a:miter lim="400000"/>
            </a:ln>
            <a:effectLst/>
          </p:spPr>
          <p:txBody>
            <a:bodyPr wrap="square" lIns="45719" tIns="45719" rIns="45719" bIns="45719" numCol="1" anchor="ctr">
              <a:noAutofit/>
            </a:bodyPr>
            <a:lstStyle/>
            <a:p>
              <a:endParaRPr sz="2400"/>
            </a:p>
          </p:txBody>
        </p:sp>
        <p:sp>
          <p:nvSpPr>
            <p:cNvPr id="300" name="Freeform 8"/>
            <p:cNvSpPr/>
            <p:nvPr/>
          </p:nvSpPr>
          <p:spPr>
            <a:xfrm>
              <a:off x="178276" y="0"/>
              <a:ext cx="646631" cy="434341"/>
            </a:xfrm>
            <a:custGeom>
              <a:avLst/>
              <a:gdLst/>
              <a:ahLst/>
              <a:cxnLst>
                <a:cxn ang="0">
                  <a:pos x="wd2" y="hd2"/>
                </a:cxn>
                <a:cxn ang="5400000">
                  <a:pos x="wd2" y="hd2"/>
                </a:cxn>
                <a:cxn ang="10800000">
                  <a:pos x="wd2" y="hd2"/>
                </a:cxn>
                <a:cxn ang="16200000">
                  <a:pos x="wd2" y="hd2"/>
                </a:cxn>
              </a:cxnLst>
              <a:rect l="0" t="0" r="r" b="b"/>
              <a:pathLst>
                <a:path w="21600" h="21600" extrusionOk="0">
                  <a:moveTo>
                    <a:pt x="18576" y="12619"/>
                  </a:moveTo>
                  <a:cubicBezTo>
                    <a:pt x="18066" y="12619"/>
                    <a:pt x="17585" y="12808"/>
                    <a:pt x="17164" y="13143"/>
                  </a:cubicBezTo>
                  <a:lnTo>
                    <a:pt x="14719" y="7869"/>
                  </a:lnTo>
                  <a:cubicBezTo>
                    <a:pt x="15353" y="7048"/>
                    <a:pt x="15752" y="5842"/>
                    <a:pt x="15752" y="4491"/>
                  </a:cubicBezTo>
                  <a:cubicBezTo>
                    <a:pt x="15752" y="2008"/>
                    <a:pt x="14400" y="0"/>
                    <a:pt x="12729" y="0"/>
                  </a:cubicBezTo>
                  <a:cubicBezTo>
                    <a:pt x="11176" y="0"/>
                    <a:pt x="9901" y="1737"/>
                    <a:pt x="9726" y="3966"/>
                  </a:cubicBezTo>
                  <a:lnTo>
                    <a:pt x="6026" y="3966"/>
                  </a:lnTo>
                  <a:cubicBezTo>
                    <a:pt x="5852" y="1731"/>
                    <a:pt x="4576" y="0"/>
                    <a:pt x="3024" y="0"/>
                  </a:cubicBezTo>
                  <a:cubicBezTo>
                    <a:pt x="1352" y="0"/>
                    <a:pt x="0" y="2008"/>
                    <a:pt x="0" y="4491"/>
                  </a:cubicBezTo>
                  <a:cubicBezTo>
                    <a:pt x="0" y="6973"/>
                    <a:pt x="1352" y="8981"/>
                    <a:pt x="3024" y="8981"/>
                  </a:cubicBezTo>
                  <a:cubicBezTo>
                    <a:pt x="4576" y="8981"/>
                    <a:pt x="5852" y="7244"/>
                    <a:pt x="6026" y="5015"/>
                  </a:cubicBezTo>
                  <a:lnTo>
                    <a:pt x="9726" y="5015"/>
                  </a:lnTo>
                  <a:cubicBezTo>
                    <a:pt x="9901" y="7251"/>
                    <a:pt x="11176" y="8981"/>
                    <a:pt x="12729" y="8981"/>
                  </a:cubicBezTo>
                  <a:cubicBezTo>
                    <a:pt x="13239" y="8981"/>
                    <a:pt x="13720" y="8792"/>
                    <a:pt x="14141" y="8457"/>
                  </a:cubicBezTo>
                  <a:lnTo>
                    <a:pt x="16586" y="13731"/>
                  </a:lnTo>
                  <a:cubicBezTo>
                    <a:pt x="15952" y="14552"/>
                    <a:pt x="15553" y="15758"/>
                    <a:pt x="15553" y="17109"/>
                  </a:cubicBezTo>
                  <a:cubicBezTo>
                    <a:pt x="15553" y="19592"/>
                    <a:pt x="16905" y="21600"/>
                    <a:pt x="18576" y="21600"/>
                  </a:cubicBezTo>
                  <a:cubicBezTo>
                    <a:pt x="20248" y="21600"/>
                    <a:pt x="21600" y="19592"/>
                    <a:pt x="21600" y="17109"/>
                  </a:cubicBezTo>
                  <a:cubicBezTo>
                    <a:pt x="21600" y="14627"/>
                    <a:pt x="20248" y="12619"/>
                    <a:pt x="18576" y="12619"/>
                  </a:cubicBezTo>
                  <a:close/>
                </a:path>
              </a:pathLst>
            </a:custGeom>
            <a:solidFill>
              <a:schemeClr val="accent4"/>
            </a:solidFill>
            <a:ln w="12700" cap="flat">
              <a:noFill/>
              <a:miter lim="400000"/>
            </a:ln>
            <a:effectLst/>
          </p:spPr>
          <p:txBody>
            <a:bodyPr wrap="square" lIns="45719" tIns="45719" rIns="45719" bIns="45719" numCol="1" anchor="ctr">
              <a:noAutofit/>
            </a:bodyPr>
            <a:lstStyle/>
            <a:p>
              <a:endParaRPr sz="2400"/>
            </a:p>
          </p:txBody>
        </p:sp>
        <p:sp>
          <p:nvSpPr>
            <p:cNvPr id="301" name="Freeform 9"/>
            <p:cNvSpPr/>
            <p:nvPr/>
          </p:nvSpPr>
          <p:spPr>
            <a:xfrm>
              <a:off x="157577" y="302229"/>
              <a:ext cx="519995" cy="314200"/>
            </a:xfrm>
            <a:custGeom>
              <a:avLst/>
              <a:gdLst/>
              <a:ahLst/>
              <a:cxnLst>
                <a:cxn ang="0">
                  <a:pos x="wd2" y="hd2"/>
                </a:cxn>
                <a:cxn ang="5400000">
                  <a:pos x="wd2" y="hd2"/>
                </a:cxn>
                <a:cxn ang="10800000">
                  <a:pos x="wd2" y="hd2"/>
                </a:cxn>
                <a:cxn ang="16200000">
                  <a:pos x="wd2" y="hd2"/>
                </a:cxn>
              </a:cxnLst>
              <a:rect l="0" t="0" r="r" b="b"/>
              <a:pathLst>
                <a:path w="21449" h="20649" extrusionOk="0">
                  <a:moveTo>
                    <a:pt x="7707" y="1596"/>
                  </a:moveTo>
                  <a:lnTo>
                    <a:pt x="376" y="16711"/>
                  </a:lnTo>
                  <a:cubicBezTo>
                    <a:pt x="140" y="17145"/>
                    <a:pt x="24" y="17654"/>
                    <a:pt x="3" y="18155"/>
                  </a:cubicBezTo>
                  <a:cubicBezTo>
                    <a:pt x="-65" y="19866"/>
                    <a:pt x="1017" y="21068"/>
                    <a:pt x="1978" y="20400"/>
                  </a:cubicBezTo>
                  <a:cubicBezTo>
                    <a:pt x="7539" y="16544"/>
                    <a:pt x="13421" y="16836"/>
                    <a:pt x="19560" y="20509"/>
                  </a:cubicBezTo>
                  <a:cubicBezTo>
                    <a:pt x="20275" y="20934"/>
                    <a:pt x="21083" y="20359"/>
                    <a:pt x="21351" y="19190"/>
                  </a:cubicBezTo>
                  <a:cubicBezTo>
                    <a:pt x="21535" y="18397"/>
                    <a:pt x="21472" y="17446"/>
                    <a:pt x="21073" y="16711"/>
                  </a:cubicBezTo>
                  <a:lnTo>
                    <a:pt x="13742" y="1596"/>
                  </a:lnTo>
                  <a:cubicBezTo>
                    <a:pt x="12591" y="-532"/>
                    <a:pt x="8858" y="-532"/>
                    <a:pt x="7707" y="1596"/>
                  </a:cubicBezTo>
                  <a:close/>
                </a:path>
              </a:pathLst>
            </a:custGeom>
            <a:solidFill>
              <a:schemeClr val="accent1"/>
            </a:solidFill>
            <a:ln w="12700" cap="flat">
              <a:noFill/>
              <a:miter lim="400000"/>
            </a:ln>
            <a:effectLst/>
          </p:spPr>
          <p:txBody>
            <a:bodyPr wrap="square" lIns="45719" tIns="45719" rIns="45719" bIns="45719" numCol="1" anchor="ctr">
              <a:noAutofit/>
            </a:bodyPr>
            <a:lstStyle/>
            <a:p>
              <a:endParaRPr sz="2400"/>
            </a:p>
          </p:txBody>
        </p:sp>
      </p:grpSp>
      <p:sp>
        <p:nvSpPr>
          <p:cNvPr id="303" name="Body Level One…"/>
          <p:cNvSpPr txBox="1">
            <a:spLocks noGrp="1"/>
          </p:cNvSpPr>
          <p:nvPr>
            <p:ph type="body" sz="quarter" idx="1" hasCustomPrompt="1"/>
          </p:nvPr>
        </p:nvSpPr>
        <p:spPr>
          <a:xfrm>
            <a:off x="5486397" y="3019864"/>
            <a:ext cx="6220800" cy="370417"/>
          </a:xfrm>
          <a:prstGeom prst="rect">
            <a:avLst/>
          </a:prstGeom>
        </p:spPr>
        <p:txBody>
          <a:bodyPr/>
          <a:lstStyle>
            <a:lvl1pPr marL="0" indent="0">
              <a:buClrTx/>
              <a:buSzTx/>
              <a:buFontTx/>
              <a:buNone/>
              <a:defRPr sz="1867">
                <a:solidFill>
                  <a:schemeClr val="accent4"/>
                </a:solidFill>
              </a:defRPr>
            </a:lvl1pPr>
            <a:lvl2pPr marL="463987" indent="-223993">
              <a:buClrTx/>
              <a:buFontTx/>
              <a:defRPr sz="1867">
                <a:solidFill>
                  <a:schemeClr val="accent4"/>
                </a:solidFill>
              </a:defRPr>
            </a:lvl2pPr>
            <a:lvl3pPr marL="703981" indent="-223994">
              <a:buClrTx/>
              <a:buFontTx/>
              <a:defRPr sz="1867">
                <a:solidFill>
                  <a:schemeClr val="accent4"/>
                </a:solidFill>
              </a:defRPr>
            </a:lvl3pPr>
            <a:lvl4pPr marL="943976" indent="-223994">
              <a:buClrTx/>
              <a:buFontTx/>
              <a:defRPr sz="1867">
                <a:solidFill>
                  <a:schemeClr val="accent4"/>
                </a:solidFill>
              </a:defRPr>
            </a:lvl4pPr>
            <a:lvl5pPr marL="1183970" indent="-223994">
              <a:buClrTx/>
              <a:buFontTx/>
              <a:defRPr sz="1867">
                <a:solidFill>
                  <a:schemeClr val="accent4"/>
                </a:solidFill>
              </a:defRPr>
            </a:lvl5pPr>
          </a:lstStyle>
          <a:p>
            <a:r>
              <a:t>CLICK TO EDIT SUBTITLE</a:t>
            </a:r>
          </a:p>
          <a:p>
            <a:pPr lvl="1"/>
            <a:endParaRPr/>
          </a:p>
          <a:p>
            <a:pPr lvl="2"/>
            <a:endParaRPr/>
          </a:p>
          <a:p>
            <a:pPr lvl="3"/>
            <a:endParaRPr/>
          </a:p>
          <a:p>
            <a:pPr lvl="4"/>
            <a:endParaRPr/>
          </a:p>
        </p:txBody>
      </p:sp>
      <p:sp>
        <p:nvSpPr>
          <p:cNvPr id="304" name="Text Placeholder 4"/>
          <p:cNvSpPr>
            <a:spLocks noGrp="1"/>
          </p:cNvSpPr>
          <p:nvPr>
            <p:ph type="body" sz="quarter" idx="22"/>
          </p:nvPr>
        </p:nvSpPr>
        <p:spPr>
          <a:xfrm>
            <a:off x="5486399" y="3668184"/>
            <a:ext cx="6220800" cy="2552701"/>
          </a:xfrm>
          <a:prstGeom prst="rect">
            <a:avLst/>
          </a:prstGeom>
        </p:spPr>
        <p:txBody>
          <a:bodyPr/>
          <a:lstStyle>
            <a:lvl1pPr marL="304792" indent="-304792">
              <a:buFontTx/>
              <a:buAutoNum type="arabicPeriod"/>
              <a:defRPr/>
            </a:lvl1pPr>
          </a:lstStyle>
          <a:p>
            <a:pPr marL="228600" indent="-228600">
              <a:buFontTx/>
              <a:buAutoNum type="arabicPeriod"/>
            </a:pPr>
            <a:endParaRPr/>
          </a:p>
        </p:txBody>
      </p:sp>
    </p:spTree>
    <p:extLst>
      <p:ext uri="{BB962C8B-B14F-4D97-AF65-F5344CB8AC3E}">
        <p14:creationId xmlns:p14="http://schemas.microsoft.com/office/powerpoint/2010/main" val="2271274496"/>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526A8500-34AF-4BA1-A600-22B39EF97110}" type="datetime1">
              <a:rPr lang="en-US" noProof="0" smtClean="0"/>
              <a:t>7/9/2025</a:t>
            </a:fld>
            <a:endParaRPr lang="de-DE" noProof="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TEM</a:t>
            </a:r>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Page </a:t>
            </a:r>
            <a:fld id="{401BA3E4-5E55-4F99-AF09-CC6D6B2539E2}" type="slidenum">
              <a:rPr lang="en-US" smtClean="0"/>
              <a:pPr/>
              <a:t>‹#›</a:t>
            </a:fld>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6" y="778322"/>
            <a:ext cx="11233151" cy="318933"/>
          </a:xfrm>
        </p:spPr>
        <p:txBody>
          <a:bodyPr/>
          <a:lstStyle>
            <a:lvl1pPr>
              <a:defRPr sz="2000">
                <a:solidFill>
                  <a:schemeClr val="accent2"/>
                </a:solidFill>
                <a:latin typeface="+mn-lt"/>
              </a:defRPr>
            </a:lvl1pPr>
          </a:lstStyle>
          <a:p>
            <a:pPr lvl="0"/>
            <a:r>
              <a:rPr lang="de-DE" err="1"/>
              <a:t>Subline</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1" cy="3020315"/>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112893691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31" name="Graphic 630">
            <a:extLst>
              <a:ext uri="{FF2B5EF4-FFF2-40B4-BE49-F238E27FC236}">
                <a16:creationId xmlns:a16="http://schemas.microsoft.com/office/drawing/2014/main" id="{315B9E8A-01EA-E303-3A84-C901ECB147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222177" cy="6858000"/>
          </a:xfrm>
          <a:prstGeom prst="rect">
            <a:avLst/>
          </a:prstGeom>
        </p:spPr>
      </p:pic>
      <p:sp>
        <p:nvSpPr>
          <p:cNvPr id="635" name="Freeform 634">
            <a:extLst>
              <a:ext uri="{FF2B5EF4-FFF2-40B4-BE49-F238E27FC236}">
                <a16:creationId xmlns:a16="http://schemas.microsoft.com/office/drawing/2014/main" id="{544062CE-52D0-C717-7A12-0C445C8133C3}"/>
              </a:ext>
            </a:extLst>
          </p:cNvPr>
          <p:cNvSpPr/>
          <p:nvPr userDrawn="1"/>
        </p:nvSpPr>
        <p:spPr>
          <a:xfrm flipV="1">
            <a:off x="1" y="-1"/>
            <a:ext cx="12207089" cy="5898049"/>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gradFill>
            <a:gsLst>
              <a:gs pos="0">
                <a:srgbClr val="FFFFFF">
                  <a:alpha val="0"/>
                </a:srgbClr>
              </a:gs>
              <a:gs pos="50000">
                <a:srgbClr val="FFFFFF">
                  <a:alpha val="49804"/>
                </a:srgbClr>
              </a:gs>
              <a:gs pos="100000">
                <a:srgbClr val="FFFFFF"/>
              </a:gs>
            </a:gsLst>
            <a:lin ang="5400000" scaled="0"/>
          </a:gradFill>
          <a:ln w="0" cap="flat">
            <a:noFill/>
            <a:prstDash val="solid"/>
            <a:miter/>
          </a:ln>
        </p:spPr>
        <p:txBody>
          <a:bodyPr rtlCol="0" anchor="ctr"/>
          <a:lstStyle/>
          <a:p>
            <a:endParaRPr lang="en-AD" sz="2400"/>
          </a:p>
        </p:txBody>
      </p:sp>
      <p:sp>
        <p:nvSpPr>
          <p:cNvPr id="318" name="Freeform 317">
            <a:extLst>
              <a:ext uri="{FF2B5EF4-FFF2-40B4-BE49-F238E27FC236}">
                <a16:creationId xmlns:a16="http://schemas.microsoft.com/office/drawing/2014/main" id="{398B2DB3-BA63-5450-BEFC-B50A364221F6}"/>
              </a:ext>
            </a:extLst>
          </p:cNvPr>
          <p:cNvSpPr/>
          <p:nvPr/>
        </p:nvSpPr>
        <p:spPr>
          <a:xfrm>
            <a:off x="-15090" y="0"/>
            <a:ext cx="12222179" cy="6858000"/>
          </a:xfrm>
          <a:custGeom>
            <a:avLst/>
            <a:gdLst>
              <a:gd name="connsiteX0" fmla="*/ 0 w 9166634"/>
              <a:gd name="connsiteY0" fmla="*/ 0 h 5143500"/>
              <a:gd name="connsiteX1" fmla="*/ 9166634 w 9166634"/>
              <a:gd name="connsiteY1" fmla="*/ 0 h 5143500"/>
              <a:gd name="connsiteX2" fmla="*/ 9166634 w 9166634"/>
              <a:gd name="connsiteY2" fmla="*/ 5143500 h 5143500"/>
              <a:gd name="connsiteX3" fmla="*/ 0 w 916663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66634" h="5143500">
                <a:moveTo>
                  <a:pt x="0" y="0"/>
                </a:moveTo>
                <a:lnTo>
                  <a:pt x="9166634" y="0"/>
                </a:lnTo>
                <a:lnTo>
                  <a:pt x="9166634" y="5143500"/>
                </a:lnTo>
                <a:lnTo>
                  <a:pt x="0" y="5143500"/>
                </a:lnTo>
                <a:close/>
              </a:path>
            </a:pathLst>
          </a:custGeom>
          <a:noFill/>
          <a:ln w="0" cap="flat">
            <a:noFill/>
            <a:prstDash val="solid"/>
            <a:miter/>
          </a:ln>
        </p:spPr>
        <p:txBody>
          <a:bodyPr rtlCol="0" anchor="ctr"/>
          <a:lstStyle/>
          <a:p>
            <a:endParaRPr lang="en-AD" sz="2400"/>
          </a:p>
        </p:txBody>
      </p:sp>
      <p:sp>
        <p:nvSpPr>
          <p:cNvPr id="320" name="Freeform 319">
            <a:extLst>
              <a:ext uri="{FF2B5EF4-FFF2-40B4-BE49-F238E27FC236}">
                <a16:creationId xmlns:a16="http://schemas.microsoft.com/office/drawing/2014/main" id="{E4AE84B8-8A78-EB8F-FF9D-41F060EAF8FC}"/>
              </a:ext>
            </a:extLst>
          </p:cNvPr>
          <p:cNvSpPr/>
          <p:nvPr userDrawn="1"/>
        </p:nvSpPr>
        <p:spPr>
          <a:xfrm>
            <a:off x="0" y="5898050"/>
            <a:ext cx="12222179" cy="959951"/>
          </a:xfrm>
          <a:custGeom>
            <a:avLst/>
            <a:gdLst>
              <a:gd name="connsiteX0" fmla="*/ 0 w 9166634"/>
              <a:gd name="connsiteY0" fmla="*/ 0 h 719963"/>
              <a:gd name="connsiteX1" fmla="*/ 9166634 w 9166634"/>
              <a:gd name="connsiteY1" fmla="*/ 0 h 719963"/>
              <a:gd name="connsiteX2" fmla="*/ 9166634 w 9166634"/>
              <a:gd name="connsiteY2" fmla="*/ 719963 h 719963"/>
              <a:gd name="connsiteX3" fmla="*/ 0 w 9166634"/>
              <a:gd name="connsiteY3" fmla="*/ 719963 h 719963"/>
            </a:gdLst>
            <a:ahLst/>
            <a:cxnLst>
              <a:cxn ang="0">
                <a:pos x="connsiteX0" y="connsiteY0"/>
              </a:cxn>
              <a:cxn ang="0">
                <a:pos x="connsiteX1" y="connsiteY1"/>
              </a:cxn>
              <a:cxn ang="0">
                <a:pos x="connsiteX2" y="connsiteY2"/>
              </a:cxn>
              <a:cxn ang="0">
                <a:pos x="connsiteX3" y="connsiteY3"/>
              </a:cxn>
            </a:cxnLst>
            <a:rect l="l" t="t" r="r" b="b"/>
            <a:pathLst>
              <a:path w="9166634" h="719963">
                <a:moveTo>
                  <a:pt x="0" y="0"/>
                </a:moveTo>
                <a:lnTo>
                  <a:pt x="9166634" y="0"/>
                </a:lnTo>
                <a:lnTo>
                  <a:pt x="9166634" y="719963"/>
                </a:lnTo>
                <a:lnTo>
                  <a:pt x="0" y="719963"/>
                </a:lnTo>
                <a:close/>
              </a:path>
            </a:pathLst>
          </a:custGeom>
          <a:solidFill>
            <a:srgbClr val="1D4966"/>
          </a:solidFill>
          <a:ln w="0" cap="flat">
            <a:noFill/>
            <a:prstDash val="solid"/>
            <a:miter/>
          </a:ln>
        </p:spPr>
        <p:txBody>
          <a:bodyPr rtlCol="0" anchor="ctr"/>
          <a:lstStyle/>
          <a:p>
            <a:endParaRPr lang="en-AD" sz="2400"/>
          </a:p>
        </p:txBody>
      </p:sp>
      <p:grpSp>
        <p:nvGrpSpPr>
          <p:cNvPr id="637" name="Group 636">
            <a:extLst>
              <a:ext uri="{FF2B5EF4-FFF2-40B4-BE49-F238E27FC236}">
                <a16:creationId xmlns:a16="http://schemas.microsoft.com/office/drawing/2014/main" id="{0405645B-C84A-B523-66C2-CD9CDAB10D02}"/>
              </a:ext>
            </a:extLst>
          </p:cNvPr>
          <p:cNvGrpSpPr/>
          <p:nvPr userDrawn="1"/>
        </p:nvGrpSpPr>
        <p:grpSpPr>
          <a:xfrm>
            <a:off x="2667509" y="1319107"/>
            <a:ext cx="2725884" cy="549316"/>
            <a:chOff x="2000631" y="989330"/>
            <a:chExt cx="2044413" cy="411987"/>
          </a:xfrm>
        </p:grpSpPr>
        <p:sp>
          <p:nvSpPr>
            <p:cNvPr id="321" name="Freeform 320">
              <a:extLst>
                <a:ext uri="{FF2B5EF4-FFF2-40B4-BE49-F238E27FC236}">
                  <a16:creationId xmlns:a16="http://schemas.microsoft.com/office/drawing/2014/main" id="{11E11E00-37F3-0F5B-6A9F-629E446F5E50}"/>
                </a:ext>
              </a:extLst>
            </p:cNvPr>
            <p:cNvSpPr/>
            <p:nvPr/>
          </p:nvSpPr>
          <p:spPr>
            <a:xfrm>
              <a:off x="2000631" y="996441"/>
              <a:ext cx="365137" cy="397763"/>
            </a:xfrm>
            <a:custGeom>
              <a:avLst/>
              <a:gdLst>
                <a:gd name="connsiteX0" fmla="*/ 148831 w 365137"/>
                <a:gd name="connsiteY0" fmla="*/ 397764 h 397763"/>
                <a:gd name="connsiteX1" fmla="*/ 0 w 365137"/>
                <a:gd name="connsiteY1" fmla="*/ 0 h 397763"/>
                <a:gd name="connsiteX2" fmla="*/ 59838 w 365137"/>
                <a:gd name="connsiteY2" fmla="*/ 0 h 397763"/>
                <a:gd name="connsiteX3" fmla="*/ 162199 w 365137"/>
                <a:gd name="connsiteY3" fmla="*/ 281813 h 397763"/>
                <a:gd name="connsiteX4" fmla="*/ 169201 w 365137"/>
                <a:gd name="connsiteY4" fmla="*/ 300355 h 397763"/>
                <a:gd name="connsiteX5" fmla="*/ 176203 w 365137"/>
                <a:gd name="connsiteY5" fmla="*/ 320675 h 397763"/>
                <a:gd name="connsiteX6" fmla="*/ 182569 w 365137"/>
                <a:gd name="connsiteY6" fmla="*/ 338074 h 397763"/>
                <a:gd name="connsiteX7" fmla="*/ 186006 w 365137"/>
                <a:gd name="connsiteY7" fmla="*/ 338074 h 397763"/>
                <a:gd name="connsiteX8" fmla="*/ 191863 w 365137"/>
                <a:gd name="connsiteY8" fmla="*/ 321310 h 397763"/>
                <a:gd name="connsiteX9" fmla="*/ 198865 w 365137"/>
                <a:gd name="connsiteY9" fmla="*/ 301244 h 397763"/>
                <a:gd name="connsiteX10" fmla="*/ 205867 w 365137"/>
                <a:gd name="connsiteY10" fmla="*/ 281813 h 397763"/>
                <a:gd name="connsiteX11" fmla="*/ 306955 w 365137"/>
                <a:gd name="connsiteY11" fmla="*/ 0 h 397763"/>
                <a:gd name="connsiteX12" fmla="*/ 365138 w 365137"/>
                <a:gd name="connsiteY12" fmla="*/ 0 h 397763"/>
                <a:gd name="connsiteX13" fmla="*/ 215798 w 365137"/>
                <a:gd name="connsiteY13" fmla="*/ 397764 h 397763"/>
                <a:gd name="connsiteX14" fmla="*/ 148958 w 365137"/>
                <a:gd name="connsiteY14"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137" h="397763">
                  <a:moveTo>
                    <a:pt x="148831" y="397764"/>
                  </a:moveTo>
                  <a:lnTo>
                    <a:pt x="0" y="0"/>
                  </a:lnTo>
                  <a:lnTo>
                    <a:pt x="59838" y="0"/>
                  </a:lnTo>
                  <a:lnTo>
                    <a:pt x="162199" y="281813"/>
                  </a:lnTo>
                  <a:cubicBezTo>
                    <a:pt x="164490" y="287274"/>
                    <a:pt x="166909" y="293370"/>
                    <a:pt x="169201" y="300355"/>
                  </a:cubicBezTo>
                  <a:cubicBezTo>
                    <a:pt x="171492" y="307340"/>
                    <a:pt x="173911" y="314071"/>
                    <a:pt x="176203" y="320675"/>
                  </a:cubicBezTo>
                  <a:cubicBezTo>
                    <a:pt x="178495" y="327279"/>
                    <a:pt x="180659" y="332994"/>
                    <a:pt x="182569" y="338074"/>
                  </a:cubicBezTo>
                  <a:lnTo>
                    <a:pt x="186006" y="338074"/>
                  </a:lnTo>
                  <a:cubicBezTo>
                    <a:pt x="187534" y="333375"/>
                    <a:pt x="189444" y="327787"/>
                    <a:pt x="191863" y="321310"/>
                  </a:cubicBezTo>
                  <a:cubicBezTo>
                    <a:pt x="194154" y="314706"/>
                    <a:pt x="196573" y="308102"/>
                    <a:pt x="198865" y="301244"/>
                  </a:cubicBezTo>
                  <a:cubicBezTo>
                    <a:pt x="201157" y="294513"/>
                    <a:pt x="203576" y="288036"/>
                    <a:pt x="205867" y="281813"/>
                  </a:cubicBezTo>
                  <a:lnTo>
                    <a:pt x="306955" y="0"/>
                  </a:lnTo>
                  <a:lnTo>
                    <a:pt x="365138" y="0"/>
                  </a:lnTo>
                  <a:lnTo>
                    <a:pt x="215798" y="397764"/>
                  </a:lnTo>
                  <a:lnTo>
                    <a:pt x="148958" y="397764"/>
                  </a:lnTo>
                  <a:close/>
                </a:path>
              </a:pathLst>
            </a:custGeom>
            <a:solidFill>
              <a:srgbClr val="1D4966"/>
            </a:solidFill>
            <a:ln w="0" cap="flat">
              <a:noFill/>
              <a:prstDash val="solid"/>
              <a:miter/>
            </a:ln>
          </p:spPr>
          <p:txBody>
            <a:bodyPr rtlCol="0" anchor="ctr"/>
            <a:lstStyle/>
            <a:p>
              <a:endParaRPr lang="en-AD" sz="2400"/>
            </a:p>
          </p:txBody>
        </p:sp>
        <p:sp>
          <p:nvSpPr>
            <p:cNvPr id="322" name="Freeform 321">
              <a:extLst>
                <a:ext uri="{FF2B5EF4-FFF2-40B4-BE49-F238E27FC236}">
                  <a16:creationId xmlns:a16="http://schemas.microsoft.com/office/drawing/2014/main" id="{F0145789-4E60-3D86-E1EE-8D33F8317FB5}"/>
                </a:ext>
              </a:extLst>
            </p:cNvPr>
            <p:cNvSpPr/>
            <p:nvPr/>
          </p:nvSpPr>
          <p:spPr>
            <a:xfrm>
              <a:off x="2425607" y="996441"/>
              <a:ext cx="55254" cy="397763"/>
            </a:xfrm>
            <a:custGeom>
              <a:avLst/>
              <a:gdLst>
                <a:gd name="connsiteX0" fmla="*/ 0 w 55254"/>
                <a:gd name="connsiteY0" fmla="*/ 397764 h 397763"/>
                <a:gd name="connsiteX1" fmla="*/ 0 w 55254"/>
                <a:gd name="connsiteY1" fmla="*/ 0 h 397763"/>
                <a:gd name="connsiteX2" fmla="*/ 55254 w 55254"/>
                <a:gd name="connsiteY2" fmla="*/ 0 h 397763"/>
                <a:gd name="connsiteX3" fmla="*/ 55254 w 55254"/>
                <a:gd name="connsiteY3" fmla="*/ 397764 h 397763"/>
                <a:gd name="connsiteX4" fmla="*/ 0 w 55254"/>
                <a:gd name="connsiteY4" fmla="*/ 397764 h 397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54" h="397763">
                  <a:moveTo>
                    <a:pt x="0" y="397764"/>
                  </a:moveTo>
                  <a:lnTo>
                    <a:pt x="0" y="0"/>
                  </a:lnTo>
                  <a:lnTo>
                    <a:pt x="55254" y="0"/>
                  </a:lnTo>
                  <a:lnTo>
                    <a:pt x="55254" y="397764"/>
                  </a:lnTo>
                  <a:lnTo>
                    <a:pt x="0" y="397764"/>
                  </a:lnTo>
                  <a:close/>
                </a:path>
              </a:pathLst>
            </a:custGeom>
            <a:solidFill>
              <a:srgbClr val="1D4966"/>
            </a:solidFill>
            <a:ln w="0" cap="flat">
              <a:noFill/>
              <a:prstDash val="solid"/>
              <a:miter/>
            </a:ln>
          </p:spPr>
          <p:txBody>
            <a:bodyPr rtlCol="0" anchor="ctr"/>
            <a:lstStyle/>
            <a:p>
              <a:endParaRPr lang="en-AD" sz="2400"/>
            </a:p>
          </p:txBody>
        </p:sp>
        <p:sp>
          <p:nvSpPr>
            <p:cNvPr id="323" name="Freeform 322">
              <a:extLst>
                <a:ext uri="{FF2B5EF4-FFF2-40B4-BE49-F238E27FC236}">
                  <a16:creationId xmlns:a16="http://schemas.microsoft.com/office/drawing/2014/main" id="{F71CBF64-D313-4F5D-8C15-2634FE9E6325}"/>
                </a:ext>
              </a:extLst>
            </p:cNvPr>
            <p:cNvSpPr/>
            <p:nvPr/>
          </p:nvSpPr>
          <p:spPr>
            <a:xfrm>
              <a:off x="2556231" y="989457"/>
              <a:ext cx="366156" cy="411860"/>
            </a:xfrm>
            <a:custGeom>
              <a:avLst/>
              <a:gdLst>
                <a:gd name="connsiteX0" fmla="*/ 190717 w 366156"/>
                <a:gd name="connsiteY0" fmla="*/ 411734 h 411860"/>
                <a:gd name="connsiteX1" fmla="*/ 87210 w 366156"/>
                <a:gd name="connsiteY1" fmla="*/ 389382 h 411860"/>
                <a:gd name="connsiteX2" fmla="*/ 22407 w 366156"/>
                <a:gd name="connsiteY2" fmla="*/ 321564 h 411860"/>
                <a:gd name="connsiteX3" fmla="*/ 0 w 366156"/>
                <a:gd name="connsiteY3" fmla="*/ 205867 h 411860"/>
                <a:gd name="connsiteX4" fmla="*/ 50544 w 366156"/>
                <a:gd name="connsiteY4" fmla="*/ 51054 h 411860"/>
                <a:gd name="connsiteX5" fmla="*/ 191226 w 366156"/>
                <a:gd name="connsiteY5" fmla="*/ 0 h 411860"/>
                <a:gd name="connsiteX6" fmla="*/ 281874 w 366156"/>
                <a:gd name="connsiteY6" fmla="*/ 16510 h 411860"/>
                <a:gd name="connsiteX7" fmla="*/ 343749 w 366156"/>
                <a:gd name="connsiteY7" fmla="*/ 66421 h 411860"/>
                <a:gd name="connsiteX8" fmla="*/ 366156 w 366156"/>
                <a:gd name="connsiteY8" fmla="*/ 150241 h 411860"/>
                <a:gd name="connsiteX9" fmla="*/ 310392 w 366156"/>
                <a:gd name="connsiteY9" fmla="*/ 150241 h 411860"/>
                <a:gd name="connsiteX10" fmla="*/ 295624 w 366156"/>
                <a:gd name="connsiteY10" fmla="*/ 92837 h 411860"/>
                <a:gd name="connsiteX11" fmla="*/ 254120 w 366156"/>
                <a:gd name="connsiteY11" fmla="*/ 58928 h 411860"/>
                <a:gd name="connsiteX12" fmla="*/ 191353 w 366156"/>
                <a:gd name="connsiteY12" fmla="*/ 47625 h 411860"/>
                <a:gd name="connsiteX13" fmla="*/ 119293 w 366156"/>
                <a:gd name="connsiteY13" fmla="*/ 63881 h 411860"/>
                <a:gd name="connsiteX14" fmla="*/ 73333 w 366156"/>
                <a:gd name="connsiteY14" fmla="*/ 114046 h 411860"/>
                <a:gd name="connsiteX15" fmla="*/ 57673 w 366156"/>
                <a:gd name="connsiteY15" fmla="*/ 201295 h 411860"/>
                <a:gd name="connsiteX16" fmla="*/ 57673 w 366156"/>
                <a:gd name="connsiteY16" fmla="*/ 213487 h 411860"/>
                <a:gd name="connsiteX17" fmla="*/ 73333 w 366156"/>
                <a:gd name="connsiteY17" fmla="*/ 299593 h 411860"/>
                <a:gd name="connsiteX18" fmla="*/ 118912 w 366156"/>
                <a:gd name="connsiteY18" fmla="*/ 348615 h 411860"/>
                <a:gd name="connsiteX19" fmla="*/ 191226 w 366156"/>
                <a:gd name="connsiteY19" fmla="*/ 364236 h 411860"/>
                <a:gd name="connsiteX20" fmla="*/ 255393 w 366156"/>
                <a:gd name="connsiteY20" fmla="*/ 353187 h 411860"/>
                <a:gd name="connsiteX21" fmla="*/ 297279 w 366156"/>
                <a:gd name="connsiteY21" fmla="*/ 319278 h 411860"/>
                <a:gd name="connsiteX22" fmla="*/ 312047 w 366156"/>
                <a:gd name="connsiteY22" fmla="*/ 261620 h 411860"/>
                <a:gd name="connsiteX23" fmla="*/ 366156 w 366156"/>
                <a:gd name="connsiteY23" fmla="*/ 261620 h 411860"/>
                <a:gd name="connsiteX24" fmla="*/ 343240 w 366156"/>
                <a:gd name="connsiteY24" fmla="*/ 346329 h 411860"/>
                <a:gd name="connsiteX25" fmla="*/ 280728 w 366156"/>
                <a:gd name="connsiteY25" fmla="*/ 395605 h 411860"/>
                <a:gd name="connsiteX26" fmla="*/ 190590 w 366156"/>
                <a:gd name="connsiteY26" fmla="*/ 411861 h 41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6156" h="411860">
                  <a:moveTo>
                    <a:pt x="190717" y="411734"/>
                  </a:moveTo>
                  <a:cubicBezTo>
                    <a:pt x="149976" y="411734"/>
                    <a:pt x="115474" y="404241"/>
                    <a:pt x="87210" y="389382"/>
                  </a:cubicBezTo>
                  <a:cubicBezTo>
                    <a:pt x="58947" y="374523"/>
                    <a:pt x="37303" y="351917"/>
                    <a:pt x="22407" y="321564"/>
                  </a:cubicBezTo>
                  <a:cubicBezTo>
                    <a:pt x="7512" y="291211"/>
                    <a:pt x="0" y="252603"/>
                    <a:pt x="0" y="205867"/>
                  </a:cubicBezTo>
                  <a:cubicBezTo>
                    <a:pt x="0" y="136652"/>
                    <a:pt x="16806" y="85090"/>
                    <a:pt x="50544" y="51054"/>
                  </a:cubicBezTo>
                  <a:cubicBezTo>
                    <a:pt x="84282" y="17018"/>
                    <a:pt x="131134" y="0"/>
                    <a:pt x="191226" y="0"/>
                  </a:cubicBezTo>
                  <a:cubicBezTo>
                    <a:pt x="225346" y="0"/>
                    <a:pt x="255520" y="5461"/>
                    <a:pt x="281874" y="16510"/>
                  </a:cubicBezTo>
                  <a:cubicBezTo>
                    <a:pt x="308228" y="27559"/>
                    <a:pt x="328853" y="44196"/>
                    <a:pt x="343749" y="66421"/>
                  </a:cubicBezTo>
                  <a:cubicBezTo>
                    <a:pt x="358645" y="88646"/>
                    <a:pt x="366156" y="116586"/>
                    <a:pt x="366156" y="150241"/>
                  </a:cubicBezTo>
                  <a:lnTo>
                    <a:pt x="310392" y="150241"/>
                  </a:lnTo>
                  <a:cubicBezTo>
                    <a:pt x="310392" y="127000"/>
                    <a:pt x="305427" y="107950"/>
                    <a:pt x="295624" y="92837"/>
                  </a:cubicBezTo>
                  <a:cubicBezTo>
                    <a:pt x="285821" y="77724"/>
                    <a:pt x="271943" y="66421"/>
                    <a:pt x="254120" y="58928"/>
                  </a:cubicBezTo>
                  <a:cubicBezTo>
                    <a:pt x="236295" y="51435"/>
                    <a:pt x="215416" y="47625"/>
                    <a:pt x="191353" y="47625"/>
                  </a:cubicBezTo>
                  <a:cubicBezTo>
                    <a:pt x="163472" y="47625"/>
                    <a:pt x="139409" y="53086"/>
                    <a:pt x="119293" y="63881"/>
                  </a:cubicBezTo>
                  <a:cubicBezTo>
                    <a:pt x="99178" y="74676"/>
                    <a:pt x="83773" y="91440"/>
                    <a:pt x="73333" y="114046"/>
                  </a:cubicBezTo>
                  <a:cubicBezTo>
                    <a:pt x="62893" y="136652"/>
                    <a:pt x="57673" y="165735"/>
                    <a:pt x="57673" y="201295"/>
                  </a:cubicBezTo>
                  <a:lnTo>
                    <a:pt x="57673" y="213487"/>
                  </a:lnTo>
                  <a:cubicBezTo>
                    <a:pt x="57673" y="248666"/>
                    <a:pt x="62893" y="277368"/>
                    <a:pt x="73333" y="299593"/>
                  </a:cubicBezTo>
                  <a:cubicBezTo>
                    <a:pt x="83773" y="321818"/>
                    <a:pt x="99051" y="338201"/>
                    <a:pt x="118912" y="348615"/>
                  </a:cubicBezTo>
                  <a:cubicBezTo>
                    <a:pt x="138900" y="359029"/>
                    <a:pt x="162962" y="364236"/>
                    <a:pt x="191226" y="364236"/>
                  </a:cubicBezTo>
                  <a:cubicBezTo>
                    <a:pt x="216052" y="364236"/>
                    <a:pt x="237441" y="360553"/>
                    <a:pt x="255393" y="353187"/>
                  </a:cubicBezTo>
                  <a:cubicBezTo>
                    <a:pt x="273471" y="345821"/>
                    <a:pt x="287349" y="334518"/>
                    <a:pt x="297279" y="319278"/>
                  </a:cubicBezTo>
                  <a:cubicBezTo>
                    <a:pt x="307210" y="304038"/>
                    <a:pt x="312047" y="284734"/>
                    <a:pt x="312047" y="261620"/>
                  </a:cubicBezTo>
                  <a:lnTo>
                    <a:pt x="366156" y="261620"/>
                  </a:lnTo>
                  <a:cubicBezTo>
                    <a:pt x="366156" y="296037"/>
                    <a:pt x="358517" y="324231"/>
                    <a:pt x="343240" y="346329"/>
                  </a:cubicBezTo>
                  <a:cubicBezTo>
                    <a:pt x="327962" y="368300"/>
                    <a:pt x="307082" y="384810"/>
                    <a:pt x="280728" y="395605"/>
                  </a:cubicBezTo>
                  <a:cubicBezTo>
                    <a:pt x="254374" y="406400"/>
                    <a:pt x="224328" y="411861"/>
                    <a:pt x="190590" y="411861"/>
                  </a:cubicBezTo>
                  <a:close/>
                </a:path>
              </a:pathLst>
            </a:custGeom>
            <a:solidFill>
              <a:srgbClr val="1D4966"/>
            </a:solidFill>
            <a:ln w="0" cap="flat">
              <a:noFill/>
              <a:prstDash val="solid"/>
              <a:miter/>
            </a:ln>
          </p:spPr>
          <p:txBody>
            <a:bodyPr rtlCol="0" anchor="ctr"/>
            <a:lstStyle/>
            <a:p>
              <a:endParaRPr lang="en-AD" sz="2400"/>
            </a:p>
          </p:txBody>
        </p:sp>
        <p:sp>
          <p:nvSpPr>
            <p:cNvPr id="324" name="Freeform 323">
              <a:extLst>
                <a:ext uri="{FF2B5EF4-FFF2-40B4-BE49-F238E27FC236}">
                  <a16:creationId xmlns:a16="http://schemas.microsoft.com/office/drawing/2014/main" id="{5803A0C8-28B3-A8E8-6710-76474733F821}"/>
                </a:ext>
              </a:extLst>
            </p:cNvPr>
            <p:cNvSpPr/>
            <p:nvPr/>
          </p:nvSpPr>
          <p:spPr>
            <a:xfrm>
              <a:off x="2949251" y="996441"/>
              <a:ext cx="329616" cy="397763"/>
            </a:xfrm>
            <a:custGeom>
              <a:avLst/>
              <a:gdLst>
                <a:gd name="connsiteX0" fmla="*/ 136608 w 329616"/>
                <a:gd name="connsiteY0" fmla="*/ 397764 h 397763"/>
                <a:gd name="connsiteX1" fmla="*/ 136608 w 329616"/>
                <a:gd name="connsiteY1" fmla="*/ 48133 h 397763"/>
                <a:gd name="connsiteX2" fmla="*/ 0 w 329616"/>
                <a:gd name="connsiteY2" fmla="*/ 48133 h 397763"/>
                <a:gd name="connsiteX3" fmla="*/ 0 w 329616"/>
                <a:gd name="connsiteY3" fmla="*/ 0 h 397763"/>
                <a:gd name="connsiteX4" fmla="*/ 329617 w 329616"/>
                <a:gd name="connsiteY4" fmla="*/ 0 h 397763"/>
                <a:gd name="connsiteX5" fmla="*/ 329617 w 329616"/>
                <a:gd name="connsiteY5" fmla="*/ 48133 h 397763"/>
                <a:gd name="connsiteX6" fmla="*/ 191863 w 329616"/>
                <a:gd name="connsiteY6" fmla="*/ 48133 h 397763"/>
                <a:gd name="connsiteX7" fmla="*/ 191863 w 329616"/>
                <a:gd name="connsiteY7" fmla="*/ 397764 h 397763"/>
                <a:gd name="connsiteX8" fmla="*/ 136608 w 329616"/>
                <a:gd name="connsiteY8" fmla="*/ 39776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616" h="397763">
                  <a:moveTo>
                    <a:pt x="136608" y="397764"/>
                  </a:moveTo>
                  <a:lnTo>
                    <a:pt x="136608" y="48133"/>
                  </a:lnTo>
                  <a:lnTo>
                    <a:pt x="0" y="48133"/>
                  </a:lnTo>
                  <a:lnTo>
                    <a:pt x="0" y="0"/>
                  </a:lnTo>
                  <a:lnTo>
                    <a:pt x="329617" y="0"/>
                  </a:lnTo>
                  <a:lnTo>
                    <a:pt x="329617" y="48133"/>
                  </a:lnTo>
                  <a:lnTo>
                    <a:pt x="191863" y="48133"/>
                  </a:lnTo>
                  <a:lnTo>
                    <a:pt x="191863" y="397764"/>
                  </a:lnTo>
                  <a:lnTo>
                    <a:pt x="136608" y="397764"/>
                  </a:lnTo>
                  <a:close/>
                </a:path>
              </a:pathLst>
            </a:custGeom>
            <a:solidFill>
              <a:srgbClr val="1D4966"/>
            </a:solidFill>
            <a:ln w="0" cap="flat">
              <a:noFill/>
              <a:prstDash val="solid"/>
              <a:miter/>
            </a:ln>
          </p:spPr>
          <p:txBody>
            <a:bodyPr rtlCol="0" anchor="ctr"/>
            <a:lstStyle/>
            <a:p>
              <a:endParaRPr lang="en-AD" sz="2400"/>
            </a:p>
          </p:txBody>
        </p:sp>
        <p:sp>
          <p:nvSpPr>
            <p:cNvPr id="325" name="Freeform 324">
              <a:extLst>
                <a:ext uri="{FF2B5EF4-FFF2-40B4-BE49-F238E27FC236}">
                  <a16:creationId xmlns:a16="http://schemas.microsoft.com/office/drawing/2014/main" id="{18DBE8C7-492E-0402-D8C3-404C2127CC26}"/>
                </a:ext>
              </a:extLst>
            </p:cNvPr>
            <p:cNvSpPr/>
            <p:nvPr/>
          </p:nvSpPr>
          <p:spPr>
            <a:xfrm>
              <a:off x="3316043" y="989330"/>
              <a:ext cx="294478" cy="411861"/>
            </a:xfrm>
            <a:custGeom>
              <a:avLst/>
              <a:gdLst>
                <a:gd name="connsiteX0" fmla="*/ 148831 w 294478"/>
                <a:gd name="connsiteY0" fmla="*/ 411861 h 411861"/>
                <a:gd name="connsiteX1" fmla="*/ 66840 w 294478"/>
                <a:gd name="connsiteY1" fmla="*/ 396748 h 411861"/>
                <a:gd name="connsiteX2" fmla="*/ 16806 w 294478"/>
                <a:gd name="connsiteY2" fmla="*/ 354965 h 411861"/>
                <a:gd name="connsiteX3" fmla="*/ 0 w 294478"/>
                <a:gd name="connsiteY3" fmla="*/ 293497 h 411861"/>
                <a:gd name="connsiteX4" fmla="*/ 0 w 294478"/>
                <a:gd name="connsiteY4" fmla="*/ 283591 h 411861"/>
                <a:gd name="connsiteX5" fmla="*/ 78426 w 294478"/>
                <a:gd name="connsiteY5" fmla="*/ 283591 h 411861"/>
                <a:gd name="connsiteX6" fmla="*/ 78426 w 294478"/>
                <a:gd name="connsiteY6" fmla="*/ 294640 h 411861"/>
                <a:gd name="connsiteX7" fmla="*/ 95613 w 294478"/>
                <a:gd name="connsiteY7" fmla="*/ 334645 h 411861"/>
                <a:gd name="connsiteX8" fmla="*/ 145266 w 294478"/>
                <a:gd name="connsiteY8" fmla="*/ 349123 h 411861"/>
                <a:gd name="connsiteX9" fmla="*/ 194154 w 294478"/>
                <a:gd name="connsiteY9" fmla="*/ 334645 h 411861"/>
                <a:gd name="connsiteX10" fmla="*/ 211596 w 294478"/>
                <a:gd name="connsiteY10" fmla="*/ 289941 h 411861"/>
                <a:gd name="connsiteX11" fmla="*/ 202302 w 294478"/>
                <a:gd name="connsiteY11" fmla="*/ 255143 h 411861"/>
                <a:gd name="connsiteX12" fmla="*/ 178240 w 294478"/>
                <a:gd name="connsiteY12" fmla="*/ 237744 h 411861"/>
                <a:gd name="connsiteX13" fmla="*/ 146030 w 294478"/>
                <a:gd name="connsiteY13" fmla="*/ 232537 h 411861"/>
                <a:gd name="connsiteX14" fmla="*/ 110636 w 294478"/>
                <a:gd name="connsiteY14" fmla="*/ 232537 h 411861"/>
                <a:gd name="connsiteX15" fmla="*/ 110636 w 294478"/>
                <a:gd name="connsiteY15" fmla="*/ 171704 h 411861"/>
                <a:gd name="connsiteX16" fmla="*/ 145520 w 294478"/>
                <a:gd name="connsiteY16" fmla="*/ 171704 h 411861"/>
                <a:gd name="connsiteX17" fmla="*/ 174930 w 294478"/>
                <a:gd name="connsiteY17" fmla="*/ 165608 h 411861"/>
                <a:gd name="connsiteX18" fmla="*/ 195810 w 294478"/>
                <a:gd name="connsiteY18" fmla="*/ 147320 h 411861"/>
                <a:gd name="connsiteX19" fmla="*/ 203703 w 294478"/>
                <a:gd name="connsiteY19" fmla="*/ 115951 h 411861"/>
                <a:gd name="connsiteX20" fmla="*/ 196446 w 294478"/>
                <a:gd name="connsiteY20" fmla="*/ 86106 h 411861"/>
                <a:gd name="connsiteX21" fmla="*/ 176076 w 294478"/>
                <a:gd name="connsiteY21" fmla="*/ 68453 h 411861"/>
                <a:gd name="connsiteX22" fmla="*/ 146157 w 294478"/>
                <a:gd name="connsiteY22" fmla="*/ 62611 h 411861"/>
                <a:gd name="connsiteX23" fmla="*/ 115601 w 294478"/>
                <a:gd name="connsiteY23" fmla="*/ 68453 h 411861"/>
                <a:gd name="connsiteX24" fmla="*/ 94340 w 294478"/>
                <a:gd name="connsiteY24" fmla="*/ 85852 h 411861"/>
                <a:gd name="connsiteX25" fmla="*/ 86828 w 294478"/>
                <a:gd name="connsiteY25" fmla="*/ 114808 h 411861"/>
                <a:gd name="connsiteX26" fmla="*/ 86828 w 294478"/>
                <a:gd name="connsiteY26" fmla="*/ 123444 h 411861"/>
                <a:gd name="connsiteX27" fmla="*/ 9549 w 294478"/>
                <a:gd name="connsiteY27" fmla="*/ 123444 h 411861"/>
                <a:gd name="connsiteX28" fmla="*/ 9549 w 294478"/>
                <a:gd name="connsiteY28" fmla="*/ 108966 h 411861"/>
                <a:gd name="connsiteX29" fmla="*/ 26736 w 294478"/>
                <a:gd name="connsiteY29" fmla="*/ 51816 h 411861"/>
                <a:gd name="connsiteX30" fmla="*/ 75243 w 294478"/>
                <a:gd name="connsiteY30" fmla="*/ 13589 h 411861"/>
                <a:gd name="connsiteX31" fmla="*/ 147939 w 294478"/>
                <a:gd name="connsiteY31" fmla="*/ 0 h 411861"/>
                <a:gd name="connsiteX32" fmla="*/ 220254 w 294478"/>
                <a:gd name="connsiteY32" fmla="*/ 12700 h 411861"/>
                <a:gd name="connsiteX33" fmla="*/ 268506 w 294478"/>
                <a:gd name="connsiteY33" fmla="*/ 50038 h 411861"/>
                <a:gd name="connsiteX34" fmla="*/ 285693 w 294478"/>
                <a:gd name="connsiteY34" fmla="*/ 108331 h 411861"/>
                <a:gd name="connsiteX35" fmla="*/ 277291 w 294478"/>
                <a:gd name="connsiteY35" fmla="*/ 148336 h 411861"/>
                <a:gd name="connsiteX36" fmla="*/ 254883 w 294478"/>
                <a:gd name="connsiteY36" fmla="*/ 177673 h 411861"/>
                <a:gd name="connsiteX37" fmla="*/ 222927 w 294478"/>
                <a:gd name="connsiteY37" fmla="*/ 197739 h 411861"/>
                <a:gd name="connsiteX38" fmla="*/ 222927 w 294478"/>
                <a:gd name="connsiteY38" fmla="*/ 200025 h 411861"/>
                <a:gd name="connsiteX39" fmla="*/ 274362 w 294478"/>
                <a:gd name="connsiteY39" fmla="*/ 233934 h 411861"/>
                <a:gd name="connsiteX40" fmla="*/ 294478 w 294478"/>
                <a:gd name="connsiteY40" fmla="*/ 297434 h 411861"/>
                <a:gd name="connsiteX41" fmla="*/ 276145 w 294478"/>
                <a:gd name="connsiteY41" fmla="*/ 357759 h 411861"/>
                <a:gd name="connsiteX42" fmla="*/ 225856 w 294478"/>
                <a:gd name="connsiteY42" fmla="*/ 397510 h 411861"/>
                <a:gd name="connsiteX43" fmla="*/ 149085 w 294478"/>
                <a:gd name="connsiteY43" fmla="*/ 411734 h 41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94478" h="411861">
                  <a:moveTo>
                    <a:pt x="148831" y="411861"/>
                  </a:moveTo>
                  <a:cubicBezTo>
                    <a:pt x="116238" y="411861"/>
                    <a:pt x="88993" y="406781"/>
                    <a:pt x="66840" y="396748"/>
                  </a:cubicBezTo>
                  <a:cubicBezTo>
                    <a:pt x="44687" y="386715"/>
                    <a:pt x="28136" y="372745"/>
                    <a:pt x="16806" y="354965"/>
                  </a:cubicBezTo>
                  <a:cubicBezTo>
                    <a:pt x="5602" y="337185"/>
                    <a:pt x="0" y="316738"/>
                    <a:pt x="0" y="293497"/>
                  </a:cubicBezTo>
                  <a:lnTo>
                    <a:pt x="0" y="283591"/>
                  </a:lnTo>
                  <a:lnTo>
                    <a:pt x="78426" y="283591"/>
                  </a:lnTo>
                  <a:lnTo>
                    <a:pt x="78426" y="294640"/>
                  </a:lnTo>
                  <a:cubicBezTo>
                    <a:pt x="78426" y="311658"/>
                    <a:pt x="84155" y="324993"/>
                    <a:pt x="95613" y="334645"/>
                  </a:cubicBezTo>
                  <a:cubicBezTo>
                    <a:pt x="107071" y="344297"/>
                    <a:pt x="123622" y="349123"/>
                    <a:pt x="145266" y="349123"/>
                  </a:cubicBezTo>
                  <a:cubicBezTo>
                    <a:pt x="166909" y="349123"/>
                    <a:pt x="182441" y="344297"/>
                    <a:pt x="194154" y="334645"/>
                  </a:cubicBezTo>
                  <a:cubicBezTo>
                    <a:pt x="205740" y="324993"/>
                    <a:pt x="211596" y="310134"/>
                    <a:pt x="211596" y="289941"/>
                  </a:cubicBezTo>
                  <a:cubicBezTo>
                    <a:pt x="211596" y="274828"/>
                    <a:pt x="208541" y="263271"/>
                    <a:pt x="202302" y="255143"/>
                  </a:cubicBezTo>
                  <a:cubicBezTo>
                    <a:pt x="196064" y="247015"/>
                    <a:pt x="188043" y="241173"/>
                    <a:pt x="178240" y="237744"/>
                  </a:cubicBezTo>
                  <a:cubicBezTo>
                    <a:pt x="168310" y="234315"/>
                    <a:pt x="157615" y="232537"/>
                    <a:pt x="146030" y="232537"/>
                  </a:cubicBezTo>
                  <a:lnTo>
                    <a:pt x="110636" y="232537"/>
                  </a:lnTo>
                  <a:lnTo>
                    <a:pt x="110636" y="171704"/>
                  </a:lnTo>
                  <a:lnTo>
                    <a:pt x="145520" y="171704"/>
                  </a:lnTo>
                  <a:cubicBezTo>
                    <a:pt x="156342" y="171704"/>
                    <a:pt x="166145" y="169672"/>
                    <a:pt x="174930" y="165608"/>
                  </a:cubicBezTo>
                  <a:cubicBezTo>
                    <a:pt x="183715" y="161544"/>
                    <a:pt x="190590" y="155448"/>
                    <a:pt x="195810" y="147320"/>
                  </a:cubicBezTo>
                  <a:cubicBezTo>
                    <a:pt x="201029" y="139192"/>
                    <a:pt x="203703" y="128778"/>
                    <a:pt x="203703" y="115951"/>
                  </a:cubicBezTo>
                  <a:cubicBezTo>
                    <a:pt x="203703" y="104013"/>
                    <a:pt x="201284" y="93980"/>
                    <a:pt x="196446" y="86106"/>
                  </a:cubicBezTo>
                  <a:cubicBezTo>
                    <a:pt x="191608" y="78232"/>
                    <a:pt x="184860" y="72263"/>
                    <a:pt x="176076" y="68453"/>
                  </a:cubicBezTo>
                  <a:cubicBezTo>
                    <a:pt x="167291" y="64643"/>
                    <a:pt x="157360" y="62611"/>
                    <a:pt x="146157" y="62611"/>
                  </a:cubicBezTo>
                  <a:cubicBezTo>
                    <a:pt x="134953" y="62611"/>
                    <a:pt x="124768" y="64516"/>
                    <a:pt x="115601" y="68453"/>
                  </a:cubicBezTo>
                  <a:cubicBezTo>
                    <a:pt x="106435" y="72263"/>
                    <a:pt x="99432" y="78105"/>
                    <a:pt x="94340" y="85852"/>
                  </a:cubicBezTo>
                  <a:cubicBezTo>
                    <a:pt x="89247" y="93599"/>
                    <a:pt x="86828" y="103251"/>
                    <a:pt x="86828" y="114808"/>
                  </a:cubicBezTo>
                  <a:lnTo>
                    <a:pt x="86828" y="123444"/>
                  </a:lnTo>
                  <a:lnTo>
                    <a:pt x="9549" y="123444"/>
                  </a:lnTo>
                  <a:lnTo>
                    <a:pt x="9549" y="108966"/>
                  </a:lnTo>
                  <a:cubicBezTo>
                    <a:pt x="9549" y="87376"/>
                    <a:pt x="15277" y="68326"/>
                    <a:pt x="26736" y="51816"/>
                  </a:cubicBezTo>
                  <a:cubicBezTo>
                    <a:pt x="38194" y="35433"/>
                    <a:pt x="54363" y="22606"/>
                    <a:pt x="75243" y="13589"/>
                  </a:cubicBezTo>
                  <a:cubicBezTo>
                    <a:pt x="96122" y="4572"/>
                    <a:pt x="120439" y="0"/>
                    <a:pt x="147939" y="0"/>
                  </a:cubicBezTo>
                  <a:cubicBezTo>
                    <a:pt x="175439" y="0"/>
                    <a:pt x="199629" y="4318"/>
                    <a:pt x="220254" y="12700"/>
                  </a:cubicBezTo>
                  <a:cubicBezTo>
                    <a:pt x="241006" y="21209"/>
                    <a:pt x="257048" y="33655"/>
                    <a:pt x="268506" y="50038"/>
                  </a:cubicBezTo>
                  <a:cubicBezTo>
                    <a:pt x="279964" y="66421"/>
                    <a:pt x="285693" y="85852"/>
                    <a:pt x="285693" y="108331"/>
                  </a:cubicBezTo>
                  <a:cubicBezTo>
                    <a:pt x="285693" y="123444"/>
                    <a:pt x="282893" y="136779"/>
                    <a:pt x="277291" y="148336"/>
                  </a:cubicBezTo>
                  <a:cubicBezTo>
                    <a:pt x="271689" y="159893"/>
                    <a:pt x="264177" y="169672"/>
                    <a:pt x="254883" y="177673"/>
                  </a:cubicBezTo>
                  <a:cubicBezTo>
                    <a:pt x="245590" y="185547"/>
                    <a:pt x="234895" y="192278"/>
                    <a:pt x="222927" y="197739"/>
                  </a:cubicBezTo>
                  <a:lnTo>
                    <a:pt x="222927" y="200025"/>
                  </a:lnTo>
                  <a:cubicBezTo>
                    <a:pt x="243807" y="206248"/>
                    <a:pt x="260994" y="217551"/>
                    <a:pt x="274362" y="233934"/>
                  </a:cubicBezTo>
                  <a:cubicBezTo>
                    <a:pt x="287731" y="250317"/>
                    <a:pt x="294478" y="271526"/>
                    <a:pt x="294478" y="297434"/>
                  </a:cubicBezTo>
                  <a:cubicBezTo>
                    <a:pt x="294096" y="320675"/>
                    <a:pt x="287985" y="340741"/>
                    <a:pt x="276145" y="357759"/>
                  </a:cubicBezTo>
                  <a:cubicBezTo>
                    <a:pt x="264304" y="374777"/>
                    <a:pt x="247626" y="387985"/>
                    <a:pt x="225856" y="397510"/>
                  </a:cubicBezTo>
                  <a:cubicBezTo>
                    <a:pt x="204085" y="407035"/>
                    <a:pt x="178622" y="411734"/>
                    <a:pt x="149085" y="411734"/>
                  </a:cubicBezTo>
                  <a:close/>
                </a:path>
              </a:pathLst>
            </a:custGeom>
            <a:solidFill>
              <a:srgbClr val="E5834B"/>
            </a:solidFill>
            <a:ln w="0" cap="flat">
              <a:noFill/>
              <a:prstDash val="solid"/>
              <a:miter/>
            </a:ln>
          </p:spPr>
          <p:txBody>
            <a:bodyPr rtlCol="0" anchor="ctr"/>
            <a:lstStyle/>
            <a:p>
              <a:endParaRPr lang="en-AD" sz="2400"/>
            </a:p>
          </p:txBody>
        </p:sp>
        <p:sp>
          <p:nvSpPr>
            <p:cNvPr id="326" name="Freeform 325">
              <a:extLst>
                <a:ext uri="{FF2B5EF4-FFF2-40B4-BE49-F238E27FC236}">
                  <a16:creationId xmlns:a16="http://schemas.microsoft.com/office/drawing/2014/main" id="{B40BD685-1775-9B86-AC5B-176AE2A5979C}"/>
                </a:ext>
              </a:extLst>
            </p:cNvPr>
            <p:cNvSpPr/>
            <p:nvPr/>
          </p:nvSpPr>
          <p:spPr>
            <a:xfrm>
              <a:off x="3681053" y="996441"/>
              <a:ext cx="363991" cy="397763"/>
            </a:xfrm>
            <a:custGeom>
              <a:avLst/>
              <a:gdLst>
                <a:gd name="connsiteX0" fmla="*/ 0 w 363991"/>
                <a:gd name="connsiteY0" fmla="*/ 397764 h 397763"/>
                <a:gd name="connsiteX1" fmla="*/ 0 w 363991"/>
                <a:gd name="connsiteY1" fmla="*/ 0 h 397763"/>
                <a:gd name="connsiteX2" fmla="*/ 218599 w 363991"/>
                <a:gd name="connsiteY2" fmla="*/ 0 h 397763"/>
                <a:gd name="connsiteX3" fmla="*/ 292187 w 363991"/>
                <a:gd name="connsiteY3" fmla="*/ 15621 h 397763"/>
                <a:gd name="connsiteX4" fmla="*/ 336110 w 363991"/>
                <a:gd name="connsiteY4" fmla="*/ 59436 h 397763"/>
                <a:gd name="connsiteX5" fmla="*/ 350624 w 363991"/>
                <a:gd name="connsiteY5" fmla="*/ 124079 h 397763"/>
                <a:gd name="connsiteX6" fmla="*/ 333182 w 363991"/>
                <a:gd name="connsiteY6" fmla="*/ 192786 h 397763"/>
                <a:gd name="connsiteX7" fmla="*/ 282638 w 363991"/>
                <a:gd name="connsiteY7" fmla="*/ 238252 h 397763"/>
                <a:gd name="connsiteX8" fmla="*/ 363992 w 363991"/>
                <a:gd name="connsiteY8" fmla="*/ 397764 h 397763"/>
                <a:gd name="connsiteX9" fmla="*/ 268124 w 363991"/>
                <a:gd name="connsiteY9" fmla="*/ 397764 h 397763"/>
                <a:gd name="connsiteX10" fmla="*/ 197847 w 363991"/>
                <a:gd name="connsiteY10" fmla="*/ 252857 h 397763"/>
                <a:gd name="connsiteX11" fmla="*/ 86828 w 363991"/>
                <a:gd name="connsiteY11" fmla="*/ 252857 h 397763"/>
                <a:gd name="connsiteX12" fmla="*/ 86828 w 363991"/>
                <a:gd name="connsiteY12" fmla="*/ 397764 h 397763"/>
                <a:gd name="connsiteX13" fmla="*/ 255 w 363991"/>
                <a:gd name="connsiteY13" fmla="*/ 397764 h 397763"/>
                <a:gd name="connsiteX14" fmla="*/ 86701 w 363991"/>
                <a:gd name="connsiteY14" fmla="*/ 184404 h 397763"/>
                <a:gd name="connsiteX15" fmla="*/ 207013 w 363991"/>
                <a:gd name="connsiteY15" fmla="*/ 184404 h 397763"/>
                <a:gd name="connsiteX16" fmla="*/ 247754 w 363991"/>
                <a:gd name="connsiteY16" fmla="*/ 168402 h 397763"/>
                <a:gd name="connsiteX17" fmla="*/ 262268 w 363991"/>
                <a:gd name="connsiteY17" fmla="*/ 125222 h 397763"/>
                <a:gd name="connsiteX18" fmla="*/ 255902 w 363991"/>
                <a:gd name="connsiteY18" fmla="*/ 95377 h 397763"/>
                <a:gd name="connsiteX19" fmla="*/ 237314 w 363991"/>
                <a:gd name="connsiteY19" fmla="*/ 76581 h 397763"/>
                <a:gd name="connsiteX20" fmla="*/ 207141 w 363991"/>
                <a:gd name="connsiteY20" fmla="*/ 70231 h 397763"/>
                <a:gd name="connsiteX21" fmla="*/ 86828 w 363991"/>
                <a:gd name="connsiteY21" fmla="*/ 70231 h 397763"/>
                <a:gd name="connsiteX22" fmla="*/ 86828 w 363991"/>
                <a:gd name="connsiteY22" fmla="*/ 184404 h 3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3991" h="397763">
                  <a:moveTo>
                    <a:pt x="0" y="397764"/>
                  </a:moveTo>
                  <a:lnTo>
                    <a:pt x="0" y="0"/>
                  </a:lnTo>
                  <a:lnTo>
                    <a:pt x="218599" y="0"/>
                  </a:lnTo>
                  <a:cubicBezTo>
                    <a:pt x="248009" y="0"/>
                    <a:pt x="272580" y="5207"/>
                    <a:pt x="292187" y="15621"/>
                  </a:cubicBezTo>
                  <a:cubicBezTo>
                    <a:pt x="311793" y="26035"/>
                    <a:pt x="326434" y="40640"/>
                    <a:pt x="336110" y="59436"/>
                  </a:cubicBezTo>
                  <a:cubicBezTo>
                    <a:pt x="345786" y="78232"/>
                    <a:pt x="350624" y="99695"/>
                    <a:pt x="350624" y="124079"/>
                  </a:cubicBezTo>
                  <a:cubicBezTo>
                    <a:pt x="350624" y="149987"/>
                    <a:pt x="344768" y="172847"/>
                    <a:pt x="333182" y="192786"/>
                  </a:cubicBezTo>
                  <a:cubicBezTo>
                    <a:pt x="321596" y="212725"/>
                    <a:pt x="304664" y="227838"/>
                    <a:pt x="282638" y="238252"/>
                  </a:cubicBezTo>
                  <a:lnTo>
                    <a:pt x="363992" y="397764"/>
                  </a:lnTo>
                  <a:lnTo>
                    <a:pt x="268124" y="397764"/>
                  </a:lnTo>
                  <a:lnTo>
                    <a:pt x="197847" y="252857"/>
                  </a:lnTo>
                  <a:lnTo>
                    <a:pt x="86828" y="252857"/>
                  </a:lnTo>
                  <a:lnTo>
                    <a:pt x="86828" y="397764"/>
                  </a:lnTo>
                  <a:lnTo>
                    <a:pt x="255" y="397764"/>
                  </a:lnTo>
                  <a:close/>
                  <a:moveTo>
                    <a:pt x="86701" y="184404"/>
                  </a:moveTo>
                  <a:lnTo>
                    <a:pt x="207013" y="184404"/>
                  </a:lnTo>
                  <a:cubicBezTo>
                    <a:pt x="224455" y="184404"/>
                    <a:pt x="237951" y="179070"/>
                    <a:pt x="247754" y="168402"/>
                  </a:cubicBezTo>
                  <a:cubicBezTo>
                    <a:pt x="257430" y="157734"/>
                    <a:pt x="262268" y="143383"/>
                    <a:pt x="262268" y="125222"/>
                  </a:cubicBezTo>
                  <a:cubicBezTo>
                    <a:pt x="262268" y="113665"/>
                    <a:pt x="260104" y="103632"/>
                    <a:pt x="255902" y="95377"/>
                  </a:cubicBezTo>
                  <a:cubicBezTo>
                    <a:pt x="251573" y="87122"/>
                    <a:pt x="245462" y="80772"/>
                    <a:pt x="237314" y="76581"/>
                  </a:cubicBezTo>
                  <a:cubicBezTo>
                    <a:pt x="229166" y="72390"/>
                    <a:pt x="219108" y="70231"/>
                    <a:pt x="207141" y="70231"/>
                  </a:cubicBezTo>
                  <a:lnTo>
                    <a:pt x="86828" y="70231"/>
                  </a:lnTo>
                  <a:lnTo>
                    <a:pt x="86828" y="184404"/>
                  </a:lnTo>
                  <a:close/>
                </a:path>
              </a:pathLst>
            </a:custGeom>
            <a:solidFill>
              <a:srgbClr val="E5834B"/>
            </a:solidFill>
            <a:ln w="0" cap="flat">
              <a:noFill/>
              <a:prstDash val="solid"/>
              <a:miter/>
            </a:ln>
          </p:spPr>
          <p:txBody>
            <a:bodyPr rtlCol="0" anchor="ctr"/>
            <a:lstStyle/>
            <a:p>
              <a:endParaRPr lang="en-AD" sz="2400"/>
            </a:p>
          </p:txBody>
        </p:sp>
      </p:grpSp>
      <p:grpSp>
        <p:nvGrpSpPr>
          <p:cNvPr id="636" name="Group 635">
            <a:extLst>
              <a:ext uri="{FF2B5EF4-FFF2-40B4-BE49-F238E27FC236}">
                <a16:creationId xmlns:a16="http://schemas.microsoft.com/office/drawing/2014/main" id="{81019B17-8E4F-2D71-A678-DFE86AE47909}"/>
              </a:ext>
            </a:extLst>
          </p:cNvPr>
          <p:cNvGrpSpPr/>
          <p:nvPr userDrawn="1"/>
        </p:nvGrpSpPr>
        <p:grpSpPr>
          <a:xfrm>
            <a:off x="1335119" y="1182792"/>
            <a:ext cx="1085908" cy="821904"/>
            <a:chOff x="1001339" y="887094"/>
            <a:chExt cx="814431" cy="616428"/>
          </a:xfrm>
        </p:grpSpPr>
        <p:sp>
          <p:nvSpPr>
            <p:cNvPr id="327" name="Freeform 326">
              <a:extLst>
                <a:ext uri="{FF2B5EF4-FFF2-40B4-BE49-F238E27FC236}">
                  <a16:creationId xmlns:a16="http://schemas.microsoft.com/office/drawing/2014/main" id="{3AF7600D-93E6-D227-CE90-CDF1A878CEFC}"/>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28" name="Freeform 327">
              <a:extLst>
                <a:ext uri="{FF2B5EF4-FFF2-40B4-BE49-F238E27FC236}">
                  <a16:creationId xmlns:a16="http://schemas.microsoft.com/office/drawing/2014/main" id="{CF2B917A-3DB1-30D3-6162-F71967C023B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9" name="Freeform 328">
              <a:extLst>
                <a:ext uri="{FF2B5EF4-FFF2-40B4-BE49-F238E27FC236}">
                  <a16:creationId xmlns:a16="http://schemas.microsoft.com/office/drawing/2014/main" id="{28E90941-F8A1-8792-9B99-DB0C1F37303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412" name="Freeform 411">
            <a:extLst>
              <a:ext uri="{FF2B5EF4-FFF2-40B4-BE49-F238E27FC236}">
                <a16:creationId xmlns:a16="http://schemas.microsoft.com/office/drawing/2014/main" id="{AA5B924F-15C1-0727-97B6-4EF1E3819CAA}"/>
              </a:ext>
            </a:extLst>
          </p:cNvPr>
          <p:cNvSpPr/>
          <p:nvPr/>
        </p:nvSpPr>
        <p:spPr>
          <a:xfrm>
            <a:off x="8011331" y="6078024"/>
            <a:ext cx="16975" cy="600000"/>
          </a:xfrm>
          <a:custGeom>
            <a:avLst/>
            <a:gdLst>
              <a:gd name="connsiteX0" fmla="*/ 0 w 12731"/>
              <a:gd name="connsiteY0" fmla="*/ 0 h 360044"/>
              <a:gd name="connsiteX1" fmla="*/ 0 w 12731"/>
              <a:gd name="connsiteY1" fmla="*/ 360045 h 360044"/>
            </a:gdLst>
            <a:ahLst/>
            <a:cxnLst>
              <a:cxn ang="0">
                <a:pos x="connsiteX0" y="connsiteY0"/>
              </a:cxn>
              <a:cxn ang="0">
                <a:pos x="connsiteX1" y="connsiteY1"/>
              </a:cxn>
            </a:cxnLst>
            <a:rect l="l" t="t" r="r" b="b"/>
            <a:pathLst>
              <a:path w="12731" h="360044">
                <a:moveTo>
                  <a:pt x="0" y="0"/>
                </a:moveTo>
                <a:lnTo>
                  <a:pt x="0" y="360045"/>
                </a:lnTo>
              </a:path>
            </a:pathLst>
          </a:custGeom>
          <a:ln w="6350" cap="flat">
            <a:solidFill>
              <a:srgbClr val="FFFFFF"/>
            </a:solidFill>
            <a:prstDash val="solid"/>
            <a:miter/>
          </a:ln>
        </p:spPr>
        <p:txBody>
          <a:bodyPr rtlCol="0" anchor="ctr"/>
          <a:lstStyle/>
          <a:p>
            <a:endParaRPr lang="en-AD" sz="2400"/>
          </a:p>
        </p:txBody>
      </p:sp>
      <p:grpSp>
        <p:nvGrpSpPr>
          <p:cNvPr id="625" name="Group 624">
            <a:extLst>
              <a:ext uri="{FF2B5EF4-FFF2-40B4-BE49-F238E27FC236}">
                <a16:creationId xmlns:a16="http://schemas.microsoft.com/office/drawing/2014/main" id="{29F6EE5A-7C58-1F3C-8A2D-E05FC86B86E7}"/>
              </a:ext>
            </a:extLst>
          </p:cNvPr>
          <p:cNvGrpSpPr/>
          <p:nvPr userDrawn="1"/>
        </p:nvGrpSpPr>
        <p:grpSpPr>
          <a:xfrm>
            <a:off x="5856700" y="6268721"/>
            <a:ext cx="759131" cy="218777"/>
            <a:chOff x="4623944" y="4701540"/>
            <a:chExt cx="569348" cy="164083"/>
          </a:xfrm>
        </p:grpSpPr>
        <p:sp>
          <p:nvSpPr>
            <p:cNvPr id="413" name="Freeform 412">
              <a:extLst>
                <a:ext uri="{FF2B5EF4-FFF2-40B4-BE49-F238E27FC236}">
                  <a16:creationId xmlns:a16="http://schemas.microsoft.com/office/drawing/2014/main" id="{E16F5F9E-A0F9-98A2-DACB-C7F00224FACC}"/>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14" name="Freeform 413">
              <a:extLst>
                <a:ext uri="{FF2B5EF4-FFF2-40B4-BE49-F238E27FC236}">
                  <a16:creationId xmlns:a16="http://schemas.microsoft.com/office/drawing/2014/main" id="{A1954F35-B273-668E-EB91-7173C2360627}"/>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5" name="Freeform 414">
              <a:extLst>
                <a:ext uri="{FF2B5EF4-FFF2-40B4-BE49-F238E27FC236}">
                  <a16:creationId xmlns:a16="http://schemas.microsoft.com/office/drawing/2014/main" id="{36944E6A-EEFD-F1F0-0DEA-9812D32E5028}"/>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16" name="Freeform 415">
              <a:extLst>
                <a:ext uri="{FF2B5EF4-FFF2-40B4-BE49-F238E27FC236}">
                  <a16:creationId xmlns:a16="http://schemas.microsoft.com/office/drawing/2014/main" id="{AF593AD7-3361-8C88-DA16-650F3537AA2F}"/>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17" name="Freeform 416">
              <a:extLst>
                <a:ext uri="{FF2B5EF4-FFF2-40B4-BE49-F238E27FC236}">
                  <a16:creationId xmlns:a16="http://schemas.microsoft.com/office/drawing/2014/main" id="{97E65735-5296-94AF-F287-B7DEC36D781E}"/>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18" name="Freeform 417">
              <a:extLst>
                <a:ext uri="{FF2B5EF4-FFF2-40B4-BE49-F238E27FC236}">
                  <a16:creationId xmlns:a16="http://schemas.microsoft.com/office/drawing/2014/main" id="{4F0FF7D1-6491-8DC9-0881-6040AFDF96AC}"/>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19" name="Freeform 418">
              <a:extLst>
                <a:ext uri="{FF2B5EF4-FFF2-40B4-BE49-F238E27FC236}">
                  <a16:creationId xmlns:a16="http://schemas.microsoft.com/office/drawing/2014/main" id="{573BB900-2CD9-4839-F3C8-C6845576443E}"/>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0" name="Freeform 419">
              <a:extLst>
                <a:ext uri="{FF2B5EF4-FFF2-40B4-BE49-F238E27FC236}">
                  <a16:creationId xmlns:a16="http://schemas.microsoft.com/office/drawing/2014/main" id="{923A3248-7500-8D47-B3FE-88AA5DD2492B}"/>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21" name="Freeform 420">
              <a:extLst>
                <a:ext uri="{FF2B5EF4-FFF2-40B4-BE49-F238E27FC236}">
                  <a16:creationId xmlns:a16="http://schemas.microsoft.com/office/drawing/2014/main" id="{12055FF2-F92C-598E-8E0B-40C628908803}"/>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22" name="Freeform 421">
              <a:extLst>
                <a:ext uri="{FF2B5EF4-FFF2-40B4-BE49-F238E27FC236}">
                  <a16:creationId xmlns:a16="http://schemas.microsoft.com/office/drawing/2014/main" id="{E8035470-ED5D-89E0-B787-3B11C6330D10}"/>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23" name="Freeform 422">
              <a:extLst>
                <a:ext uri="{FF2B5EF4-FFF2-40B4-BE49-F238E27FC236}">
                  <a16:creationId xmlns:a16="http://schemas.microsoft.com/office/drawing/2014/main" id="{15DD76B3-0F68-C199-8226-7C7E7C40BC0E}"/>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4" name="Freeform 423">
              <a:extLst>
                <a:ext uri="{FF2B5EF4-FFF2-40B4-BE49-F238E27FC236}">
                  <a16:creationId xmlns:a16="http://schemas.microsoft.com/office/drawing/2014/main" id="{F7D2CE72-09EC-64E9-F9B1-DEF31D34B82D}"/>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425" name="Freeform 424">
              <a:extLst>
                <a:ext uri="{FF2B5EF4-FFF2-40B4-BE49-F238E27FC236}">
                  <a16:creationId xmlns:a16="http://schemas.microsoft.com/office/drawing/2014/main" id="{0B15DDFE-DA63-7C3D-E89A-6E80729BC113}"/>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26" name="Freeform 425">
              <a:extLst>
                <a:ext uri="{FF2B5EF4-FFF2-40B4-BE49-F238E27FC236}">
                  <a16:creationId xmlns:a16="http://schemas.microsoft.com/office/drawing/2014/main" id="{25DECE4D-4D48-6BD1-B6D2-DE19948D8B51}"/>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427" name="Freeform 426">
              <a:extLst>
                <a:ext uri="{FF2B5EF4-FFF2-40B4-BE49-F238E27FC236}">
                  <a16:creationId xmlns:a16="http://schemas.microsoft.com/office/drawing/2014/main" id="{BE831A77-53CE-A569-0082-104804760601}"/>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28" name="Freeform 427">
              <a:extLst>
                <a:ext uri="{FF2B5EF4-FFF2-40B4-BE49-F238E27FC236}">
                  <a16:creationId xmlns:a16="http://schemas.microsoft.com/office/drawing/2014/main" id="{485C12D5-0260-1008-A6B2-4A3773ED2C13}"/>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429" name="Freeform 428">
              <a:extLst>
                <a:ext uri="{FF2B5EF4-FFF2-40B4-BE49-F238E27FC236}">
                  <a16:creationId xmlns:a16="http://schemas.microsoft.com/office/drawing/2014/main" id="{8535D962-4007-E1EC-4822-751B2A11EEFD}"/>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0" name="Freeform 429">
              <a:extLst>
                <a:ext uri="{FF2B5EF4-FFF2-40B4-BE49-F238E27FC236}">
                  <a16:creationId xmlns:a16="http://schemas.microsoft.com/office/drawing/2014/main" id="{EB6B4938-7131-FEA9-F139-5044CE0F1897}"/>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31" name="Freeform 430">
              <a:extLst>
                <a:ext uri="{FF2B5EF4-FFF2-40B4-BE49-F238E27FC236}">
                  <a16:creationId xmlns:a16="http://schemas.microsoft.com/office/drawing/2014/main" id="{3A03482E-CE97-4DC3-4DB3-01117528FD2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432" name="Freeform 431">
              <a:extLst>
                <a:ext uri="{FF2B5EF4-FFF2-40B4-BE49-F238E27FC236}">
                  <a16:creationId xmlns:a16="http://schemas.microsoft.com/office/drawing/2014/main" id="{88133DFB-CE3D-E7BE-2CC4-F532A28152B2}"/>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3" name="Freeform 432">
              <a:extLst>
                <a:ext uri="{FF2B5EF4-FFF2-40B4-BE49-F238E27FC236}">
                  <a16:creationId xmlns:a16="http://schemas.microsoft.com/office/drawing/2014/main" id="{6BA3B91F-A81B-AC01-EA04-0D49E8A4DE1A}"/>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434" name="Freeform 433">
              <a:extLst>
                <a:ext uri="{FF2B5EF4-FFF2-40B4-BE49-F238E27FC236}">
                  <a16:creationId xmlns:a16="http://schemas.microsoft.com/office/drawing/2014/main" id="{C118CA84-C02E-1300-35D7-BAC6655ACFCA}"/>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435" name="Freeform 434">
              <a:extLst>
                <a:ext uri="{FF2B5EF4-FFF2-40B4-BE49-F238E27FC236}">
                  <a16:creationId xmlns:a16="http://schemas.microsoft.com/office/drawing/2014/main" id="{B95DADA4-4101-66E6-8B53-5AC2FFC50F0E}"/>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436" name="Freeform 435">
              <a:extLst>
                <a:ext uri="{FF2B5EF4-FFF2-40B4-BE49-F238E27FC236}">
                  <a16:creationId xmlns:a16="http://schemas.microsoft.com/office/drawing/2014/main" id="{629A3B55-8B1A-ED5C-6608-ECDE33CEBB76}"/>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437" name="Freeform 436">
              <a:extLst>
                <a:ext uri="{FF2B5EF4-FFF2-40B4-BE49-F238E27FC236}">
                  <a16:creationId xmlns:a16="http://schemas.microsoft.com/office/drawing/2014/main" id="{48507C3F-53CD-FBEA-FBF6-BAEE5720DC27}"/>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38" name="Freeform 437">
              <a:extLst>
                <a:ext uri="{FF2B5EF4-FFF2-40B4-BE49-F238E27FC236}">
                  <a16:creationId xmlns:a16="http://schemas.microsoft.com/office/drawing/2014/main" id="{8101FFF9-0E7E-89F5-2394-491E2AABAEA9}"/>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439" name="Freeform 438">
              <a:extLst>
                <a:ext uri="{FF2B5EF4-FFF2-40B4-BE49-F238E27FC236}">
                  <a16:creationId xmlns:a16="http://schemas.microsoft.com/office/drawing/2014/main" id="{2FD743FE-A8E3-163A-51D6-51A145436606}"/>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0" name="Freeform 439">
              <a:extLst>
                <a:ext uri="{FF2B5EF4-FFF2-40B4-BE49-F238E27FC236}">
                  <a16:creationId xmlns:a16="http://schemas.microsoft.com/office/drawing/2014/main" id="{5E32916C-5418-7EE9-AC93-32F0A6FA300B}"/>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1" name="Freeform 440">
              <a:extLst>
                <a:ext uri="{FF2B5EF4-FFF2-40B4-BE49-F238E27FC236}">
                  <a16:creationId xmlns:a16="http://schemas.microsoft.com/office/drawing/2014/main" id="{B1AD730B-F9DC-87BE-63A4-AACF91B65786}"/>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442" name="Freeform 441">
              <a:extLst>
                <a:ext uri="{FF2B5EF4-FFF2-40B4-BE49-F238E27FC236}">
                  <a16:creationId xmlns:a16="http://schemas.microsoft.com/office/drawing/2014/main" id="{790FAE98-21B8-AD1F-52AF-37D5ACC94DED}"/>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624" name="Group 623">
            <a:extLst>
              <a:ext uri="{FF2B5EF4-FFF2-40B4-BE49-F238E27FC236}">
                <a16:creationId xmlns:a16="http://schemas.microsoft.com/office/drawing/2014/main" id="{C0BB6A84-0DDE-D684-6E18-9512D5D1541A}"/>
              </a:ext>
            </a:extLst>
          </p:cNvPr>
          <p:cNvGrpSpPr/>
          <p:nvPr userDrawn="1"/>
        </p:nvGrpSpPr>
        <p:grpSpPr>
          <a:xfrm>
            <a:off x="6788198" y="6277355"/>
            <a:ext cx="1050767" cy="212344"/>
            <a:chOff x="5361094" y="4708016"/>
            <a:chExt cx="788075" cy="159258"/>
          </a:xfrm>
        </p:grpSpPr>
        <p:sp>
          <p:nvSpPr>
            <p:cNvPr id="443" name="Freeform 442">
              <a:extLst>
                <a:ext uri="{FF2B5EF4-FFF2-40B4-BE49-F238E27FC236}">
                  <a16:creationId xmlns:a16="http://schemas.microsoft.com/office/drawing/2014/main" id="{B07F029A-5550-5C0D-C862-5B721997EB31}"/>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444" name="Freeform 443">
              <a:extLst>
                <a:ext uri="{FF2B5EF4-FFF2-40B4-BE49-F238E27FC236}">
                  <a16:creationId xmlns:a16="http://schemas.microsoft.com/office/drawing/2014/main" id="{2D79B81E-CA2C-809F-B77D-7A767FDC5CF1}"/>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445" name="Freeform 444">
              <a:extLst>
                <a:ext uri="{FF2B5EF4-FFF2-40B4-BE49-F238E27FC236}">
                  <a16:creationId xmlns:a16="http://schemas.microsoft.com/office/drawing/2014/main" id="{C7655916-C458-44E9-8A12-FE8C4BECCBFD}"/>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446" name="Freeform 445">
              <a:extLst>
                <a:ext uri="{FF2B5EF4-FFF2-40B4-BE49-F238E27FC236}">
                  <a16:creationId xmlns:a16="http://schemas.microsoft.com/office/drawing/2014/main" id="{F8966498-DE67-31BF-1923-33F01698BB01}"/>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447" name="Freeform 446">
              <a:extLst>
                <a:ext uri="{FF2B5EF4-FFF2-40B4-BE49-F238E27FC236}">
                  <a16:creationId xmlns:a16="http://schemas.microsoft.com/office/drawing/2014/main" id="{0AE0D475-EB9B-F2E9-4D0E-007EE8E3D961}"/>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448" name="Freeform 447">
              <a:extLst>
                <a:ext uri="{FF2B5EF4-FFF2-40B4-BE49-F238E27FC236}">
                  <a16:creationId xmlns:a16="http://schemas.microsoft.com/office/drawing/2014/main" id="{CB3DD1B6-18A2-67F5-F58F-5B45A460BD1E}"/>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49" name="Freeform 448">
              <a:extLst>
                <a:ext uri="{FF2B5EF4-FFF2-40B4-BE49-F238E27FC236}">
                  <a16:creationId xmlns:a16="http://schemas.microsoft.com/office/drawing/2014/main" id="{FF227921-CF5A-F19C-2BEA-4C8FEEB98805}"/>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50" name="Freeform 449">
              <a:extLst>
                <a:ext uri="{FF2B5EF4-FFF2-40B4-BE49-F238E27FC236}">
                  <a16:creationId xmlns:a16="http://schemas.microsoft.com/office/drawing/2014/main" id="{FB89C69C-EDE2-82F3-80BC-D9C4A0071DB6}"/>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1" name="Freeform 450">
              <a:extLst>
                <a:ext uri="{FF2B5EF4-FFF2-40B4-BE49-F238E27FC236}">
                  <a16:creationId xmlns:a16="http://schemas.microsoft.com/office/drawing/2014/main" id="{39A81081-C564-7D27-B25C-7DDC81F0FF13}"/>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52" name="Freeform 451">
              <a:extLst>
                <a:ext uri="{FF2B5EF4-FFF2-40B4-BE49-F238E27FC236}">
                  <a16:creationId xmlns:a16="http://schemas.microsoft.com/office/drawing/2014/main" id="{CB89EE33-5156-333F-202B-7ED0693CC9D4}"/>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453" name="Freeform 452">
              <a:extLst>
                <a:ext uri="{FF2B5EF4-FFF2-40B4-BE49-F238E27FC236}">
                  <a16:creationId xmlns:a16="http://schemas.microsoft.com/office/drawing/2014/main" id="{832C1C3A-AF9D-17E6-0662-FE99C3EEB74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454" name="Freeform 453">
              <a:extLst>
                <a:ext uri="{FF2B5EF4-FFF2-40B4-BE49-F238E27FC236}">
                  <a16:creationId xmlns:a16="http://schemas.microsoft.com/office/drawing/2014/main" id="{6C01D79A-0614-D463-1FA8-829E4DF4DA78}"/>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455" name="Freeform 454">
              <a:extLst>
                <a:ext uri="{FF2B5EF4-FFF2-40B4-BE49-F238E27FC236}">
                  <a16:creationId xmlns:a16="http://schemas.microsoft.com/office/drawing/2014/main" id="{ED2446D8-5F73-2CF9-9620-82B4C278DD7B}"/>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456" name="Freeform 455">
              <a:extLst>
                <a:ext uri="{FF2B5EF4-FFF2-40B4-BE49-F238E27FC236}">
                  <a16:creationId xmlns:a16="http://schemas.microsoft.com/office/drawing/2014/main" id="{36C01497-9250-0C58-4209-F9BD1F5C3A17}"/>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457" name="Freeform 456">
              <a:extLst>
                <a:ext uri="{FF2B5EF4-FFF2-40B4-BE49-F238E27FC236}">
                  <a16:creationId xmlns:a16="http://schemas.microsoft.com/office/drawing/2014/main" id="{25534696-368D-BC03-65C9-C788B2F88261}"/>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458" name="Freeform 457">
              <a:extLst>
                <a:ext uri="{FF2B5EF4-FFF2-40B4-BE49-F238E27FC236}">
                  <a16:creationId xmlns:a16="http://schemas.microsoft.com/office/drawing/2014/main" id="{B2B73DE0-3336-8746-7096-D3C04C1E7C1D}"/>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59" name="Freeform 458">
              <a:extLst>
                <a:ext uri="{FF2B5EF4-FFF2-40B4-BE49-F238E27FC236}">
                  <a16:creationId xmlns:a16="http://schemas.microsoft.com/office/drawing/2014/main" id="{C7A0C585-E987-A934-6C6C-3A5BC48A0A71}"/>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460" name="Freeform 459">
              <a:extLst>
                <a:ext uri="{FF2B5EF4-FFF2-40B4-BE49-F238E27FC236}">
                  <a16:creationId xmlns:a16="http://schemas.microsoft.com/office/drawing/2014/main" id="{B5DA167F-44DE-9170-DEFD-27E1A59D97FC}"/>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461" name="Freeform 460">
              <a:extLst>
                <a:ext uri="{FF2B5EF4-FFF2-40B4-BE49-F238E27FC236}">
                  <a16:creationId xmlns:a16="http://schemas.microsoft.com/office/drawing/2014/main" id="{1008D934-8613-23E4-0F85-C70378856712}"/>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462" name="Freeform 461">
              <a:extLst>
                <a:ext uri="{FF2B5EF4-FFF2-40B4-BE49-F238E27FC236}">
                  <a16:creationId xmlns:a16="http://schemas.microsoft.com/office/drawing/2014/main" id="{65F23AF9-A870-D57A-48DE-D6400298F0D5}"/>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463" name="Freeform 462">
              <a:extLst>
                <a:ext uri="{FF2B5EF4-FFF2-40B4-BE49-F238E27FC236}">
                  <a16:creationId xmlns:a16="http://schemas.microsoft.com/office/drawing/2014/main" id="{964ECD65-89F4-1C10-73D2-3877B3BACD9D}"/>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464" name="Freeform 463">
              <a:extLst>
                <a:ext uri="{FF2B5EF4-FFF2-40B4-BE49-F238E27FC236}">
                  <a16:creationId xmlns:a16="http://schemas.microsoft.com/office/drawing/2014/main" id="{6C98E4EC-643B-30AC-5769-9C9340182FCD}"/>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465" name="Freeform 464">
              <a:extLst>
                <a:ext uri="{FF2B5EF4-FFF2-40B4-BE49-F238E27FC236}">
                  <a16:creationId xmlns:a16="http://schemas.microsoft.com/office/drawing/2014/main" id="{91C0DEEB-0E1B-1950-8B21-D880500E36FD}"/>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466" name="Freeform 465">
              <a:extLst>
                <a:ext uri="{FF2B5EF4-FFF2-40B4-BE49-F238E27FC236}">
                  <a16:creationId xmlns:a16="http://schemas.microsoft.com/office/drawing/2014/main" id="{7248E95F-9748-73CF-DAA9-C7BC53404DE4}"/>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467" name="Freeform 466">
              <a:extLst>
                <a:ext uri="{FF2B5EF4-FFF2-40B4-BE49-F238E27FC236}">
                  <a16:creationId xmlns:a16="http://schemas.microsoft.com/office/drawing/2014/main" id="{74E8B14D-A84D-EFAD-4990-725E5D233076}"/>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468" name="Freeform 467">
              <a:extLst>
                <a:ext uri="{FF2B5EF4-FFF2-40B4-BE49-F238E27FC236}">
                  <a16:creationId xmlns:a16="http://schemas.microsoft.com/office/drawing/2014/main" id="{0202ADAA-019C-34FC-D095-F46007E6747F}"/>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69" name="Freeform 468">
              <a:extLst>
                <a:ext uri="{FF2B5EF4-FFF2-40B4-BE49-F238E27FC236}">
                  <a16:creationId xmlns:a16="http://schemas.microsoft.com/office/drawing/2014/main" id="{E53E220D-D5A3-74EC-DC1E-247C73273962}"/>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70" name="Freeform 469">
              <a:extLst>
                <a:ext uri="{FF2B5EF4-FFF2-40B4-BE49-F238E27FC236}">
                  <a16:creationId xmlns:a16="http://schemas.microsoft.com/office/drawing/2014/main" id="{54FA3844-4FCA-9952-5C46-9A6792A86C10}"/>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grpSp>
        <p:nvGrpSpPr>
          <p:cNvPr id="629" name="Group 628">
            <a:extLst>
              <a:ext uri="{FF2B5EF4-FFF2-40B4-BE49-F238E27FC236}">
                <a16:creationId xmlns:a16="http://schemas.microsoft.com/office/drawing/2014/main" id="{58902F13-676F-238B-A570-BFE6D7FDF736}"/>
              </a:ext>
            </a:extLst>
          </p:cNvPr>
          <p:cNvGrpSpPr/>
          <p:nvPr userDrawn="1"/>
        </p:nvGrpSpPr>
        <p:grpSpPr>
          <a:xfrm>
            <a:off x="1231472" y="6269396"/>
            <a:ext cx="347313" cy="204893"/>
            <a:chOff x="962128" y="4702047"/>
            <a:chExt cx="260485" cy="153670"/>
          </a:xfrm>
        </p:grpSpPr>
        <p:sp>
          <p:nvSpPr>
            <p:cNvPr id="471" name="Freeform 470">
              <a:extLst>
                <a:ext uri="{FF2B5EF4-FFF2-40B4-BE49-F238E27FC236}">
                  <a16:creationId xmlns:a16="http://schemas.microsoft.com/office/drawing/2014/main" id="{12CC7D25-8E40-24C8-12CE-8E4C08BF83CA}"/>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472" name="Freeform 471">
              <a:extLst>
                <a:ext uri="{FF2B5EF4-FFF2-40B4-BE49-F238E27FC236}">
                  <a16:creationId xmlns:a16="http://schemas.microsoft.com/office/drawing/2014/main" id="{9ACE214B-21B4-3414-695A-14BD621A3B22}"/>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473" name="Freeform 472">
              <a:extLst>
                <a:ext uri="{FF2B5EF4-FFF2-40B4-BE49-F238E27FC236}">
                  <a16:creationId xmlns:a16="http://schemas.microsoft.com/office/drawing/2014/main" id="{89784879-95F1-B410-E1A6-C19442B3DE95}"/>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474" name="Freeform 473">
              <a:extLst>
                <a:ext uri="{FF2B5EF4-FFF2-40B4-BE49-F238E27FC236}">
                  <a16:creationId xmlns:a16="http://schemas.microsoft.com/office/drawing/2014/main" id="{E75AE40D-9DDC-D1CC-4D92-8DFEC9647FCB}"/>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475" name="Freeform 474">
              <a:extLst>
                <a:ext uri="{FF2B5EF4-FFF2-40B4-BE49-F238E27FC236}">
                  <a16:creationId xmlns:a16="http://schemas.microsoft.com/office/drawing/2014/main" id="{CF94F612-D205-938D-1CB3-474148FA09DB}"/>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476" name="Freeform 475">
              <a:extLst>
                <a:ext uri="{FF2B5EF4-FFF2-40B4-BE49-F238E27FC236}">
                  <a16:creationId xmlns:a16="http://schemas.microsoft.com/office/drawing/2014/main" id="{D17B1BF5-9232-C0CA-0AC8-4C65E899B3BE}"/>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477" name="Graphic 3">
            <a:extLst>
              <a:ext uri="{FF2B5EF4-FFF2-40B4-BE49-F238E27FC236}">
                <a16:creationId xmlns:a16="http://schemas.microsoft.com/office/drawing/2014/main" id="{A3267C26-BBCE-ACF9-6C5B-D96D33D4FA6C}"/>
              </a:ext>
            </a:extLst>
          </p:cNvPr>
          <p:cNvGrpSpPr/>
          <p:nvPr/>
        </p:nvGrpSpPr>
        <p:grpSpPr>
          <a:xfrm>
            <a:off x="3753163" y="6293515"/>
            <a:ext cx="1044656" cy="166720"/>
            <a:chOff x="2968984" y="4720136"/>
            <a:chExt cx="783492" cy="125040"/>
          </a:xfrm>
          <a:solidFill>
            <a:srgbClr val="FFFFFF"/>
          </a:solidFill>
        </p:grpSpPr>
        <p:sp>
          <p:nvSpPr>
            <p:cNvPr id="609" name="Freeform 608">
              <a:extLst>
                <a:ext uri="{FF2B5EF4-FFF2-40B4-BE49-F238E27FC236}">
                  <a16:creationId xmlns:a16="http://schemas.microsoft.com/office/drawing/2014/main" id="{2C687A86-D39B-B99E-F2DB-842E51928DEB}"/>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610" name="Freeform 609">
              <a:extLst>
                <a:ext uri="{FF2B5EF4-FFF2-40B4-BE49-F238E27FC236}">
                  <a16:creationId xmlns:a16="http://schemas.microsoft.com/office/drawing/2014/main" id="{C69C66ED-E7C7-83F2-7278-014FA7FDB626}"/>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611" name="Freeform 610">
              <a:extLst>
                <a:ext uri="{FF2B5EF4-FFF2-40B4-BE49-F238E27FC236}">
                  <a16:creationId xmlns:a16="http://schemas.microsoft.com/office/drawing/2014/main" id="{81B53600-3264-B579-29FB-64A0EF6DA3C5}"/>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612" name="Freeform 611">
              <a:extLst>
                <a:ext uri="{FF2B5EF4-FFF2-40B4-BE49-F238E27FC236}">
                  <a16:creationId xmlns:a16="http://schemas.microsoft.com/office/drawing/2014/main" id="{ACF50FC2-B6B4-FB0A-D544-455242F0A940}"/>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613" name="Freeform 612">
              <a:extLst>
                <a:ext uri="{FF2B5EF4-FFF2-40B4-BE49-F238E27FC236}">
                  <a16:creationId xmlns:a16="http://schemas.microsoft.com/office/drawing/2014/main" id="{ED282BDB-D850-F411-712D-0A3B32E62558}"/>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614" name="Freeform 613">
              <a:extLst>
                <a:ext uri="{FF2B5EF4-FFF2-40B4-BE49-F238E27FC236}">
                  <a16:creationId xmlns:a16="http://schemas.microsoft.com/office/drawing/2014/main" id="{3BB95852-B710-CE5D-8BD5-2D23E4F7195E}"/>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615" name="Freeform 614">
              <a:extLst>
                <a:ext uri="{FF2B5EF4-FFF2-40B4-BE49-F238E27FC236}">
                  <a16:creationId xmlns:a16="http://schemas.microsoft.com/office/drawing/2014/main" id="{305A8DB1-4966-D310-9FD7-6C5FF44E0678}"/>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16" name="Freeform 615">
              <a:extLst>
                <a:ext uri="{FF2B5EF4-FFF2-40B4-BE49-F238E27FC236}">
                  <a16:creationId xmlns:a16="http://schemas.microsoft.com/office/drawing/2014/main" id="{D1AD0E3D-3B4F-A5C8-2DFE-3F286651BBF3}"/>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617" name="Freeform 616">
              <a:extLst>
                <a:ext uri="{FF2B5EF4-FFF2-40B4-BE49-F238E27FC236}">
                  <a16:creationId xmlns:a16="http://schemas.microsoft.com/office/drawing/2014/main" id="{C2788B1D-0524-4008-64B3-B2B0A16ECCDF}"/>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618" name="Freeform 617">
              <a:extLst>
                <a:ext uri="{FF2B5EF4-FFF2-40B4-BE49-F238E27FC236}">
                  <a16:creationId xmlns:a16="http://schemas.microsoft.com/office/drawing/2014/main" id="{FE4647AA-3F11-9233-10A8-5F3886B9741C}"/>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619" name="Freeform 618">
              <a:extLst>
                <a:ext uri="{FF2B5EF4-FFF2-40B4-BE49-F238E27FC236}">
                  <a16:creationId xmlns:a16="http://schemas.microsoft.com/office/drawing/2014/main" id="{AAB78524-68C2-E661-5E6E-A221ADCA897C}"/>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620" name="Freeform 619">
              <a:extLst>
                <a:ext uri="{FF2B5EF4-FFF2-40B4-BE49-F238E27FC236}">
                  <a16:creationId xmlns:a16="http://schemas.microsoft.com/office/drawing/2014/main" id="{43B8F210-E052-0C18-0E4E-022FDC41F2BB}"/>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621" name="Freeform 620">
              <a:extLst>
                <a:ext uri="{FF2B5EF4-FFF2-40B4-BE49-F238E27FC236}">
                  <a16:creationId xmlns:a16="http://schemas.microsoft.com/office/drawing/2014/main" id="{8FE6DCC9-4F76-1EB2-4603-46D6CFFA6194}"/>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622" name="Freeform 621">
              <a:extLst>
                <a:ext uri="{FF2B5EF4-FFF2-40B4-BE49-F238E27FC236}">
                  <a16:creationId xmlns:a16="http://schemas.microsoft.com/office/drawing/2014/main" id="{FB5E1567-EAFE-D477-B385-4D6ABDCB2695}"/>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623" name="Freeform 622">
              <a:extLst>
                <a:ext uri="{FF2B5EF4-FFF2-40B4-BE49-F238E27FC236}">
                  <a16:creationId xmlns:a16="http://schemas.microsoft.com/office/drawing/2014/main" id="{C9CF46BD-A81F-49A4-F153-3EE907DA809C}"/>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478" name="Freeform 477">
            <a:extLst>
              <a:ext uri="{FF2B5EF4-FFF2-40B4-BE49-F238E27FC236}">
                <a16:creationId xmlns:a16="http://schemas.microsoft.com/office/drawing/2014/main" id="{41EA3FB8-D01F-252A-5C57-2011F1C6AE22}"/>
              </a:ext>
            </a:extLst>
          </p:cNvPr>
          <p:cNvSpPr/>
          <p:nvPr/>
        </p:nvSpPr>
        <p:spPr>
          <a:xfrm>
            <a:off x="466160" y="6199631"/>
            <a:ext cx="592945" cy="345947"/>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628" name="Group 627">
            <a:extLst>
              <a:ext uri="{FF2B5EF4-FFF2-40B4-BE49-F238E27FC236}">
                <a16:creationId xmlns:a16="http://schemas.microsoft.com/office/drawing/2014/main" id="{63DF3AB0-3F7E-95A9-D894-98F4AE5E9C46}"/>
              </a:ext>
            </a:extLst>
          </p:cNvPr>
          <p:cNvGrpSpPr/>
          <p:nvPr userDrawn="1"/>
        </p:nvGrpSpPr>
        <p:grpSpPr>
          <a:xfrm>
            <a:off x="1751151" y="6055090"/>
            <a:ext cx="663391" cy="456284"/>
            <a:chOff x="1390414" y="4541317"/>
            <a:chExt cx="497543" cy="342213"/>
          </a:xfrm>
        </p:grpSpPr>
        <p:sp>
          <p:nvSpPr>
            <p:cNvPr id="479" name="Freeform 478">
              <a:extLst>
                <a:ext uri="{FF2B5EF4-FFF2-40B4-BE49-F238E27FC236}">
                  <a16:creationId xmlns:a16="http://schemas.microsoft.com/office/drawing/2014/main" id="{5062EA06-BD23-84A2-EB71-B13CCB1447C5}"/>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480" name="Freeform 479">
              <a:extLst>
                <a:ext uri="{FF2B5EF4-FFF2-40B4-BE49-F238E27FC236}">
                  <a16:creationId xmlns:a16="http://schemas.microsoft.com/office/drawing/2014/main" id="{2EC695BC-BD4D-BED1-7B41-BBEA9CB023C6}"/>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481" name="Freeform 480">
              <a:extLst>
                <a:ext uri="{FF2B5EF4-FFF2-40B4-BE49-F238E27FC236}">
                  <a16:creationId xmlns:a16="http://schemas.microsoft.com/office/drawing/2014/main" id="{50730181-121A-270F-EC7F-2991B0DE903E}"/>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482" name="Freeform 481">
              <a:extLst>
                <a:ext uri="{FF2B5EF4-FFF2-40B4-BE49-F238E27FC236}">
                  <a16:creationId xmlns:a16="http://schemas.microsoft.com/office/drawing/2014/main" id="{6D856C60-E752-BBD1-0EE1-BCD0984A0D65}"/>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3" name="Freeform 482">
              <a:extLst>
                <a:ext uri="{FF2B5EF4-FFF2-40B4-BE49-F238E27FC236}">
                  <a16:creationId xmlns:a16="http://schemas.microsoft.com/office/drawing/2014/main" id="{A1E0C006-59EA-D159-E8B7-DB0457287181}"/>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484" name="Freeform 483">
              <a:extLst>
                <a:ext uri="{FF2B5EF4-FFF2-40B4-BE49-F238E27FC236}">
                  <a16:creationId xmlns:a16="http://schemas.microsoft.com/office/drawing/2014/main" id="{A4FA3260-AC9D-603E-082A-9B76504DAB68}"/>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485" name="Freeform 484">
              <a:extLst>
                <a:ext uri="{FF2B5EF4-FFF2-40B4-BE49-F238E27FC236}">
                  <a16:creationId xmlns:a16="http://schemas.microsoft.com/office/drawing/2014/main" id="{05BCE170-604D-D89D-8192-C1FEF15C338B}"/>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486" name="Freeform 485">
              <a:extLst>
                <a:ext uri="{FF2B5EF4-FFF2-40B4-BE49-F238E27FC236}">
                  <a16:creationId xmlns:a16="http://schemas.microsoft.com/office/drawing/2014/main" id="{2804C466-AE6E-073A-C3CD-C7BCD516AE2E}"/>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487" name="Freeform 486">
              <a:extLst>
                <a:ext uri="{FF2B5EF4-FFF2-40B4-BE49-F238E27FC236}">
                  <a16:creationId xmlns:a16="http://schemas.microsoft.com/office/drawing/2014/main" id="{279348FA-3F90-7F53-EB9B-DDC9CC327F39}"/>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488" name="Freeform 487">
              <a:extLst>
                <a:ext uri="{FF2B5EF4-FFF2-40B4-BE49-F238E27FC236}">
                  <a16:creationId xmlns:a16="http://schemas.microsoft.com/office/drawing/2014/main" id="{364BAC43-3F10-372B-FA56-84692DAA7356}"/>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489" name="Freeform 488">
              <a:extLst>
                <a:ext uri="{FF2B5EF4-FFF2-40B4-BE49-F238E27FC236}">
                  <a16:creationId xmlns:a16="http://schemas.microsoft.com/office/drawing/2014/main" id="{71F800D1-B7FD-67CE-1152-2F668168BF50}"/>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490" name="Freeform 489">
              <a:extLst>
                <a:ext uri="{FF2B5EF4-FFF2-40B4-BE49-F238E27FC236}">
                  <a16:creationId xmlns:a16="http://schemas.microsoft.com/office/drawing/2014/main" id="{1DBB0884-4DA0-3E68-9415-E19B55CAD163}"/>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491" name="Freeform 490">
              <a:extLst>
                <a:ext uri="{FF2B5EF4-FFF2-40B4-BE49-F238E27FC236}">
                  <a16:creationId xmlns:a16="http://schemas.microsoft.com/office/drawing/2014/main" id="{53634D76-B92D-30DF-ED6A-32F1F3E07571}"/>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492" name="Freeform 491">
              <a:extLst>
                <a:ext uri="{FF2B5EF4-FFF2-40B4-BE49-F238E27FC236}">
                  <a16:creationId xmlns:a16="http://schemas.microsoft.com/office/drawing/2014/main" id="{90C72508-2EBA-6838-3FE1-1B159B11C257}"/>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493" name="Freeform 492">
              <a:extLst>
                <a:ext uri="{FF2B5EF4-FFF2-40B4-BE49-F238E27FC236}">
                  <a16:creationId xmlns:a16="http://schemas.microsoft.com/office/drawing/2014/main" id="{472E483B-7AFD-DF4E-9E7F-28F69DBB653C}"/>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494" name="Freeform 493">
              <a:extLst>
                <a:ext uri="{FF2B5EF4-FFF2-40B4-BE49-F238E27FC236}">
                  <a16:creationId xmlns:a16="http://schemas.microsoft.com/office/drawing/2014/main" id="{478AE392-A090-7AF4-EC02-4A13E9D7DD5B}"/>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495" name="Freeform 494">
              <a:extLst>
                <a:ext uri="{FF2B5EF4-FFF2-40B4-BE49-F238E27FC236}">
                  <a16:creationId xmlns:a16="http://schemas.microsoft.com/office/drawing/2014/main" id="{5EC83068-628C-C4F5-59EE-A8C1BA313E38}"/>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496" name="Freeform 495">
              <a:extLst>
                <a:ext uri="{FF2B5EF4-FFF2-40B4-BE49-F238E27FC236}">
                  <a16:creationId xmlns:a16="http://schemas.microsoft.com/office/drawing/2014/main" id="{76D8003D-5375-1095-4C3A-5099F276DDF9}"/>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497" name="Freeform 496">
              <a:extLst>
                <a:ext uri="{FF2B5EF4-FFF2-40B4-BE49-F238E27FC236}">
                  <a16:creationId xmlns:a16="http://schemas.microsoft.com/office/drawing/2014/main" id="{6C187A52-33B2-F646-698D-31AE6F1E565A}"/>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498" name="Freeform 497">
              <a:extLst>
                <a:ext uri="{FF2B5EF4-FFF2-40B4-BE49-F238E27FC236}">
                  <a16:creationId xmlns:a16="http://schemas.microsoft.com/office/drawing/2014/main" id="{55FF38D3-09F2-4FBC-DD35-6615B8E1BA61}"/>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499" name="Freeform 498">
              <a:extLst>
                <a:ext uri="{FF2B5EF4-FFF2-40B4-BE49-F238E27FC236}">
                  <a16:creationId xmlns:a16="http://schemas.microsoft.com/office/drawing/2014/main" id="{C8E2C623-7030-9E21-10CA-C5D85778DB9D}"/>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00" name="Freeform 499">
              <a:extLst>
                <a:ext uri="{FF2B5EF4-FFF2-40B4-BE49-F238E27FC236}">
                  <a16:creationId xmlns:a16="http://schemas.microsoft.com/office/drawing/2014/main" id="{ADAD61F8-C769-3AB0-3B40-82C17B869A3B}"/>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501" name="Freeform 500">
              <a:extLst>
                <a:ext uri="{FF2B5EF4-FFF2-40B4-BE49-F238E27FC236}">
                  <a16:creationId xmlns:a16="http://schemas.microsoft.com/office/drawing/2014/main" id="{F6E1F12A-F778-3DD3-4042-AF59F46B8D3E}"/>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502" name="Freeform 501">
              <a:extLst>
                <a:ext uri="{FF2B5EF4-FFF2-40B4-BE49-F238E27FC236}">
                  <a16:creationId xmlns:a16="http://schemas.microsoft.com/office/drawing/2014/main" id="{A336E092-6C95-D770-26DF-05191AF89328}"/>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03" name="Freeform 502">
              <a:extLst>
                <a:ext uri="{FF2B5EF4-FFF2-40B4-BE49-F238E27FC236}">
                  <a16:creationId xmlns:a16="http://schemas.microsoft.com/office/drawing/2014/main" id="{CE3D43D7-AA81-5DF5-0544-63CC8434F415}"/>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04" name="Freeform 503">
              <a:extLst>
                <a:ext uri="{FF2B5EF4-FFF2-40B4-BE49-F238E27FC236}">
                  <a16:creationId xmlns:a16="http://schemas.microsoft.com/office/drawing/2014/main" id="{602948C4-ED2C-6EF6-EF51-0E468E043B93}"/>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505" name="Freeform 504">
              <a:extLst>
                <a:ext uri="{FF2B5EF4-FFF2-40B4-BE49-F238E27FC236}">
                  <a16:creationId xmlns:a16="http://schemas.microsoft.com/office/drawing/2014/main" id="{F3D9CB05-1D36-A11E-51F3-DD4E6B063A5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506" name="Freeform 505">
              <a:extLst>
                <a:ext uri="{FF2B5EF4-FFF2-40B4-BE49-F238E27FC236}">
                  <a16:creationId xmlns:a16="http://schemas.microsoft.com/office/drawing/2014/main" id="{D62914F2-61BA-F33A-C999-786E7BD4986C}"/>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507" name="Freeform 506">
              <a:extLst>
                <a:ext uri="{FF2B5EF4-FFF2-40B4-BE49-F238E27FC236}">
                  <a16:creationId xmlns:a16="http://schemas.microsoft.com/office/drawing/2014/main" id="{54E1C5C6-CD20-92ED-D96D-16A25FF7E3E2}"/>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08" name="Freeform 507">
              <a:extLst>
                <a:ext uri="{FF2B5EF4-FFF2-40B4-BE49-F238E27FC236}">
                  <a16:creationId xmlns:a16="http://schemas.microsoft.com/office/drawing/2014/main" id="{7FB78DCB-81E9-8C19-0EFF-9011CF0A0E3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09" name="Freeform 508">
              <a:extLst>
                <a:ext uri="{FF2B5EF4-FFF2-40B4-BE49-F238E27FC236}">
                  <a16:creationId xmlns:a16="http://schemas.microsoft.com/office/drawing/2014/main" id="{3DF53267-9908-B29D-B6CB-483B54DDFE5D}"/>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0" name="Freeform 509">
              <a:extLst>
                <a:ext uri="{FF2B5EF4-FFF2-40B4-BE49-F238E27FC236}">
                  <a16:creationId xmlns:a16="http://schemas.microsoft.com/office/drawing/2014/main" id="{6AEAD5AB-34B0-C53D-870D-70C5E97D8265}"/>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1" name="Freeform 510">
              <a:extLst>
                <a:ext uri="{FF2B5EF4-FFF2-40B4-BE49-F238E27FC236}">
                  <a16:creationId xmlns:a16="http://schemas.microsoft.com/office/drawing/2014/main" id="{CA02E411-9597-2E34-9B18-CA82A891B7C7}"/>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512" name="Freeform 511">
              <a:extLst>
                <a:ext uri="{FF2B5EF4-FFF2-40B4-BE49-F238E27FC236}">
                  <a16:creationId xmlns:a16="http://schemas.microsoft.com/office/drawing/2014/main" id="{EF201612-C3B0-78CE-BD54-10E92F3C68F4}"/>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3" name="Freeform 512">
              <a:extLst>
                <a:ext uri="{FF2B5EF4-FFF2-40B4-BE49-F238E27FC236}">
                  <a16:creationId xmlns:a16="http://schemas.microsoft.com/office/drawing/2014/main" id="{D8EA0B4B-9B0C-4811-611E-7CC2B9F62A8D}"/>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4" name="Freeform 513">
              <a:extLst>
                <a:ext uri="{FF2B5EF4-FFF2-40B4-BE49-F238E27FC236}">
                  <a16:creationId xmlns:a16="http://schemas.microsoft.com/office/drawing/2014/main" id="{175D98E4-363F-7A1E-6E46-A236F5883853}"/>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515" name="Freeform 514">
              <a:extLst>
                <a:ext uri="{FF2B5EF4-FFF2-40B4-BE49-F238E27FC236}">
                  <a16:creationId xmlns:a16="http://schemas.microsoft.com/office/drawing/2014/main" id="{A1B7CA03-D62A-7684-D87B-FE6C3F766ECE}"/>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6" name="Freeform 515">
              <a:extLst>
                <a:ext uri="{FF2B5EF4-FFF2-40B4-BE49-F238E27FC236}">
                  <a16:creationId xmlns:a16="http://schemas.microsoft.com/office/drawing/2014/main" id="{0530B3E2-A8BE-CA71-15ED-EFDD457A748B}"/>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517" name="Freeform 516">
              <a:extLst>
                <a:ext uri="{FF2B5EF4-FFF2-40B4-BE49-F238E27FC236}">
                  <a16:creationId xmlns:a16="http://schemas.microsoft.com/office/drawing/2014/main" id="{0373BA15-7671-1DEF-AB95-5E0A4277915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18" name="Freeform 517">
              <a:extLst>
                <a:ext uri="{FF2B5EF4-FFF2-40B4-BE49-F238E27FC236}">
                  <a16:creationId xmlns:a16="http://schemas.microsoft.com/office/drawing/2014/main" id="{D2F75F76-4F36-CFBE-FBBA-082DFD709EF7}"/>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19" name="Freeform 518">
              <a:extLst>
                <a:ext uri="{FF2B5EF4-FFF2-40B4-BE49-F238E27FC236}">
                  <a16:creationId xmlns:a16="http://schemas.microsoft.com/office/drawing/2014/main" id="{880E691D-B2ED-B389-ED38-351C8FB83069}"/>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520" name="Freeform 519">
              <a:extLst>
                <a:ext uri="{FF2B5EF4-FFF2-40B4-BE49-F238E27FC236}">
                  <a16:creationId xmlns:a16="http://schemas.microsoft.com/office/drawing/2014/main" id="{D70AD7D9-DC33-BB7B-862E-53BDFD614BE9}"/>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521" name="Freeform 520">
              <a:extLst>
                <a:ext uri="{FF2B5EF4-FFF2-40B4-BE49-F238E27FC236}">
                  <a16:creationId xmlns:a16="http://schemas.microsoft.com/office/drawing/2014/main" id="{37357289-1A58-8BCD-B806-74670C2316F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2" name="Freeform 521">
              <a:extLst>
                <a:ext uri="{FF2B5EF4-FFF2-40B4-BE49-F238E27FC236}">
                  <a16:creationId xmlns:a16="http://schemas.microsoft.com/office/drawing/2014/main" id="{64A9098D-D3CE-5737-1620-C981D76A48E7}"/>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523" name="Freeform 522">
              <a:extLst>
                <a:ext uri="{FF2B5EF4-FFF2-40B4-BE49-F238E27FC236}">
                  <a16:creationId xmlns:a16="http://schemas.microsoft.com/office/drawing/2014/main" id="{8979ADC0-2299-544F-4D42-A585AAA1D773}"/>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524" name="Freeform 523">
              <a:extLst>
                <a:ext uri="{FF2B5EF4-FFF2-40B4-BE49-F238E27FC236}">
                  <a16:creationId xmlns:a16="http://schemas.microsoft.com/office/drawing/2014/main" id="{0AA72C6A-2C48-CAE4-F08D-E098BB19C7BC}"/>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525" name="Freeform 524">
              <a:extLst>
                <a:ext uri="{FF2B5EF4-FFF2-40B4-BE49-F238E27FC236}">
                  <a16:creationId xmlns:a16="http://schemas.microsoft.com/office/drawing/2014/main" id="{EC6E8422-DF16-A98C-503F-1A2825EAA967}"/>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526" name="Freeform 525">
              <a:extLst>
                <a:ext uri="{FF2B5EF4-FFF2-40B4-BE49-F238E27FC236}">
                  <a16:creationId xmlns:a16="http://schemas.microsoft.com/office/drawing/2014/main" id="{E451219E-5413-FA39-7F84-C227AB2A8A86}"/>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527" name="Freeform 526">
              <a:extLst>
                <a:ext uri="{FF2B5EF4-FFF2-40B4-BE49-F238E27FC236}">
                  <a16:creationId xmlns:a16="http://schemas.microsoft.com/office/drawing/2014/main" id="{C029EBCF-550F-3A00-72C8-54E1FA8B3DA9}"/>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627" name="Group 626">
            <a:extLst>
              <a:ext uri="{FF2B5EF4-FFF2-40B4-BE49-F238E27FC236}">
                <a16:creationId xmlns:a16="http://schemas.microsoft.com/office/drawing/2014/main" id="{FBC5FCDF-B436-F6A3-3FB6-5605940F668E}"/>
              </a:ext>
            </a:extLst>
          </p:cNvPr>
          <p:cNvGrpSpPr/>
          <p:nvPr userDrawn="1"/>
        </p:nvGrpSpPr>
        <p:grpSpPr>
          <a:xfrm>
            <a:off x="2586908" y="6297846"/>
            <a:ext cx="993888" cy="163913"/>
            <a:chOff x="2055895" y="4723384"/>
            <a:chExt cx="745416" cy="122935"/>
          </a:xfrm>
        </p:grpSpPr>
        <p:sp>
          <p:nvSpPr>
            <p:cNvPr id="528" name="Freeform 527">
              <a:extLst>
                <a:ext uri="{FF2B5EF4-FFF2-40B4-BE49-F238E27FC236}">
                  <a16:creationId xmlns:a16="http://schemas.microsoft.com/office/drawing/2014/main" id="{D15DE007-062F-C91E-013E-968B84C7D0A2}"/>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529" name="Freeform 528">
              <a:extLst>
                <a:ext uri="{FF2B5EF4-FFF2-40B4-BE49-F238E27FC236}">
                  <a16:creationId xmlns:a16="http://schemas.microsoft.com/office/drawing/2014/main" id="{B320DC48-2E2B-4E61-AAA5-0EA471042BF4}"/>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530" name="Freeform 529">
              <a:extLst>
                <a:ext uri="{FF2B5EF4-FFF2-40B4-BE49-F238E27FC236}">
                  <a16:creationId xmlns:a16="http://schemas.microsoft.com/office/drawing/2014/main" id="{EE918484-8FCD-D84B-40A0-D07546E74217}"/>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531" name="Freeform 530">
              <a:extLst>
                <a:ext uri="{FF2B5EF4-FFF2-40B4-BE49-F238E27FC236}">
                  <a16:creationId xmlns:a16="http://schemas.microsoft.com/office/drawing/2014/main" id="{129F9C20-A4A6-4FC1-3EA4-67DD069F0E2F}"/>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532" name="Freeform 531">
              <a:extLst>
                <a:ext uri="{FF2B5EF4-FFF2-40B4-BE49-F238E27FC236}">
                  <a16:creationId xmlns:a16="http://schemas.microsoft.com/office/drawing/2014/main" id="{39CA71EA-7181-84DD-D1B5-D715FDF77598}"/>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33" name="Freeform 532">
              <a:extLst>
                <a:ext uri="{FF2B5EF4-FFF2-40B4-BE49-F238E27FC236}">
                  <a16:creationId xmlns:a16="http://schemas.microsoft.com/office/drawing/2014/main" id="{E4345EA9-15E0-3885-1C92-91F83C1BB8F0}"/>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534" name="Freeform 533">
              <a:extLst>
                <a:ext uri="{FF2B5EF4-FFF2-40B4-BE49-F238E27FC236}">
                  <a16:creationId xmlns:a16="http://schemas.microsoft.com/office/drawing/2014/main" id="{123B3629-3545-2316-82D1-F0D21BCBBBC0}"/>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535" name="Freeform 534">
              <a:extLst>
                <a:ext uri="{FF2B5EF4-FFF2-40B4-BE49-F238E27FC236}">
                  <a16:creationId xmlns:a16="http://schemas.microsoft.com/office/drawing/2014/main" id="{1D06A95F-0128-9779-C1F0-AF6780447631}"/>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536" name="Freeform 535">
              <a:extLst>
                <a:ext uri="{FF2B5EF4-FFF2-40B4-BE49-F238E27FC236}">
                  <a16:creationId xmlns:a16="http://schemas.microsoft.com/office/drawing/2014/main" id="{0B5AD91F-B29C-1992-22AA-7CCD50EB1405}"/>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537" name="Freeform 536">
              <a:extLst>
                <a:ext uri="{FF2B5EF4-FFF2-40B4-BE49-F238E27FC236}">
                  <a16:creationId xmlns:a16="http://schemas.microsoft.com/office/drawing/2014/main" id="{61CA5669-A5AB-B839-F2B4-76B216071C80}"/>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538" name="Freeform 537">
              <a:extLst>
                <a:ext uri="{FF2B5EF4-FFF2-40B4-BE49-F238E27FC236}">
                  <a16:creationId xmlns:a16="http://schemas.microsoft.com/office/drawing/2014/main" id="{00A349EE-5D63-3DFA-F131-9811801A1902}"/>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539" name="Freeform 538">
              <a:extLst>
                <a:ext uri="{FF2B5EF4-FFF2-40B4-BE49-F238E27FC236}">
                  <a16:creationId xmlns:a16="http://schemas.microsoft.com/office/drawing/2014/main" id="{B9A7120A-317F-B576-CB73-EE7EE7B6C159}"/>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540" name="Freeform 539">
              <a:extLst>
                <a:ext uri="{FF2B5EF4-FFF2-40B4-BE49-F238E27FC236}">
                  <a16:creationId xmlns:a16="http://schemas.microsoft.com/office/drawing/2014/main" id="{9F65FAF8-A221-B9AD-73CF-4EEC596EBCEF}"/>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541" name="Freeform 540">
              <a:extLst>
                <a:ext uri="{FF2B5EF4-FFF2-40B4-BE49-F238E27FC236}">
                  <a16:creationId xmlns:a16="http://schemas.microsoft.com/office/drawing/2014/main" id="{D5A5B3D1-CABC-98A4-16EB-7D9B988BBE4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542" name="Freeform 541">
              <a:extLst>
                <a:ext uri="{FF2B5EF4-FFF2-40B4-BE49-F238E27FC236}">
                  <a16:creationId xmlns:a16="http://schemas.microsoft.com/office/drawing/2014/main" id="{7CC49013-657F-E088-3700-02FC497B1C5F}"/>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43" name="Freeform 542">
              <a:extLst>
                <a:ext uri="{FF2B5EF4-FFF2-40B4-BE49-F238E27FC236}">
                  <a16:creationId xmlns:a16="http://schemas.microsoft.com/office/drawing/2014/main" id="{6FB21EB5-0B2D-DEA3-350E-8778B4590FF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44" name="Freeform 543">
              <a:extLst>
                <a:ext uri="{FF2B5EF4-FFF2-40B4-BE49-F238E27FC236}">
                  <a16:creationId xmlns:a16="http://schemas.microsoft.com/office/drawing/2014/main" id="{FB45B426-5912-C719-FB37-5712980F655A}"/>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545" name="Freeform 544">
              <a:extLst>
                <a:ext uri="{FF2B5EF4-FFF2-40B4-BE49-F238E27FC236}">
                  <a16:creationId xmlns:a16="http://schemas.microsoft.com/office/drawing/2014/main" id="{1868A739-1C15-A8E1-ED1B-83E242B00A42}"/>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546" name="Freeform 545">
              <a:extLst>
                <a:ext uri="{FF2B5EF4-FFF2-40B4-BE49-F238E27FC236}">
                  <a16:creationId xmlns:a16="http://schemas.microsoft.com/office/drawing/2014/main" id="{703CCB98-414F-9802-5279-64AB999A8029}"/>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47" name="Freeform 546">
              <a:extLst>
                <a:ext uri="{FF2B5EF4-FFF2-40B4-BE49-F238E27FC236}">
                  <a16:creationId xmlns:a16="http://schemas.microsoft.com/office/drawing/2014/main" id="{97957FB6-3E5A-C8F0-34D1-3EAACB93467C}"/>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548" name="Freeform 547">
              <a:extLst>
                <a:ext uri="{FF2B5EF4-FFF2-40B4-BE49-F238E27FC236}">
                  <a16:creationId xmlns:a16="http://schemas.microsoft.com/office/drawing/2014/main" id="{47EC6305-97BF-F7A4-51E8-4B7A7E2742AB}"/>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549" name="Freeform 548">
              <a:extLst>
                <a:ext uri="{FF2B5EF4-FFF2-40B4-BE49-F238E27FC236}">
                  <a16:creationId xmlns:a16="http://schemas.microsoft.com/office/drawing/2014/main" id="{E72E2E5D-6D5B-E49A-1FB4-6AF63FC7DE00}"/>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550" name="Freeform 549">
              <a:extLst>
                <a:ext uri="{FF2B5EF4-FFF2-40B4-BE49-F238E27FC236}">
                  <a16:creationId xmlns:a16="http://schemas.microsoft.com/office/drawing/2014/main" id="{6B57B4C8-C3DA-9854-21F2-263501CC57B7}"/>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551" name="Freeform 550">
              <a:extLst>
                <a:ext uri="{FF2B5EF4-FFF2-40B4-BE49-F238E27FC236}">
                  <a16:creationId xmlns:a16="http://schemas.microsoft.com/office/drawing/2014/main" id="{F699712E-C261-2BBB-0F26-F61E3CFBE24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552" name="Freeform 551">
              <a:extLst>
                <a:ext uri="{FF2B5EF4-FFF2-40B4-BE49-F238E27FC236}">
                  <a16:creationId xmlns:a16="http://schemas.microsoft.com/office/drawing/2014/main" id="{94ECD873-7D9F-BB88-8F81-752C8B12D157}"/>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553" name="Freeform 552">
              <a:extLst>
                <a:ext uri="{FF2B5EF4-FFF2-40B4-BE49-F238E27FC236}">
                  <a16:creationId xmlns:a16="http://schemas.microsoft.com/office/drawing/2014/main" id="{0F43B476-0AFB-FBEB-98E9-E86AEF3F9071}"/>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554" name="Freeform 553">
              <a:extLst>
                <a:ext uri="{FF2B5EF4-FFF2-40B4-BE49-F238E27FC236}">
                  <a16:creationId xmlns:a16="http://schemas.microsoft.com/office/drawing/2014/main" id="{F8DD87B9-4585-6DB7-E349-414BB2415EB7}"/>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555" name="Freeform 554">
              <a:extLst>
                <a:ext uri="{FF2B5EF4-FFF2-40B4-BE49-F238E27FC236}">
                  <a16:creationId xmlns:a16="http://schemas.microsoft.com/office/drawing/2014/main" id="{22B5F3BD-8679-C9F9-2735-E52A952CB378}"/>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556" name="Freeform 555">
              <a:extLst>
                <a:ext uri="{FF2B5EF4-FFF2-40B4-BE49-F238E27FC236}">
                  <a16:creationId xmlns:a16="http://schemas.microsoft.com/office/drawing/2014/main" id="{5696D43C-35B5-20AE-E8AD-27D577C1FFE6}"/>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557" name="Freeform 556">
              <a:extLst>
                <a:ext uri="{FF2B5EF4-FFF2-40B4-BE49-F238E27FC236}">
                  <a16:creationId xmlns:a16="http://schemas.microsoft.com/office/drawing/2014/main" id="{BAFC77DD-01C0-53E0-FC02-A3121AEC1AFE}"/>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558" name="Freeform 557">
              <a:extLst>
                <a:ext uri="{FF2B5EF4-FFF2-40B4-BE49-F238E27FC236}">
                  <a16:creationId xmlns:a16="http://schemas.microsoft.com/office/drawing/2014/main" id="{5D031443-B2BF-68C4-5A48-6BA9C89644A1}"/>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559" name="Freeform 558">
              <a:extLst>
                <a:ext uri="{FF2B5EF4-FFF2-40B4-BE49-F238E27FC236}">
                  <a16:creationId xmlns:a16="http://schemas.microsoft.com/office/drawing/2014/main" id="{B972D882-8746-5962-81F0-3D1361D13C23}"/>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560" name="Freeform 559">
              <a:extLst>
                <a:ext uri="{FF2B5EF4-FFF2-40B4-BE49-F238E27FC236}">
                  <a16:creationId xmlns:a16="http://schemas.microsoft.com/office/drawing/2014/main" id="{87CB8ACA-DF79-997F-735B-11CD2205E469}"/>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grpSp>
        <p:nvGrpSpPr>
          <p:cNvPr id="626" name="Group 625">
            <a:extLst>
              <a:ext uri="{FF2B5EF4-FFF2-40B4-BE49-F238E27FC236}">
                <a16:creationId xmlns:a16="http://schemas.microsoft.com/office/drawing/2014/main" id="{BFC737DF-6041-D0E8-F9D1-A9D754FBB029}"/>
              </a:ext>
            </a:extLst>
          </p:cNvPr>
          <p:cNvGrpSpPr/>
          <p:nvPr userDrawn="1"/>
        </p:nvGrpSpPr>
        <p:grpSpPr>
          <a:xfrm>
            <a:off x="4970186" y="6298862"/>
            <a:ext cx="714148" cy="184308"/>
            <a:chOff x="3920405" y="4724146"/>
            <a:chExt cx="535611" cy="138231"/>
          </a:xfrm>
        </p:grpSpPr>
        <p:sp>
          <p:nvSpPr>
            <p:cNvPr id="561" name="Freeform 560">
              <a:extLst>
                <a:ext uri="{FF2B5EF4-FFF2-40B4-BE49-F238E27FC236}">
                  <a16:creationId xmlns:a16="http://schemas.microsoft.com/office/drawing/2014/main" id="{158EF8C9-AD73-4B93-26B0-9B8C8717E8F0}"/>
                </a:ext>
              </a:extLst>
            </p:cNvPr>
            <p:cNvSpPr/>
            <p:nvPr/>
          </p:nvSpPr>
          <p:spPr>
            <a:xfrm>
              <a:off x="4148043" y="4847209"/>
              <a:ext cx="2036" cy="14731"/>
            </a:xfrm>
            <a:custGeom>
              <a:avLst/>
              <a:gdLst>
                <a:gd name="connsiteX0" fmla="*/ 0 w 2036"/>
                <a:gd name="connsiteY0" fmla="*/ 2794 h 14731"/>
                <a:gd name="connsiteX1" fmla="*/ 0 w 2036"/>
                <a:gd name="connsiteY1" fmla="*/ 0 h 14731"/>
                <a:gd name="connsiteX2" fmla="*/ 509 w 2036"/>
                <a:gd name="connsiteY2" fmla="*/ 0 h 14731"/>
                <a:gd name="connsiteX3" fmla="*/ 1018 w 2036"/>
                <a:gd name="connsiteY3" fmla="*/ 0 h 14731"/>
                <a:gd name="connsiteX4" fmla="*/ 1528 w 2036"/>
                <a:gd name="connsiteY4" fmla="*/ 0 h 14731"/>
                <a:gd name="connsiteX5" fmla="*/ 2037 w 2036"/>
                <a:gd name="connsiteY5" fmla="*/ 0 h 14731"/>
                <a:gd name="connsiteX6" fmla="*/ 2037 w 2036"/>
                <a:gd name="connsiteY6" fmla="*/ 2794 h 14731"/>
                <a:gd name="connsiteX7" fmla="*/ 2037 w 2036"/>
                <a:gd name="connsiteY7" fmla="*/ 5588 h 14731"/>
                <a:gd name="connsiteX8" fmla="*/ 2037 w 2036"/>
                <a:gd name="connsiteY8" fmla="*/ 9271 h 14731"/>
                <a:gd name="connsiteX9" fmla="*/ 2037 w 2036"/>
                <a:gd name="connsiteY9" fmla="*/ 12065 h 14731"/>
                <a:gd name="connsiteX10" fmla="*/ 2037 w 2036"/>
                <a:gd name="connsiteY10" fmla="*/ 14732 h 14731"/>
                <a:gd name="connsiteX11" fmla="*/ 1018 w 2036"/>
                <a:gd name="connsiteY11" fmla="*/ 14732 h 14731"/>
                <a:gd name="connsiteX12" fmla="*/ 0 w 2036"/>
                <a:gd name="connsiteY12" fmla="*/ 14732 h 14731"/>
                <a:gd name="connsiteX13" fmla="*/ 0 w 2036"/>
                <a:gd name="connsiteY13" fmla="*/ 12065 h 14731"/>
                <a:gd name="connsiteX14" fmla="*/ 0 w 2036"/>
                <a:gd name="connsiteY14" fmla="*/ 9271 h 14731"/>
                <a:gd name="connsiteX15" fmla="*/ 0 w 2036"/>
                <a:gd name="connsiteY15" fmla="*/ 5588 h 14731"/>
                <a:gd name="connsiteX16" fmla="*/ 0 w 2036"/>
                <a:gd name="connsiteY16" fmla="*/ 2794 h 1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6" h="14731">
                  <a:moveTo>
                    <a:pt x="0" y="2794"/>
                  </a:moveTo>
                  <a:cubicBezTo>
                    <a:pt x="0" y="1905"/>
                    <a:pt x="0" y="1016"/>
                    <a:pt x="0" y="0"/>
                  </a:cubicBezTo>
                  <a:cubicBezTo>
                    <a:pt x="127" y="0"/>
                    <a:pt x="382" y="0"/>
                    <a:pt x="509" y="0"/>
                  </a:cubicBezTo>
                  <a:cubicBezTo>
                    <a:pt x="636" y="0"/>
                    <a:pt x="891" y="0"/>
                    <a:pt x="1018" y="0"/>
                  </a:cubicBezTo>
                  <a:cubicBezTo>
                    <a:pt x="1146" y="0"/>
                    <a:pt x="1400" y="0"/>
                    <a:pt x="1528" y="0"/>
                  </a:cubicBezTo>
                  <a:cubicBezTo>
                    <a:pt x="1655" y="0"/>
                    <a:pt x="1910" y="0"/>
                    <a:pt x="2037" y="0"/>
                  </a:cubicBezTo>
                  <a:cubicBezTo>
                    <a:pt x="2037" y="889"/>
                    <a:pt x="2037" y="1905"/>
                    <a:pt x="2037" y="2794"/>
                  </a:cubicBezTo>
                  <a:cubicBezTo>
                    <a:pt x="2037" y="3683"/>
                    <a:pt x="2037" y="4572"/>
                    <a:pt x="2037" y="5588"/>
                  </a:cubicBezTo>
                  <a:lnTo>
                    <a:pt x="2037" y="9271"/>
                  </a:lnTo>
                  <a:cubicBezTo>
                    <a:pt x="2037" y="10160"/>
                    <a:pt x="2037" y="11176"/>
                    <a:pt x="2037" y="12065"/>
                  </a:cubicBezTo>
                  <a:cubicBezTo>
                    <a:pt x="2037" y="12954"/>
                    <a:pt x="2037" y="13843"/>
                    <a:pt x="2037" y="14732"/>
                  </a:cubicBezTo>
                  <a:cubicBezTo>
                    <a:pt x="1655" y="14732"/>
                    <a:pt x="1400" y="14732"/>
                    <a:pt x="1018" y="14732"/>
                  </a:cubicBezTo>
                  <a:cubicBezTo>
                    <a:pt x="636" y="14732"/>
                    <a:pt x="254" y="14732"/>
                    <a:pt x="0" y="14732"/>
                  </a:cubicBezTo>
                  <a:cubicBezTo>
                    <a:pt x="0" y="13843"/>
                    <a:pt x="0" y="12954"/>
                    <a:pt x="0" y="12065"/>
                  </a:cubicBezTo>
                  <a:cubicBezTo>
                    <a:pt x="0" y="11176"/>
                    <a:pt x="0" y="10287"/>
                    <a:pt x="0" y="9271"/>
                  </a:cubicBezTo>
                  <a:lnTo>
                    <a:pt x="0" y="5588"/>
                  </a:lnTo>
                  <a:cubicBezTo>
                    <a:pt x="0" y="4699"/>
                    <a:pt x="0" y="3683"/>
                    <a:pt x="0" y="2794"/>
                  </a:cubicBezTo>
                  <a:close/>
                </a:path>
              </a:pathLst>
            </a:custGeom>
            <a:solidFill>
              <a:srgbClr val="FFFFFF"/>
            </a:solidFill>
            <a:ln w="0" cap="flat">
              <a:noFill/>
              <a:prstDash val="solid"/>
              <a:miter/>
            </a:ln>
          </p:spPr>
          <p:txBody>
            <a:bodyPr rtlCol="0" anchor="ctr"/>
            <a:lstStyle/>
            <a:p>
              <a:endParaRPr lang="en-AD" sz="2400"/>
            </a:p>
          </p:txBody>
        </p:sp>
        <p:sp>
          <p:nvSpPr>
            <p:cNvPr id="562" name="Freeform 561">
              <a:extLst>
                <a:ext uri="{FF2B5EF4-FFF2-40B4-BE49-F238E27FC236}">
                  <a16:creationId xmlns:a16="http://schemas.microsoft.com/office/drawing/2014/main" id="{3600078F-0123-A617-AB1B-07D400A6E1E0}"/>
                </a:ext>
              </a:extLst>
            </p:cNvPr>
            <p:cNvSpPr/>
            <p:nvPr/>
          </p:nvSpPr>
          <p:spPr>
            <a:xfrm>
              <a:off x="4153645"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4 w 8784"/>
                <a:gd name="connsiteY24" fmla="*/ 3683 h 10414"/>
                <a:gd name="connsiteX25" fmla="*/ 8784 w 8784"/>
                <a:gd name="connsiteY25" fmla="*/ 5588 h 10414"/>
                <a:gd name="connsiteX26" fmla="*/ 8784 w 8784"/>
                <a:gd name="connsiteY26" fmla="*/ 7620 h 10414"/>
                <a:gd name="connsiteX27" fmla="*/ 8784 w 8784"/>
                <a:gd name="connsiteY27" fmla="*/ 9017 h 10414"/>
                <a:gd name="connsiteX28" fmla="*/ 8784 w 8784"/>
                <a:gd name="connsiteY28" fmla="*/ 9652 h 10414"/>
                <a:gd name="connsiteX29" fmla="*/ 8784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2" y="1397"/>
                    <a:pt x="8530" y="1905"/>
                  </a:cubicBezTo>
                  <a:cubicBezTo>
                    <a:pt x="8784" y="2413"/>
                    <a:pt x="8784" y="3048"/>
                    <a:pt x="8784" y="3683"/>
                  </a:cubicBezTo>
                  <a:cubicBezTo>
                    <a:pt x="8784" y="4318"/>
                    <a:pt x="8784" y="4953"/>
                    <a:pt x="8784" y="5588"/>
                  </a:cubicBezTo>
                  <a:cubicBezTo>
                    <a:pt x="8784" y="6223"/>
                    <a:pt x="8784" y="6985"/>
                    <a:pt x="8784" y="7620"/>
                  </a:cubicBezTo>
                  <a:lnTo>
                    <a:pt x="8784" y="9017"/>
                  </a:lnTo>
                  <a:cubicBezTo>
                    <a:pt x="8784" y="9017"/>
                    <a:pt x="8784" y="9525"/>
                    <a:pt x="8784" y="9652"/>
                  </a:cubicBezTo>
                  <a:cubicBezTo>
                    <a:pt x="8784" y="9906"/>
                    <a:pt x="8784" y="10033"/>
                    <a:pt x="8784"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563" name="Freeform 562">
              <a:extLst>
                <a:ext uri="{FF2B5EF4-FFF2-40B4-BE49-F238E27FC236}">
                  <a16:creationId xmlns:a16="http://schemas.microsoft.com/office/drawing/2014/main" id="{E168D4F6-6003-C01B-0C13-68527FCDFB0E}"/>
                </a:ext>
              </a:extLst>
            </p:cNvPr>
            <p:cNvSpPr/>
            <p:nvPr/>
          </p:nvSpPr>
          <p:spPr>
            <a:xfrm>
              <a:off x="4164339" y="4845558"/>
              <a:ext cx="5983" cy="16382"/>
            </a:xfrm>
            <a:custGeom>
              <a:avLst/>
              <a:gdLst>
                <a:gd name="connsiteX0" fmla="*/ 4711 w 5983"/>
                <a:gd name="connsiteY0" fmla="*/ 1651 h 16382"/>
                <a:gd name="connsiteX1" fmla="*/ 3947 w 5983"/>
                <a:gd name="connsiteY1" fmla="*/ 1778 h 16382"/>
                <a:gd name="connsiteX2" fmla="*/ 3437 w 5983"/>
                <a:gd name="connsiteY2" fmla="*/ 2286 h 16382"/>
                <a:gd name="connsiteX3" fmla="*/ 3183 w 5983"/>
                <a:gd name="connsiteY3" fmla="*/ 2921 h 16382"/>
                <a:gd name="connsiteX4" fmla="*/ 3183 w 5983"/>
                <a:gd name="connsiteY4" fmla="*/ 3683 h 16382"/>
                <a:gd name="connsiteX5" fmla="*/ 3183 w 5983"/>
                <a:gd name="connsiteY5" fmla="*/ 4826 h 16382"/>
                <a:gd name="connsiteX6" fmla="*/ 3310 w 5983"/>
                <a:gd name="connsiteY6" fmla="*/ 6223 h 16382"/>
                <a:gd name="connsiteX7" fmla="*/ 4456 w 5983"/>
                <a:gd name="connsiteY7" fmla="*/ 6223 h 16382"/>
                <a:gd name="connsiteX8" fmla="*/ 5602 w 5983"/>
                <a:gd name="connsiteY8" fmla="*/ 6223 h 16382"/>
                <a:gd name="connsiteX9" fmla="*/ 5602 w 5983"/>
                <a:gd name="connsiteY9" fmla="*/ 6477 h 16382"/>
                <a:gd name="connsiteX10" fmla="*/ 5602 w 5983"/>
                <a:gd name="connsiteY10" fmla="*/ 6731 h 16382"/>
                <a:gd name="connsiteX11" fmla="*/ 5602 w 5983"/>
                <a:gd name="connsiteY11" fmla="*/ 6985 h 16382"/>
                <a:gd name="connsiteX12" fmla="*/ 5602 w 5983"/>
                <a:gd name="connsiteY12" fmla="*/ 7239 h 16382"/>
                <a:gd name="connsiteX13" fmla="*/ 4456 w 5983"/>
                <a:gd name="connsiteY13" fmla="*/ 7239 h 16382"/>
                <a:gd name="connsiteX14" fmla="*/ 3310 w 5983"/>
                <a:gd name="connsiteY14" fmla="*/ 7239 h 16382"/>
                <a:gd name="connsiteX15" fmla="*/ 3310 w 5983"/>
                <a:gd name="connsiteY15" fmla="*/ 11811 h 16382"/>
                <a:gd name="connsiteX16" fmla="*/ 3310 w 5983"/>
                <a:gd name="connsiteY16" fmla="*/ 16383 h 16382"/>
                <a:gd name="connsiteX17" fmla="*/ 2801 w 5983"/>
                <a:gd name="connsiteY17" fmla="*/ 16383 h 16382"/>
                <a:gd name="connsiteX18" fmla="*/ 2292 w 5983"/>
                <a:gd name="connsiteY18" fmla="*/ 16383 h 16382"/>
                <a:gd name="connsiteX19" fmla="*/ 1400 w 5983"/>
                <a:gd name="connsiteY19" fmla="*/ 16383 h 16382"/>
                <a:gd name="connsiteX20" fmla="*/ 1528 w 5983"/>
                <a:gd name="connsiteY20" fmla="*/ 11811 h 16382"/>
                <a:gd name="connsiteX21" fmla="*/ 1528 w 5983"/>
                <a:gd name="connsiteY21" fmla="*/ 7112 h 16382"/>
                <a:gd name="connsiteX22" fmla="*/ 764 w 5983"/>
                <a:gd name="connsiteY22" fmla="*/ 7112 h 16382"/>
                <a:gd name="connsiteX23" fmla="*/ 0 w 5983"/>
                <a:gd name="connsiteY23" fmla="*/ 7112 h 16382"/>
                <a:gd name="connsiteX24" fmla="*/ 0 w 5983"/>
                <a:gd name="connsiteY24" fmla="*/ 6858 h 16382"/>
                <a:gd name="connsiteX25" fmla="*/ 0 w 5983"/>
                <a:gd name="connsiteY25" fmla="*/ 6604 h 16382"/>
                <a:gd name="connsiteX26" fmla="*/ 0 w 5983"/>
                <a:gd name="connsiteY26" fmla="*/ 6350 h 16382"/>
                <a:gd name="connsiteX27" fmla="*/ 0 w 5983"/>
                <a:gd name="connsiteY27" fmla="*/ 6096 h 16382"/>
                <a:gd name="connsiteX28" fmla="*/ 764 w 5983"/>
                <a:gd name="connsiteY28" fmla="*/ 6096 h 16382"/>
                <a:gd name="connsiteX29" fmla="*/ 1528 w 5983"/>
                <a:gd name="connsiteY29" fmla="*/ 6096 h 16382"/>
                <a:gd name="connsiteX30" fmla="*/ 1655 w 5983"/>
                <a:gd name="connsiteY30" fmla="*/ 4699 h 16382"/>
                <a:gd name="connsiteX31" fmla="*/ 2037 w 5983"/>
                <a:gd name="connsiteY31" fmla="*/ 3302 h 16382"/>
                <a:gd name="connsiteX32" fmla="*/ 2673 w 5983"/>
                <a:gd name="connsiteY32" fmla="*/ 1905 h 16382"/>
                <a:gd name="connsiteX33" fmla="*/ 3437 w 5983"/>
                <a:gd name="connsiteY33" fmla="*/ 889 h 16382"/>
                <a:gd name="connsiteX34" fmla="*/ 4456 w 5983"/>
                <a:gd name="connsiteY34" fmla="*/ 254 h 16382"/>
                <a:gd name="connsiteX35" fmla="*/ 5602 w 5983"/>
                <a:gd name="connsiteY35" fmla="*/ 0 h 16382"/>
                <a:gd name="connsiteX36" fmla="*/ 5984 w 5983"/>
                <a:gd name="connsiteY36" fmla="*/ 0 h 16382"/>
                <a:gd name="connsiteX37" fmla="*/ 5984 w 5983"/>
                <a:gd name="connsiteY37" fmla="*/ 889 h 16382"/>
                <a:gd name="connsiteX38" fmla="*/ 5984 w 5983"/>
                <a:gd name="connsiteY38" fmla="*/ 1778 h 16382"/>
                <a:gd name="connsiteX39" fmla="*/ 5856 w 5983"/>
                <a:gd name="connsiteY39" fmla="*/ 1778 h 16382"/>
                <a:gd name="connsiteX40" fmla="*/ 4711 w 5983"/>
                <a:gd name="connsiteY40" fmla="*/ 1524 h 1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983" h="16382">
                  <a:moveTo>
                    <a:pt x="4711" y="1651"/>
                  </a:moveTo>
                  <a:cubicBezTo>
                    <a:pt x="4711" y="1651"/>
                    <a:pt x="4074" y="1651"/>
                    <a:pt x="3947" y="1778"/>
                  </a:cubicBezTo>
                  <a:cubicBezTo>
                    <a:pt x="3692" y="1778"/>
                    <a:pt x="3565" y="2032"/>
                    <a:pt x="3437" y="2286"/>
                  </a:cubicBezTo>
                  <a:cubicBezTo>
                    <a:pt x="3310" y="2540"/>
                    <a:pt x="3183" y="2667"/>
                    <a:pt x="3183" y="2921"/>
                  </a:cubicBezTo>
                  <a:cubicBezTo>
                    <a:pt x="3183" y="3175"/>
                    <a:pt x="3183" y="3429"/>
                    <a:pt x="3183" y="3683"/>
                  </a:cubicBezTo>
                  <a:cubicBezTo>
                    <a:pt x="3183" y="3937"/>
                    <a:pt x="3183" y="4318"/>
                    <a:pt x="3183" y="4826"/>
                  </a:cubicBezTo>
                  <a:cubicBezTo>
                    <a:pt x="3183" y="5334"/>
                    <a:pt x="3183" y="5715"/>
                    <a:pt x="3310" y="6223"/>
                  </a:cubicBezTo>
                  <a:cubicBezTo>
                    <a:pt x="3692" y="6223"/>
                    <a:pt x="4074" y="6223"/>
                    <a:pt x="4456" y="6223"/>
                  </a:cubicBezTo>
                  <a:cubicBezTo>
                    <a:pt x="4838" y="6223"/>
                    <a:pt x="5220" y="6223"/>
                    <a:pt x="5602" y="6223"/>
                  </a:cubicBezTo>
                  <a:cubicBezTo>
                    <a:pt x="5602" y="6223"/>
                    <a:pt x="5602" y="6350"/>
                    <a:pt x="5602" y="6477"/>
                  </a:cubicBezTo>
                  <a:cubicBezTo>
                    <a:pt x="5602" y="6477"/>
                    <a:pt x="5602" y="6604"/>
                    <a:pt x="5602" y="6731"/>
                  </a:cubicBezTo>
                  <a:cubicBezTo>
                    <a:pt x="5602" y="6858"/>
                    <a:pt x="5602" y="6858"/>
                    <a:pt x="5602" y="6985"/>
                  </a:cubicBezTo>
                  <a:cubicBezTo>
                    <a:pt x="5602" y="6985"/>
                    <a:pt x="5602" y="7112"/>
                    <a:pt x="5602" y="7239"/>
                  </a:cubicBezTo>
                  <a:cubicBezTo>
                    <a:pt x="5220" y="7239"/>
                    <a:pt x="4838" y="7239"/>
                    <a:pt x="4456" y="7239"/>
                  </a:cubicBezTo>
                  <a:cubicBezTo>
                    <a:pt x="4074" y="7239"/>
                    <a:pt x="3692" y="7239"/>
                    <a:pt x="3310" y="7239"/>
                  </a:cubicBezTo>
                  <a:cubicBezTo>
                    <a:pt x="3310" y="8763"/>
                    <a:pt x="3310" y="10287"/>
                    <a:pt x="3310" y="11811"/>
                  </a:cubicBezTo>
                  <a:cubicBezTo>
                    <a:pt x="3310" y="13335"/>
                    <a:pt x="3310" y="14859"/>
                    <a:pt x="3310" y="16383"/>
                  </a:cubicBezTo>
                  <a:cubicBezTo>
                    <a:pt x="3183" y="16383"/>
                    <a:pt x="3055" y="16383"/>
                    <a:pt x="2801" y="16383"/>
                  </a:cubicBezTo>
                  <a:lnTo>
                    <a:pt x="2292" y="16383"/>
                  </a:lnTo>
                  <a:cubicBezTo>
                    <a:pt x="2292" y="16383"/>
                    <a:pt x="1655" y="16383"/>
                    <a:pt x="1400" y="16383"/>
                  </a:cubicBezTo>
                  <a:cubicBezTo>
                    <a:pt x="1400" y="14859"/>
                    <a:pt x="1528" y="13335"/>
                    <a:pt x="1528" y="11811"/>
                  </a:cubicBezTo>
                  <a:cubicBezTo>
                    <a:pt x="1528" y="10287"/>
                    <a:pt x="1528" y="8763"/>
                    <a:pt x="1528" y="7112"/>
                  </a:cubicBezTo>
                  <a:cubicBezTo>
                    <a:pt x="1273" y="7112"/>
                    <a:pt x="1018" y="7112"/>
                    <a:pt x="764" y="7112"/>
                  </a:cubicBezTo>
                  <a:cubicBezTo>
                    <a:pt x="509" y="7112"/>
                    <a:pt x="254" y="7112"/>
                    <a:pt x="0" y="7112"/>
                  </a:cubicBezTo>
                  <a:cubicBezTo>
                    <a:pt x="0" y="7112"/>
                    <a:pt x="0" y="6985"/>
                    <a:pt x="0" y="6858"/>
                  </a:cubicBezTo>
                  <a:cubicBezTo>
                    <a:pt x="0" y="6858"/>
                    <a:pt x="0" y="6731"/>
                    <a:pt x="0" y="6604"/>
                  </a:cubicBezTo>
                  <a:cubicBezTo>
                    <a:pt x="0" y="6477"/>
                    <a:pt x="0" y="6477"/>
                    <a:pt x="0" y="6350"/>
                  </a:cubicBezTo>
                  <a:cubicBezTo>
                    <a:pt x="0" y="6350"/>
                    <a:pt x="0" y="6223"/>
                    <a:pt x="0" y="6096"/>
                  </a:cubicBezTo>
                  <a:cubicBezTo>
                    <a:pt x="254" y="6096"/>
                    <a:pt x="509" y="6096"/>
                    <a:pt x="764" y="6096"/>
                  </a:cubicBezTo>
                  <a:cubicBezTo>
                    <a:pt x="1018" y="6096"/>
                    <a:pt x="1273" y="6096"/>
                    <a:pt x="1528" y="6096"/>
                  </a:cubicBezTo>
                  <a:cubicBezTo>
                    <a:pt x="1528" y="5715"/>
                    <a:pt x="1528" y="5207"/>
                    <a:pt x="1655" y="4699"/>
                  </a:cubicBezTo>
                  <a:cubicBezTo>
                    <a:pt x="1655" y="4191"/>
                    <a:pt x="1910" y="3683"/>
                    <a:pt x="2037" y="3302"/>
                  </a:cubicBezTo>
                  <a:cubicBezTo>
                    <a:pt x="2164" y="2794"/>
                    <a:pt x="2419" y="2413"/>
                    <a:pt x="2673" y="1905"/>
                  </a:cubicBezTo>
                  <a:cubicBezTo>
                    <a:pt x="2928" y="1397"/>
                    <a:pt x="3183" y="1143"/>
                    <a:pt x="3437" y="889"/>
                  </a:cubicBezTo>
                  <a:cubicBezTo>
                    <a:pt x="3692" y="635"/>
                    <a:pt x="4074" y="381"/>
                    <a:pt x="4456" y="254"/>
                  </a:cubicBezTo>
                  <a:cubicBezTo>
                    <a:pt x="4838" y="0"/>
                    <a:pt x="5220" y="0"/>
                    <a:pt x="5602" y="0"/>
                  </a:cubicBezTo>
                  <a:cubicBezTo>
                    <a:pt x="5729" y="0"/>
                    <a:pt x="5856" y="0"/>
                    <a:pt x="5984" y="0"/>
                  </a:cubicBezTo>
                  <a:cubicBezTo>
                    <a:pt x="5984" y="254"/>
                    <a:pt x="5984" y="508"/>
                    <a:pt x="5984" y="889"/>
                  </a:cubicBezTo>
                  <a:cubicBezTo>
                    <a:pt x="5984" y="1143"/>
                    <a:pt x="5984" y="1397"/>
                    <a:pt x="5984" y="1778"/>
                  </a:cubicBezTo>
                  <a:lnTo>
                    <a:pt x="5856" y="1778"/>
                  </a:lnTo>
                  <a:cubicBezTo>
                    <a:pt x="5856" y="1778"/>
                    <a:pt x="5092" y="1524"/>
                    <a:pt x="4711" y="1524"/>
                  </a:cubicBezTo>
                  <a:close/>
                </a:path>
              </a:pathLst>
            </a:custGeom>
            <a:solidFill>
              <a:srgbClr val="FFFFFF"/>
            </a:solidFill>
            <a:ln w="0" cap="flat">
              <a:noFill/>
              <a:prstDash val="solid"/>
              <a:miter/>
            </a:ln>
          </p:spPr>
          <p:txBody>
            <a:bodyPr rtlCol="0" anchor="ctr"/>
            <a:lstStyle/>
            <a:p>
              <a:endParaRPr lang="en-AD" sz="2400"/>
            </a:p>
          </p:txBody>
        </p:sp>
        <p:sp>
          <p:nvSpPr>
            <p:cNvPr id="564" name="Freeform 563">
              <a:extLst>
                <a:ext uri="{FF2B5EF4-FFF2-40B4-BE49-F238E27FC236}">
                  <a16:creationId xmlns:a16="http://schemas.microsoft.com/office/drawing/2014/main" id="{E952415D-B85F-3B0B-CC43-8F08C5128328}"/>
                </a:ext>
              </a:extLst>
            </p:cNvPr>
            <p:cNvSpPr/>
            <p:nvPr/>
          </p:nvSpPr>
          <p:spPr>
            <a:xfrm>
              <a:off x="4170832"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3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6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3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3" y="9906"/>
                  </a:cubicBezTo>
                  <a:cubicBezTo>
                    <a:pt x="5602" y="9906"/>
                    <a:pt x="6239" y="9779"/>
                    <a:pt x="6621" y="9525"/>
                  </a:cubicBezTo>
                  <a:cubicBezTo>
                    <a:pt x="7003" y="9271"/>
                    <a:pt x="7384" y="8890"/>
                    <a:pt x="7639" y="8509"/>
                  </a:cubicBezTo>
                  <a:cubicBezTo>
                    <a:pt x="7893" y="8128"/>
                    <a:pt x="8021" y="7620"/>
                    <a:pt x="8148" y="6985"/>
                  </a:cubicBezTo>
                  <a:cubicBezTo>
                    <a:pt x="8148" y="6477"/>
                    <a:pt x="8276" y="5842"/>
                    <a:pt x="8276" y="5207"/>
                  </a:cubicBezTo>
                  <a:cubicBezTo>
                    <a:pt x="8276" y="4572"/>
                    <a:pt x="8276" y="4064"/>
                    <a:pt x="8148" y="3429"/>
                  </a:cubicBezTo>
                  <a:cubicBezTo>
                    <a:pt x="8148" y="2921"/>
                    <a:pt x="7893" y="2413"/>
                    <a:pt x="7639" y="1905"/>
                  </a:cubicBezTo>
                  <a:cubicBezTo>
                    <a:pt x="7384" y="1524"/>
                    <a:pt x="7003" y="1143"/>
                    <a:pt x="6621" y="889"/>
                  </a:cubicBezTo>
                  <a:cubicBezTo>
                    <a:pt x="6239" y="635"/>
                    <a:pt x="5602" y="508"/>
                    <a:pt x="5093"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565" name="Freeform 564">
              <a:extLst>
                <a:ext uri="{FF2B5EF4-FFF2-40B4-BE49-F238E27FC236}">
                  <a16:creationId xmlns:a16="http://schemas.microsoft.com/office/drawing/2014/main" id="{735DBA27-BCF3-CDE0-8061-0CC090BD203C}"/>
                </a:ext>
              </a:extLst>
            </p:cNvPr>
            <p:cNvSpPr/>
            <p:nvPr/>
          </p:nvSpPr>
          <p:spPr>
            <a:xfrm>
              <a:off x="4183818" y="4851780"/>
              <a:ext cx="5474" cy="10286"/>
            </a:xfrm>
            <a:custGeom>
              <a:avLst/>
              <a:gdLst>
                <a:gd name="connsiteX0" fmla="*/ 4456 w 5474"/>
                <a:gd name="connsiteY0" fmla="*/ 1524 h 10286"/>
                <a:gd name="connsiteX1" fmla="*/ 3819 w 5474"/>
                <a:gd name="connsiteY1" fmla="*/ 1524 h 10286"/>
                <a:gd name="connsiteX2" fmla="*/ 2928 w 5474"/>
                <a:gd name="connsiteY2" fmla="*/ 1778 h 10286"/>
                <a:gd name="connsiteX3" fmla="*/ 2292 w 5474"/>
                <a:gd name="connsiteY3" fmla="*/ 2413 h 10286"/>
                <a:gd name="connsiteX4" fmla="*/ 1910 w 5474"/>
                <a:gd name="connsiteY4" fmla="*/ 3302 h 10286"/>
                <a:gd name="connsiteX5" fmla="*/ 1782 w 5474"/>
                <a:gd name="connsiteY5" fmla="*/ 4445 h 10286"/>
                <a:gd name="connsiteX6" fmla="*/ 1782 w 5474"/>
                <a:gd name="connsiteY6" fmla="*/ 6858 h 10286"/>
                <a:gd name="connsiteX7" fmla="*/ 1782 w 5474"/>
                <a:gd name="connsiteY7" fmla="*/ 9017 h 10286"/>
                <a:gd name="connsiteX8" fmla="*/ 1782 w 5474"/>
                <a:gd name="connsiteY8" fmla="*/ 10287 h 10286"/>
                <a:gd name="connsiteX9" fmla="*/ 891 w 5474"/>
                <a:gd name="connsiteY9" fmla="*/ 10287 h 10286"/>
                <a:gd name="connsiteX10" fmla="*/ 0 w 5474"/>
                <a:gd name="connsiteY10" fmla="*/ 10287 h 10286"/>
                <a:gd name="connsiteX11" fmla="*/ 0 w 5474"/>
                <a:gd name="connsiteY11" fmla="*/ 8255 h 10286"/>
                <a:gd name="connsiteX12" fmla="*/ 0 w 5474"/>
                <a:gd name="connsiteY12" fmla="*/ 5207 h 10286"/>
                <a:gd name="connsiteX13" fmla="*/ 0 w 5474"/>
                <a:gd name="connsiteY13" fmla="*/ 4572 h 10286"/>
                <a:gd name="connsiteX14" fmla="*/ 0 w 5474"/>
                <a:gd name="connsiteY14" fmla="*/ 2667 h 10286"/>
                <a:gd name="connsiteX15" fmla="*/ 0 w 5474"/>
                <a:gd name="connsiteY15" fmla="*/ 127 h 10286"/>
                <a:gd name="connsiteX16" fmla="*/ 509 w 5474"/>
                <a:gd name="connsiteY16" fmla="*/ 127 h 10286"/>
                <a:gd name="connsiteX17" fmla="*/ 1018 w 5474"/>
                <a:gd name="connsiteY17" fmla="*/ 127 h 10286"/>
                <a:gd name="connsiteX18" fmla="*/ 1400 w 5474"/>
                <a:gd name="connsiteY18" fmla="*/ 127 h 10286"/>
                <a:gd name="connsiteX19" fmla="*/ 1910 w 5474"/>
                <a:gd name="connsiteY19" fmla="*/ 127 h 10286"/>
                <a:gd name="connsiteX20" fmla="*/ 1910 w 5474"/>
                <a:gd name="connsiteY20" fmla="*/ 1397 h 10286"/>
                <a:gd name="connsiteX21" fmla="*/ 1910 w 5474"/>
                <a:gd name="connsiteY21" fmla="*/ 2286 h 10286"/>
                <a:gd name="connsiteX22" fmla="*/ 1910 w 5474"/>
                <a:gd name="connsiteY22" fmla="*/ 2286 h 10286"/>
                <a:gd name="connsiteX23" fmla="*/ 4711 w 5474"/>
                <a:gd name="connsiteY23" fmla="*/ 0 h 10286"/>
                <a:gd name="connsiteX24" fmla="*/ 5092 w 5474"/>
                <a:gd name="connsiteY24" fmla="*/ 0 h 10286"/>
                <a:gd name="connsiteX25" fmla="*/ 5474 w 5474"/>
                <a:gd name="connsiteY25" fmla="*/ 0 h 10286"/>
                <a:gd name="connsiteX26" fmla="*/ 5347 w 5474"/>
                <a:gd name="connsiteY26" fmla="*/ 762 h 10286"/>
                <a:gd name="connsiteX27" fmla="*/ 5347 w 5474"/>
                <a:gd name="connsiteY27" fmla="*/ 1651 h 10286"/>
                <a:gd name="connsiteX28" fmla="*/ 5220 w 5474"/>
                <a:gd name="connsiteY28" fmla="*/ 1651 h 10286"/>
                <a:gd name="connsiteX29" fmla="*/ 4838 w 5474"/>
                <a:gd name="connsiteY29" fmla="*/ 1524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4" h="10286">
                  <a:moveTo>
                    <a:pt x="4456" y="1524"/>
                  </a:moveTo>
                  <a:cubicBezTo>
                    <a:pt x="4456" y="1524"/>
                    <a:pt x="4074" y="1524"/>
                    <a:pt x="3819" y="1524"/>
                  </a:cubicBezTo>
                  <a:cubicBezTo>
                    <a:pt x="3437" y="1524"/>
                    <a:pt x="3183" y="1524"/>
                    <a:pt x="2928" y="1778"/>
                  </a:cubicBezTo>
                  <a:cubicBezTo>
                    <a:pt x="2673" y="1905"/>
                    <a:pt x="2419" y="2159"/>
                    <a:pt x="2292" y="2413"/>
                  </a:cubicBezTo>
                  <a:cubicBezTo>
                    <a:pt x="2164" y="2667"/>
                    <a:pt x="1910" y="3048"/>
                    <a:pt x="1910" y="3302"/>
                  </a:cubicBezTo>
                  <a:cubicBezTo>
                    <a:pt x="1910" y="3683"/>
                    <a:pt x="1782" y="4064"/>
                    <a:pt x="1782" y="4445"/>
                  </a:cubicBezTo>
                  <a:lnTo>
                    <a:pt x="1782" y="6858"/>
                  </a:lnTo>
                  <a:cubicBezTo>
                    <a:pt x="1782" y="7874"/>
                    <a:pt x="1782" y="8509"/>
                    <a:pt x="1782" y="9017"/>
                  </a:cubicBezTo>
                  <a:cubicBezTo>
                    <a:pt x="1782" y="9525"/>
                    <a:pt x="1782" y="9906"/>
                    <a:pt x="1782" y="10287"/>
                  </a:cubicBezTo>
                  <a:cubicBezTo>
                    <a:pt x="1528" y="10287"/>
                    <a:pt x="1273" y="10287"/>
                    <a:pt x="891" y="10287"/>
                  </a:cubicBezTo>
                  <a:cubicBezTo>
                    <a:pt x="636" y="10287"/>
                    <a:pt x="254" y="10287"/>
                    <a:pt x="0" y="10287"/>
                  </a:cubicBezTo>
                  <a:cubicBezTo>
                    <a:pt x="0" y="9779"/>
                    <a:pt x="0" y="9144"/>
                    <a:pt x="0" y="8255"/>
                  </a:cubicBezTo>
                  <a:cubicBezTo>
                    <a:pt x="0" y="7366"/>
                    <a:pt x="0" y="6350"/>
                    <a:pt x="0" y="5207"/>
                  </a:cubicBezTo>
                  <a:lnTo>
                    <a:pt x="0" y="4572"/>
                  </a:lnTo>
                  <a:cubicBezTo>
                    <a:pt x="0" y="4572"/>
                    <a:pt x="0" y="3429"/>
                    <a:pt x="0" y="2667"/>
                  </a:cubicBezTo>
                  <a:cubicBezTo>
                    <a:pt x="0" y="1905"/>
                    <a:pt x="0" y="1143"/>
                    <a:pt x="0" y="127"/>
                  </a:cubicBezTo>
                  <a:cubicBezTo>
                    <a:pt x="127" y="127"/>
                    <a:pt x="254" y="127"/>
                    <a:pt x="509" y="127"/>
                  </a:cubicBezTo>
                  <a:cubicBezTo>
                    <a:pt x="636" y="127"/>
                    <a:pt x="764" y="127"/>
                    <a:pt x="1018" y="127"/>
                  </a:cubicBezTo>
                  <a:cubicBezTo>
                    <a:pt x="1146" y="127"/>
                    <a:pt x="1273" y="127"/>
                    <a:pt x="1400" y="127"/>
                  </a:cubicBezTo>
                  <a:cubicBezTo>
                    <a:pt x="1528" y="127"/>
                    <a:pt x="1655" y="127"/>
                    <a:pt x="1910" y="127"/>
                  </a:cubicBezTo>
                  <a:cubicBezTo>
                    <a:pt x="1910" y="635"/>
                    <a:pt x="1910" y="1016"/>
                    <a:pt x="1910" y="1397"/>
                  </a:cubicBezTo>
                  <a:cubicBezTo>
                    <a:pt x="1910" y="1651"/>
                    <a:pt x="1910" y="2032"/>
                    <a:pt x="1910" y="2286"/>
                  </a:cubicBezTo>
                  <a:lnTo>
                    <a:pt x="1910" y="2286"/>
                  </a:lnTo>
                  <a:cubicBezTo>
                    <a:pt x="2801" y="762"/>
                    <a:pt x="3692" y="0"/>
                    <a:pt x="4711" y="0"/>
                  </a:cubicBezTo>
                  <a:cubicBezTo>
                    <a:pt x="4838" y="0"/>
                    <a:pt x="4965" y="0"/>
                    <a:pt x="5092" y="0"/>
                  </a:cubicBezTo>
                  <a:cubicBezTo>
                    <a:pt x="5092" y="0"/>
                    <a:pt x="5347" y="0"/>
                    <a:pt x="5474" y="0"/>
                  </a:cubicBezTo>
                  <a:cubicBezTo>
                    <a:pt x="5474" y="127"/>
                    <a:pt x="5474" y="381"/>
                    <a:pt x="5347" y="762"/>
                  </a:cubicBezTo>
                  <a:cubicBezTo>
                    <a:pt x="5347" y="1143"/>
                    <a:pt x="5347" y="1397"/>
                    <a:pt x="5347" y="1651"/>
                  </a:cubicBezTo>
                  <a:lnTo>
                    <a:pt x="5220" y="1651"/>
                  </a:lnTo>
                  <a:cubicBezTo>
                    <a:pt x="5220" y="1651"/>
                    <a:pt x="4965" y="1651"/>
                    <a:pt x="4838" y="1524"/>
                  </a:cubicBezTo>
                  <a:close/>
                </a:path>
              </a:pathLst>
            </a:custGeom>
            <a:solidFill>
              <a:srgbClr val="FFFFFF"/>
            </a:solidFill>
            <a:ln w="0" cap="flat">
              <a:noFill/>
              <a:prstDash val="solid"/>
              <a:miter/>
            </a:ln>
          </p:spPr>
          <p:txBody>
            <a:bodyPr rtlCol="0" anchor="ctr"/>
            <a:lstStyle/>
            <a:p>
              <a:endParaRPr lang="en-AD" sz="2400"/>
            </a:p>
          </p:txBody>
        </p:sp>
        <p:sp>
          <p:nvSpPr>
            <p:cNvPr id="566" name="Freeform 565">
              <a:extLst>
                <a:ext uri="{FF2B5EF4-FFF2-40B4-BE49-F238E27FC236}">
                  <a16:creationId xmlns:a16="http://schemas.microsoft.com/office/drawing/2014/main" id="{FBDB5932-438E-83B3-3D9C-11D453FBE712}"/>
                </a:ext>
              </a:extLst>
            </p:cNvPr>
            <p:cNvSpPr/>
            <p:nvPr/>
          </p:nvSpPr>
          <p:spPr>
            <a:xfrm>
              <a:off x="4190820" y="4851400"/>
              <a:ext cx="14768" cy="10540"/>
            </a:xfrm>
            <a:custGeom>
              <a:avLst/>
              <a:gdLst>
                <a:gd name="connsiteX0" fmla="*/ 127 w 14768"/>
                <a:gd name="connsiteY0" fmla="*/ 2286 h 10540"/>
                <a:gd name="connsiteX1" fmla="*/ 0 w 14768"/>
                <a:gd name="connsiteY1" fmla="*/ 254 h 10540"/>
                <a:gd name="connsiteX2" fmla="*/ 1019 w 14768"/>
                <a:gd name="connsiteY2" fmla="*/ 254 h 10540"/>
                <a:gd name="connsiteX3" fmla="*/ 1401 w 14768"/>
                <a:gd name="connsiteY3" fmla="*/ 254 h 10540"/>
                <a:gd name="connsiteX4" fmla="*/ 1910 w 14768"/>
                <a:gd name="connsiteY4" fmla="*/ 254 h 10540"/>
                <a:gd name="connsiteX5" fmla="*/ 1910 w 14768"/>
                <a:gd name="connsiteY5" fmla="*/ 1905 h 10540"/>
                <a:gd name="connsiteX6" fmla="*/ 1910 w 14768"/>
                <a:gd name="connsiteY6" fmla="*/ 1905 h 10540"/>
                <a:gd name="connsiteX7" fmla="*/ 5092 w 14768"/>
                <a:gd name="connsiteY7" fmla="*/ 0 h 10540"/>
                <a:gd name="connsiteX8" fmla="*/ 6111 w 14768"/>
                <a:gd name="connsiteY8" fmla="*/ 127 h 10540"/>
                <a:gd name="connsiteX9" fmla="*/ 7002 w 14768"/>
                <a:gd name="connsiteY9" fmla="*/ 508 h 10540"/>
                <a:gd name="connsiteX10" fmla="*/ 7766 w 14768"/>
                <a:gd name="connsiteY10" fmla="*/ 1143 h 10540"/>
                <a:gd name="connsiteX11" fmla="*/ 8148 w 14768"/>
                <a:gd name="connsiteY11" fmla="*/ 2032 h 10540"/>
                <a:gd name="connsiteX12" fmla="*/ 8148 w 14768"/>
                <a:gd name="connsiteY12" fmla="*/ 2032 h 10540"/>
                <a:gd name="connsiteX13" fmla="*/ 9549 w 14768"/>
                <a:gd name="connsiteY13" fmla="*/ 508 h 10540"/>
                <a:gd name="connsiteX14" fmla="*/ 11586 w 14768"/>
                <a:gd name="connsiteY14" fmla="*/ 0 h 10540"/>
                <a:gd name="connsiteX15" fmla="*/ 12859 w 14768"/>
                <a:gd name="connsiteY15" fmla="*/ 254 h 10540"/>
                <a:gd name="connsiteX16" fmla="*/ 13877 w 14768"/>
                <a:gd name="connsiteY16" fmla="*/ 889 h 10540"/>
                <a:gd name="connsiteX17" fmla="*/ 14514 w 14768"/>
                <a:gd name="connsiteY17" fmla="*/ 1905 h 10540"/>
                <a:gd name="connsiteX18" fmla="*/ 14769 w 14768"/>
                <a:gd name="connsiteY18" fmla="*/ 3429 h 10540"/>
                <a:gd name="connsiteX19" fmla="*/ 14769 w 14768"/>
                <a:gd name="connsiteY19" fmla="*/ 4191 h 10540"/>
                <a:gd name="connsiteX20" fmla="*/ 14769 w 14768"/>
                <a:gd name="connsiteY20" fmla="*/ 5207 h 10540"/>
                <a:gd name="connsiteX21" fmla="*/ 14769 w 14768"/>
                <a:gd name="connsiteY21" fmla="*/ 6477 h 10540"/>
                <a:gd name="connsiteX22" fmla="*/ 14769 w 14768"/>
                <a:gd name="connsiteY22" fmla="*/ 8128 h 10540"/>
                <a:gd name="connsiteX23" fmla="*/ 14769 w 14768"/>
                <a:gd name="connsiteY23" fmla="*/ 9271 h 10540"/>
                <a:gd name="connsiteX24" fmla="*/ 14769 w 14768"/>
                <a:gd name="connsiteY24" fmla="*/ 10414 h 10540"/>
                <a:gd name="connsiteX25" fmla="*/ 14259 w 14768"/>
                <a:gd name="connsiteY25" fmla="*/ 10414 h 10540"/>
                <a:gd name="connsiteX26" fmla="*/ 13368 w 14768"/>
                <a:gd name="connsiteY26" fmla="*/ 10414 h 10540"/>
                <a:gd name="connsiteX27" fmla="*/ 12859 w 14768"/>
                <a:gd name="connsiteY27" fmla="*/ 10414 h 10540"/>
                <a:gd name="connsiteX28" fmla="*/ 12986 w 14768"/>
                <a:gd name="connsiteY28" fmla="*/ 8255 h 10540"/>
                <a:gd name="connsiteX29" fmla="*/ 12986 w 14768"/>
                <a:gd name="connsiteY29" fmla="*/ 3683 h 10540"/>
                <a:gd name="connsiteX30" fmla="*/ 12986 w 14768"/>
                <a:gd name="connsiteY30" fmla="*/ 2667 h 10540"/>
                <a:gd name="connsiteX31" fmla="*/ 12604 w 14768"/>
                <a:gd name="connsiteY31" fmla="*/ 1905 h 10540"/>
                <a:gd name="connsiteX32" fmla="*/ 11968 w 14768"/>
                <a:gd name="connsiteY32" fmla="*/ 1397 h 10540"/>
                <a:gd name="connsiteX33" fmla="*/ 10949 w 14768"/>
                <a:gd name="connsiteY33" fmla="*/ 1143 h 10540"/>
                <a:gd name="connsiteX34" fmla="*/ 9676 w 14768"/>
                <a:gd name="connsiteY34" fmla="*/ 1397 h 10540"/>
                <a:gd name="connsiteX35" fmla="*/ 8785 w 14768"/>
                <a:gd name="connsiteY35" fmla="*/ 2159 h 10540"/>
                <a:gd name="connsiteX36" fmla="*/ 8530 w 14768"/>
                <a:gd name="connsiteY36" fmla="*/ 2667 h 10540"/>
                <a:gd name="connsiteX37" fmla="*/ 8403 w 14768"/>
                <a:gd name="connsiteY37" fmla="*/ 3429 h 10540"/>
                <a:gd name="connsiteX38" fmla="*/ 8403 w 14768"/>
                <a:gd name="connsiteY38" fmla="*/ 4826 h 10540"/>
                <a:gd name="connsiteX39" fmla="*/ 8403 w 14768"/>
                <a:gd name="connsiteY39" fmla="*/ 7239 h 10540"/>
                <a:gd name="connsiteX40" fmla="*/ 8403 w 14768"/>
                <a:gd name="connsiteY40" fmla="*/ 8890 h 10540"/>
                <a:gd name="connsiteX41" fmla="*/ 8403 w 14768"/>
                <a:gd name="connsiteY41" fmla="*/ 10541 h 10540"/>
                <a:gd name="connsiteX42" fmla="*/ 7512 w 14768"/>
                <a:gd name="connsiteY42" fmla="*/ 10541 h 10540"/>
                <a:gd name="connsiteX43" fmla="*/ 6620 w 14768"/>
                <a:gd name="connsiteY43" fmla="*/ 10541 h 10540"/>
                <a:gd name="connsiteX44" fmla="*/ 6748 w 14768"/>
                <a:gd name="connsiteY44" fmla="*/ 8128 h 10540"/>
                <a:gd name="connsiteX45" fmla="*/ 6748 w 14768"/>
                <a:gd name="connsiteY45" fmla="*/ 5715 h 10540"/>
                <a:gd name="connsiteX46" fmla="*/ 6748 w 14768"/>
                <a:gd name="connsiteY46" fmla="*/ 4191 h 10540"/>
                <a:gd name="connsiteX47" fmla="*/ 6748 w 14768"/>
                <a:gd name="connsiteY47" fmla="*/ 3302 h 10540"/>
                <a:gd name="connsiteX48" fmla="*/ 6748 w 14768"/>
                <a:gd name="connsiteY48" fmla="*/ 2794 h 10540"/>
                <a:gd name="connsiteX49" fmla="*/ 6493 w 14768"/>
                <a:gd name="connsiteY49" fmla="*/ 2286 h 10540"/>
                <a:gd name="connsiteX50" fmla="*/ 5729 w 14768"/>
                <a:gd name="connsiteY50" fmla="*/ 1651 h 10540"/>
                <a:gd name="connsiteX51" fmla="*/ 4711 w 14768"/>
                <a:gd name="connsiteY51" fmla="*/ 1397 h 10540"/>
                <a:gd name="connsiteX52" fmla="*/ 2673 w 14768"/>
                <a:gd name="connsiteY52" fmla="*/ 2286 h 10540"/>
                <a:gd name="connsiteX53" fmla="*/ 2037 w 14768"/>
                <a:gd name="connsiteY53" fmla="*/ 4826 h 10540"/>
                <a:gd name="connsiteX54" fmla="*/ 2037 w 14768"/>
                <a:gd name="connsiteY54" fmla="*/ 6604 h 10540"/>
                <a:gd name="connsiteX55" fmla="*/ 2037 w 14768"/>
                <a:gd name="connsiteY55" fmla="*/ 8636 h 10540"/>
                <a:gd name="connsiteX56" fmla="*/ 2165 w 14768"/>
                <a:gd name="connsiteY56" fmla="*/ 10541 h 10540"/>
                <a:gd name="connsiteX57" fmla="*/ 1146 w 14768"/>
                <a:gd name="connsiteY57" fmla="*/ 10541 h 10540"/>
                <a:gd name="connsiteX58" fmla="*/ 127 w 14768"/>
                <a:gd name="connsiteY58" fmla="*/ 10541 h 10540"/>
                <a:gd name="connsiteX59" fmla="*/ 254 w 14768"/>
                <a:gd name="connsiteY59" fmla="*/ 8636 h 10540"/>
                <a:gd name="connsiteX60" fmla="*/ 254 w 14768"/>
                <a:gd name="connsiteY60" fmla="*/ 6604 h 10540"/>
                <a:gd name="connsiteX61" fmla="*/ 254 w 14768"/>
                <a:gd name="connsiteY61" fmla="*/ 4445 h 10540"/>
                <a:gd name="connsiteX62" fmla="*/ 254 w 14768"/>
                <a:gd name="connsiteY62" fmla="*/ 2413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768" h="10540">
                  <a:moveTo>
                    <a:pt x="127" y="2286"/>
                  </a:moveTo>
                  <a:cubicBezTo>
                    <a:pt x="127" y="1524"/>
                    <a:pt x="127" y="889"/>
                    <a:pt x="0" y="254"/>
                  </a:cubicBezTo>
                  <a:cubicBezTo>
                    <a:pt x="382" y="254"/>
                    <a:pt x="764" y="254"/>
                    <a:pt x="1019" y="254"/>
                  </a:cubicBezTo>
                  <a:cubicBezTo>
                    <a:pt x="1019" y="254"/>
                    <a:pt x="1273" y="254"/>
                    <a:pt x="1401" y="254"/>
                  </a:cubicBezTo>
                  <a:cubicBezTo>
                    <a:pt x="1528" y="254"/>
                    <a:pt x="1655" y="254"/>
                    <a:pt x="1910" y="254"/>
                  </a:cubicBezTo>
                  <a:cubicBezTo>
                    <a:pt x="1910" y="762"/>
                    <a:pt x="1910" y="1397"/>
                    <a:pt x="1910" y="1905"/>
                  </a:cubicBezTo>
                  <a:lnTo>
                    <a:pt x="1910" y="1905"/>
                  </a:lnTo>
                  <a:cubicBezTo>
                    <a:pt x="2673" y="635"/>
                    <a:pt x="3692" y="0"/>
                    <a:pt x="5092" y="0"/>
                  </a:cubicBezTo>
                  <a:cubicBezTo>
                    <a:pt x="5474" y="0"/>
                    <a:pt x="5856" y="0"/>
                    <a:pt x="6111" y="127"/>
                  </a:cubicBezTo>
                  <a:cubicBezTo>
                    <a:pt x="6366" y="254"/>
                    <a:pt x="6748" y="381"/>
                    <a:pt x="7002" y="508"/>
                  </a:cubicBezTo>
                  <a:cubicBezTo>
                    <a:pt x="7257" y="635"/>
                    <a:pt x="7512" y="889"/>
                    <a:pt x="7766" y="1143"/>
                  </a:cubicBezTo>
                  <a:cubicBezTo>
                    <a:pt x="8021" y="1397"/>
                    <a:pt x="8148" y="1651"/>
                    <a:pt x="8148" y="2032"/>
                  </a:cubicBezTo>
                  <a:lnTo>
                    <a:pt x="8148" y="2032"/>
                  </a:lnTo>
                  <a:cubicBezTo>
                    <a:pt x="8530" y="1397"/>
                    <a:pt x="8912" y="762"/>
                    <a:pt x="9549" y="508"/>
                  </a:cubicBezTo>
                  <a:cubicBezTo>
                    <a:pt x="10185" y="127"/>
                    <a:pt x="10822" y="0"/>
                    <a:pt x="11586" y="0"/>
                  </a:cubicBezTo>
                  <a:cubicBezTo>
                    <a:pt x="12095" y="0"/>
                    <a:pt x="12477" y="0"/>
                    <a:pt x="12859" y="254"/>
                  </a:cubicBezTo>
                  <a:cubicBezTo>
                    <a:pt x="13241" y="381"/>
                    <a:pt x="13623" y="635"/>
                    <a:pt x="13877" y="889"/>
                  </a:cubicBezTo>
                  <a:cubicBezTo>
                    <a:pt x="14132" y="1143"/>
                    <a:pt x="14387" y="1524"/>
                    <a:pt x="14514" y="1905"/>
                  </a:cubicBezTo>
                  <a:cubicBezTo>
                    <a:pt x="14641" y="2286"/>
                    <a:pt x="14769" y="2794"/>
                    <a:pt x="14769" y="3429"/>
                  </a:cubicBezTo>
                  <a:cubicBezTo>
                    <a:pt x="14769" y="3683"/>
                    <a:pt x="14769" y="3937"/>
                    <a:pt x="14769" y="4191"/>
                  </a:cubicBezTo>
                  <a:cubicBezTo>
                    <a:pt x="14769" y="4445"/>
                    <a:pt x="14769" y="4826"/>
                    <a:pt x="14769" y="5207"/>
                  </a:cubicBezTo>
                  <a:cubicBezTo>
                    <a:pt x="14769" y="5588"/>
                    <a:pt x="14769" y="5969"/>
                    <a:pt x="14769" y="6477"/>
                  </a:cubicBezTo>
                  <a:cubicBezTo>
                    <a:pt x="14769" y="6985"/>
                    <a:pt x="14769" y="7493"/>
                    <a:pt x="14769" y="8128"/>
                  </a:cubicBezTo>
                  <a:cubicBezTo>
                    <a:pt x="14769" y="8509"/>
                    <a:pt x="14769" y="8890"/>
                    <a:pt x="14769" y="9271"/>
                  </a:cubicBezTo>
                  <a:cubicBezTo>
                    <a:pt x="14769" y="9652"/>
                    <a:pt x="14769" y="10033"/>
                    <a:pt x="14769" y="10414"/>
                  </a:cubicBezTo>
                  <a:cubicBezTo>
                    <a:pt x="14641" y="10414"/>
                    <a:pt x="14514" y="10414"/>
                    <a:pt x="14259" y="10414"/>
                  </a:cubicBezTo>
                  <a:lnTo>
                    <a:pt x="13368" y="10414"/>
                  </a:lnTo>
                  <a:cubicBezTo>
                    <a:pt x="13368" y="10414"/>
                    <a:pt x="13113" y="10414"/>
                    <a:pt x="12859" y="10414"/>
                  </a:cubicBezTo>
                  <a:cubicBezTo>
                    <a:pt x="12859" y="10033"/>
                    <a:pt x="12859" y="9398"/>
                    <a:pt x="12986" y="8255"/>
                  </a:cubicBezTo>
                  <a:cubicBezTo>
                    <a:pt x="13113" y="7112"/>
                    <a:pt x="12986" y="5715"/>
                    <a:pt x="12986" y="3683"/>
                  </a:cubicBezTo>
                  <a:cubicBezTo>
                    <a:pt x="12986" y="3302"/>
                    <a:pt x="12986" y="3048"/>
                    <a:pt x="12986" y="2667"/>
                  </a:cubicBezTo>
                  <a:cubicBezTo>
                    <a:pt x="12986" y="2413"/>
                    <a:pt x="12731" y="2032"/>
                    <a:pt x="12604" y="1905"/>
                  </a:cubicBezTo>
                  <a:cubicBezTo>
                    <a:pt x="12477" y="1651"/>
                    <a:pt x="12222" y="1524"/>
                    <a:pt x="11968" y="1397"/>
                  </a:cubicBezTo>
                  <a:cubicBezTo>
                    <a:pt x="11713" y="1270"/>
                    <a:pt x="11331" y="1143"/>
                    <a:pt x="10949" y="1143"/>
                  </a:cubicBezTo>
                  <a:cubicBezTo>
                    <a:pt x="10440" y="1143"/>
                    <a:pt x="10058" y="1143"/>
                    <a:pt x="9676" y="1397"/>
                  </a:cubicBezTo>
                  <a:cubicBezTo>
                    <a:pt x="9294" y="1651"/>
                    <a:pt x="9039" y="1778"/>
                    <a:pt x="8785" y="2159"/>
                  </a:cubicBezTo>
                  <a:cubicBezTo>
                    <a:pt x="8785" y="2286"/>
                    <a:pt x="8530" y="2413"/>
                    <a:pt x="8530" y="2667"/>
                  </a:cubicBezTo>
                  <a:cubicBezTo>
                    <a:pt x="8530" y="2794"/>
                    <a:pt x="8530" y="3048"/>
                    <a:pt x="8403" y="3429"/>
                  </a:cubicBezTo>
                  <a:cubicBezTo>
                    <a:pt x="8403" y="3810"/>
                    <a:pt x="8403" y="4191"/>
                    <a:pt x="8403" y="4826"/>
                  </a:cubicBezTo>
                  <a:cubicBezTo>
                    <a:pt x="8403" y="5461"/>
                    <a:pt x="8403" y="6223"/>
                    <a:pt x="8403" y="7239"/>
                  </a:cubicBezTo>
                  <a:cubicBezTo>
                    <a:pt x="8403" y="7874"/>
                    <a:pt x="8403" y="8382"/>
                    <a:pt x="8403" y="8890"/>
                  </a:cubicBezTo>
                  <a:cubicBezTo>
                    <a:pt x="8403" y="9398"/>
                    <a:pt x="8403" y="9906"/>
                    <a:pt x="8403" y="10541"/>
                  </a:cubicBezTo>
                  <a:cubicBezTo>
                    <a:pt x="8021" y="10541"/>
                    <a:pt x="7766" y="10541"/>
                    <a:pt x="7512" y="10541"/>
                  </a:cubicBezTo>
                  <a:cubicBezTo>
                    <a:pt x="7257" y="10541"/>
                    <a:pt x="6875" y="10541"/>
                    <a:pt x="6620" y="10541"/>
                  </a:cubicBezTo>
                  <a:cubicBezTo>
                    <a:pt x="6620" y="9779"/>
                    <a:pt x="6620" y="9017"/>
                    <a:pt x="6748" y="8128"/>
                  </a:cubicBezTo>
                  <a:cubicBezTo>
                    <a:pt x="6748" y="7366"/>
                    <a:pt x="6748" y="6477"/>
                    <a:pt x="6748" y="5715"/>
                  </a:cubicBezTo>
                  <a:cubicBezTo>
                    <a:pt x="6748" y="5080"/>
                    <a:pt x="6748" y="4572"/>
                    <a:pt x="6748" y="4191"/>
                  </a:cubicBezTo>
                  <a:cubicBezTo>
                    <a:pt x="6748" y="3810"/>
                    <a:pt x="6748" y="3556"/>
                    <a:pt x="6748" y="3302"/>
                  </a:cubicBezTo>
                  <a:cubicBezTo>
                    <a:pt x="6748" y="3048"/>
                    <a:pt x="6748" y="2921"/>
                    <a:pt x="6748" y="2794"/>
                  </a:cubicBezTo>
                  <a:cubicBezTo>
                    <a:pt x="6748" y="2667"/>
                    <a:pt x="6748" y="2540"/>
                    <a:pt x="6493" y="2286"/>
                  </a:cubicBezTo>
                  <a:cubicBezTo>
                    <a:pt x="6366" y="2032"/>
                    <a:pt x="6111" y="1778"/>
                    <a:pt x="5729" y="1651"/>
                  </a:cubicBezTo>
                  <a:cubicBezTo>
                    <a:pt x="5347" y="1397"/>
                    <a:pt x="5092" y="1397"/>
                    <a:pt x="4711" y="1397"/>
                  </a:cubicBezTo>
                  <a:cubicBezTo>
                    <a:pt x="3819" y="1397"/>
                    <a:pt x="3055" y="1651"/>
                    <a:pt x="2673" y="2286"/>
                  </a:cubicBezTo>
                  <a:cubicBezTo>
                    <a:pt x="2292" y="2921"/>
                    <a:pt x="2037" y="3810"/>
                    <a:pt x="2037" y="4826"/>
                  </a:cubicBezTo>
                  <a:lnTo>
                    <a:pt x="2037" y="6604"/>
                  </a:lnTo>
                  <a:cubicBezTo>
                    <a:pt x="2037" y="7239"/>
                    <a:pt x="2037" y="7874"/>
                    <a:pt x="2037" y="8636"/>
                  </a:cubicBezTo>
                  <a:cubicBezTo>
                    <a:pt x="2037" y="9398"/>
                    <a:pt x="2037" y="10033"/>
                    <a:pt x="2165" y="10541"/>
                  </a:cubicBezTo>
                  <a:cubicBezTo>
                    <a:pt x="1783" y="10541"/>
                    <a:pt x="1528" y="10541"/>
                    <a:pt x="1146" y="10541"/>
                  </a:cubicBezTo>
                  <a:cubicBezTo>
                    <a:pt x="764" y="10541"/>
                    <a:pt x="509" y="10541"/>
                    <a:pt x="127" y="10541"/>
                  </a:cubicBezTo>
                  <a:cubicBezTo>
                    <a:pt x="127" y="10033"/>
                    <a:pt x="127" y="9271"/>
                    <a:pt x="254" y="8636"/>
                  </a:cubicBezTo>
                  <a:cubicBezTo>
                    <a:pt x="254" y="7874"/>
                    <a:pt x="254" y="7239"/>
                    <a:pt x="254" y="6604"/>
                  </a:cubicBezTo>
                  <a:lnTo>
                    <a:pt x="254" y="4445"/>
                  </a:lnTo>
                  <a:cubicBezTo>
                    <a:pt x="254" y="3810"/>
                    <a:pt x="254" y="3175"/>
                    <a:pt x="254" y="2413"/>
                  </a:cubicBezTo>
                  <a:close/>
                </a:path>
              </a:pathLst>
            </a:custGeom>
            <a:solidFill>
              <a:srgbClr val="FFFFFF"/>
            </a:solidFill>
            <a:ln w="0" cap="flat">
              <a:noFill/>
              <a:prstDash val="solid"/>
              <a:miter/>
            </a:ln>
          </p:spPr>
          <p:txBody>
            <a:bodyPr rtlCol="0" anchor="ctr"/>
            <a:lstStyle/>
            <a:p>
              <a:endParaRPr lang="en-AD" sz="2400"/>
            </a:p>
          </p:txBody>
        </p:sp>
        <p:sp>
          <p:nvSpPr>
            <p:cNvPr id="567" name="Freeform 566">
              <a:extLst>
                <a:ext uri="{FF2B5EF4-FFF2-40B4-BE49-F238E27FC236}">
                  <a16:creationId xmlns:a16="http://schemas.microsoft.com/office/drawing/2014/main" id="{1F6E743F-35BC-3A4E-D888-A21ABE98C27A}"/>
                </a:ext>
              </a:extLst>
            </p:cNvPr>
            <p:cNvSpPr/>
            <p:nvPr/>
          </p:nvSpPr>
          <p:spPr>
            <a:xfrm>
              <a:off x="4208517" y="4851527"/>
              <a:ext cx="8911" cy="10540"/>
            </a:xfrm>
            <a:custGeom>
              <a:avLst/>
              <a:gdLst>
                <a:gd name="connsiteX0" fmla="*/ 636 w 8911"/>
                <a:gd name="connsiteY0" fmla="*/ 1270 h 10540"/>
                <a:gd name="connsiteX1" fmla="*/ 2419 w 8911"/>
                <a:gd name="connsiteY1" fmla="*/ 254 h 10540"/>
                <a:gd name="connsiteX2" fmla="*/ 4074 w 8911"/>
                <a:gd name="connsiteY2" fmla="*/ 0 h 10540"/>
                <a:gd name="connsiteX3" fmla="*/ 5474 w 8911"/>
                <a:gd name="connsiteY3" fmla="*/ 254 h 10540"/>
                <a:gd name="connsiteX4" fmla="*/ 6620 w 8911"/>
                <a:gd name="connsiteY4" fmla="*/ 889 h 10540"/>
                <a:gd name="connsiteX5" fmla="*/ 7384 w 8911"/>
                <a:gd name="connsiteY5" fmla="*/ 1905 h 10540"/>
                <a:gd name="connsiteX6" fmla="*/ 7639 w 8911"/>
                <a:gd name="connsiteY6" fmla="*/ 3175 h 10540"/>
                <a:gd name="connsiteX7" fmla="*/ 7639 w 8911"/>
                <a:gd name="connsiteY7" fmla="*/ 5588 h 10540"/>
                <a:gd name="connsiteX8" fmla="*/ 7639 w 8911"/>
                <a:gd name="connsiteY8" fmla="*/ 8128 h 10540"/>
                <a:gd name="connsiteX9" fmla="*/ 7639 w 8911"/>
                <a:gd name="connsiteY9" fmla="*/ 8636 h 10540"/>
                <a:gd name="connsiteX10" fmla="*/ 7639 w 8911"/>
                <a:gd name="connsiteY10" fmla="*/ 9144 h 10540"/>
                <a:gd name="connsiteX11" fmla="*/ 7893 w 8911"/>
                <a:gd name="connsiteY11" fmla="*/ 9525 h 10540"/>
                <a:gd name="connsiteX12" fmla="*/ 8402 w 8911"/>
                <a:gd name="connsiteY12" fmla="*/ 9652 h 10540"/>
                <a:gd name="connsiteX13" fmla="*/ 8657 w 8911"/>
                <a:gd name="connsiteY13" fmla="*/ 9652 h 10540"/>
                <a:gd name="connsiteX14" fmla="*/ 8912 w 8911"/>
                <a:gd name="connsiteY14" fmla="*/ 9652 h 10540"/>
                <a:gd name="connsiteX15" fmla="*/ 8912 w 8911"/>
                <a:gd name="connsiteY15" fmla="*/ 10160 h 10540"/>
                <a:gd name="connsiteX16" fmla="*/ 8275 w 8911"/>
                <a:gd name="connsiteY16" fmla="*/ 10287 h 10540"/>
                <a:gd name="connsiteX17" fmla="*/ 7512 w 8911"/>
                <a:gd name="connsiteY17" fmla="*/ 10287 h 10540"/>
                <a:gd name="connsiteX18" fmla="*/ 6493 w 8911"/>
                <a:gd name="connsiteY18" fmla="*/ 9906 h 10540"/>
                <a:gd name="connsiteX19" fmla="*/ 6111 w 8911"/>
                <a:gd name="connsiteY19" fmla="*/ 9017 h 10540"/>
                <a:gd name="connsiteX20" fmla="*/ 4583 w 8911"/>
                <a:gd name="connsiteY20" fmla="*/ 10160 h 10540"/>
                <a:gd name="connsiteX21" fmla="*/ 2801 w 8911"/>
                <a:gd name="connsiteY21" fmla="*/ 10541 h 10540"/>
                <a:gd name="connsiteX22" fmla="*/ 1782 w 8911"/>
                <a:gd name="connsiteY22" fmla="*/ 10414 h 10540"/>
                <a:gd name="connsiteX23" fmla="*/ 891 w 8911"/>
                <a:gd name="connsiteY23" fmla="*/ 9906 h 10540"/>
                <a:gd name="connsiteX24" fmla="*/ 254 w 8911"/>
                <a:gd name="connsiteY24" fmla="*/ 9144 h 10540"/>
                <a:gd name="connsiteX25" fmla="*/ 0 w 8911"/>
                <a:gd name="connsiteY25" fmla="*/ 8001 h 10540"/>
                <a:gd name="connsiteX26" fmla="*/ 764 w 8911"/>
                <a:gd name="connsiteY26" fmla="*/ 5969 h 10540"/>
                <a:gd name="connsiteX27" fmla="*/ 2928 w 8911"/>
                <a:gd name="connsiteY27" fmla="*/ 5080 h 10540"/>
                <a:gd name="connsiteX28" fmla="*/ 4711 w 8911"/>
                <a:gd name="connsiteY28" fmla="*/ 4699 h 10540"/>
                <a:gd name="connsiteX29" fmla="*/ 5729 w 8911"/>
                <a:gd name="connsiteY29" fmla="*/ 4445 h 10540"/>
                <a:gd name="connsiteX30" fmla="*/ 6111 w 8911"/>
                <a:gd name="connsiteY30" fmla="*/ 4064 h 10540"/>
                <a:gd name="connsiteX31" fmla="*/ 6111 w 8911"/>
                <a:gd name="connsiteY31" fmla="*/ 3556 h 10540"/>
                <a:gd name="connsiteX32" fmla="*/ 5984 w 8911"/>
                <a:gd name="connsiteY32" fmla="*/ 2540 h 10540"/>
                <a:gd name="connsiteX33" fmla="*/ 5602 w 8911"/>
                <a:gd name="connsiteY33" fmla="*/ 1651 h 10540"/>
                <a:gd name="connsiteX34" fmla="*/ 4838 w 8911"/>
                <a:gd name="connsiteY34" fmla="*/ 1016 h 10540"/>
                <a:gd name="connsiteX35" fmla="*/ 3692 w 8911"/>
                <a:gd name="connsiteY35" fmla="*/ 762 h 10540"/>
                <a:gd name="connsiteX36" fmla="*/ 2037 w 8911"/>
                <a:gd name="connsiteY36" fmla="*/ 1143 h 10540"/>
                <a:gd name="connsiteX37" fmla="*/ 891 w 8911"/>
                <a:gd name="connsiteY37" fmla="*/ 2159 h 10540"/>
                <a:gd name="connsiteX38" fmla="*/ 636 w 8911"/>
                <a:gd name="connsiteY38" fmla="*/ 2159 h 10540"/>
                <a:gd name="connsiteX39" fmla="*/ 636 w 8911"/>
                <a:gd name="connsiteY39" fmla="*/ 1016 h 10540"/>
                <a:gd name="connsiteX40" fmla="*/ 5856 w 8911"/>
                <a:gd name="connsiteY40" fmla="*/ 5080 h 10540"/>
                <a:gd name="connsiteX41" fmla="*/ 4965 w 8911"/>
                <a:gd name="connsiteY41" fmla="*/ 5334 h 10540"/>
                <a:gd name="connsiteX42" fmla="*/ 3947 w 8911"/>
                <a:gd name="connsiteY42" fmla="*/ 5461 h 10540"/>
                <a:gd name="connsiteX43" fmla="*/ 2928 w 8911"/>
                <a:gd name="connsiteY43" fmla="*/ 5715 h 10540"/>
                <a:gd name="connsiteX44" fmla="*/ 2037 w 8911"/>
                <a:gd name="connsiteY44" fmla="*/ 6096 h 10540"/>
                <a:gd name="connsiteX45" fmla="*/ 1400 w 8911"/>
                <a:gd name="connsiteY45" fmla="*/ 6731 h 10540"/>
                <a:gd name="connsiteX46" fmla="*/ 1146 w 8911"/>
                <a:gd name="connsiteY46" fmla="*/ 7747 h 10540"/>
                <a:gd name="connsiteX47" fmla="*/ 1782 w 8911"/>
                <a:gd name="connsiteY47" fmla="*/ 9271 h 10540"/>
                <a:gd name="connsiteX48" fmla="*/ 3055 w 8911"/>
                <a:gd name="connsiteY48" fmla="*/ 9779 h 10540"/>
                <a:gd name="connsiteX49" fmla="*/ 4583 w 8911"/>
                <a:gd name="connsiteY49" fmla="*/ 9271 h 10540"/>
                <a:gd name="connsiteX50" fmla="*/ 5602 w 8911"/>
                <a:gd name="connsiteY50" fmla="*/ 8255 h 10540"/>
                <a:gd name="connsiteX51" fmla="*/ 5602 w 8911"/>
                <a:gd name="connsiteY51" fmla="*/ 5080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911" h="10540">
                  <a:moveTo>
                    <a:pt x="636" y="1270"/>
                  </a:moveTo>
                  <a:cubicBezTo>
                    <a:pt x="1273" y="762"/>
                    <a:pt x="1910" y="508"/>
                    <a:pt x="2419" y="254"/>
                  </a:cubicBezTo>
                  <a:cubicBezTo>
                    <a:pt x="2928" y="0"/>
                    <a:pt x="3565" y="0"/>
                    <a:pt x="4074" y="0"/>
                  </a:cubicBezTo>
                  <a:cubicBezTo>
                    <a:pt x="4583" y="0"/>
                    <a:pt x="5092" y="0"/>
                    <a:pt x="5474" y="254"/>
                  </a:cubicBezTo>
                  <a:cubicBezTo>
                    <a:pt x="5856" y="381"/>
                    <a:pt x="6238" y="635"/>
                    <a:pt x="6620" y="889"/>
                  </a:cubicBezTo>
                  <a:cubicBezTo>
                    <a:pt x="6875" y="1143"/>
                    <a:pt x="7130" y="1524"/>
                    <a:pt x="7384" y="1905"/>
                  </a:cubicBezTo>
                  <a:cubicBezTo>
                    <a:pt x="7512" y="2286"/>
                    <a:pt x="7639" y="2667"/>
                    <a:pt x="7639" y="3175"/>
                  </a:cubicBezTo>
                  <a:cubicBezTo>
                    <a:pt x="7639" y="3937"/>
                    <a:pt x="7639" y="4826"/>
                    <a:pt x="7639" y="5588"/>
                  </a:cubicBezTo>
                  <a:cubicBezTo>
                    <a:pt x="7639" y="6350"/>
                    <a:pt x="7639" y="7239"/>
                    <a:pt x="7639" y="8128"/>
                  </a:cubicBezTo>
                  <a:cubicBezTo>
                    <a:pt x="7639" y="8255"/>
                    <a:pt x="7639" y="8509"/>
                    <a:pt x="7639" y="8636"/>
                  </a:cubicBezTo>
                  <a:cubicBezTo>
                    <a:pt x="7639" y="8890"/>
                    <a:pt x="7639" y="9017"/>
                    <a:pt x="7639" y="9144"/>
                  </a:cubicBezTo>
                  <a:cubicBezTo>
                    <a:pt x="7639" y="9271"/>
                    <a:pt x="7766" y="9398"/>
                    <a:pt x="7893" y="9525"/>
                  </a:cubicBezTo>
                  <a:cubicBezTo>
                    <a:pt x="7893" y="9525"/>
                    <a:pt x="8148" y="9652"/>
                    <a:pt x="8402" y="9652"/>
                  </a:cubicBezTo>
                  <a:cubicBezTo>
                    <a:pt x="8402" y="9652"/>
                    <a:pt x="8530" y="9652"/>
                    <a:pt x="8657" y="9652"/>
                  </a:cubicBezTo>
                  <a:cubicBezTo>
                    <a:pt x="8657" y="9652"/>
                    <a:pt x="8785" y="9652"/>
                    <a:pt x="8912" y="9652"/>
                  </a:cubicBezTo>
                  <a:lnTo>
                    <a:pt x="8912" y="10160"/>
                  </a:lnTo>
                  <a:cubicBezTo>
                    <a:pt x="8912" y="10160"/>
                    <a:pt x="8530" y="10287"/>
                    <a:pt x="8275" y="10287"/>
                  </a:cubicBezTo>
                  <a:cubicBezTo>
                    <a:pt x="8020" y="10287"/>
                    <a:pt x="7766" y="10287"/>
                    <a:pt x="7512" y="10287"/>
                  </a:cubicBezTo>
                  <a:cubicBezTo>
                    <a:pt x="7002" y="10287"/>
                    <a:pt x="6748" y="10287"/>
                    <a:pt x="6493" y="9906"/>
                  </a:cubicBezTo>
                  <a:cubicBezTo>
                    <a:pt x="6238" y="9525"/>
                    <a:pt x="6111" y="9398"/>
                    <a:pt x="6111" y="9017"/>
                  </a:cubicBezTo>
                  <a:cubicBezTo>
                    <a:pt x="5602" y="9525"/>
                    <a:pt x="5092" y="9906"/>
                    <a:pt x="4583" y="10160"/>
                  </a:cubicBezTo>
                  <a:cubicBezTo>
                    <a:pt x="4074" y="10414"/>
                    <a:pt x="3437" y="10541"/>
                    <a:pt x="2801" y="10541"/>
                  </a:cubicBezTo>
                  <a:cubicBezTo>
                    <a:pt x="2419" y="10541"/>
                    <a:pt x="2037" y="10541"/>
                    <a:pt x="1782" y="10414"/>
                  </a:cubicBezTo>
                  <a:cubicBezTo>
                    <a:pt x="1400" y="10414"/>
                    <a:pt x="1146" y="10160"/>
                    <a:pt x="891" y="9906"/>
                  </a:cubicBezTo>
                  <a:cubicBezTo>
                    <a:pt x="636" y="9652"/>
                    <a:pt x="382" y="9398"/>
                    <a:pt x="254" y="9144"/>
                  </a:cubicBezTo>
                  <a:cubicBezTo>
                    <a:pt x="127" y="8763"/>
                    <a:pt x="0" y="8509"/>
                    <a:pt x="0" y="8001"/>
                  </a:cubicBezTo>
                  <a:cubicBezTo>
                    <a:pt x="0" y="7112"/>
                    <a:pt x="254" y="6477"/>
                    <a:pt x="764" y="5969"/>
                  </a:cubicBezTo>
                  <a:cubicBezTo>
                    <a:pt x="1273" y="5461"/>
                    <a:pt x="2037" y="5207"/>
                    <a:pt x="2928" y="5080"/>
                  </a:cubicBezTo>
                  <a:cubicBezTo>
                    <a:pt x="3692" y="4953"/>
                    <a:pt x="4329" y="4826"/>
                    <a:pt x="4711" y="4699"/>
                  </a:cubicBezTo>
                  <a:cubicBezTo>
                    <a:pt x="5092" y="4699"/>
                    <a:pt x="5474" y="4572"/>
                    <a:pt x="5729" y="4445"/>
                  </a:cubicBezTo>
                  <a:cubicBezTo>
                    <a:pt x="5984" y="4445"/>
                    <a:pt x="6111" y="4191"/>
                    <a:pt x="6111" y="4064"/>
                  </a:cubicBezTo>
                  <a:cubicBezTo>
                    <a:pt x="6111" y="3937"/>
                    <a:pt x="6111" y="3810"/>
                    <a:pt x="6111" y="3556"/>
                  </a:cubicBezTo>
                  <a:cubicBezTo>
                    <a:pt x="6111" y="3175"/>
                    <a:pt x="6111" y="2921"/>
                    <a:pt x="5984" y="2540"/>
                  </a:cubicBezTo>
                  <a:cubicBezTo>
                    <a:pt x="5856" y="2159"/>
                    <a:pt x="5729" y="1905"/>
                    <a:pt x="5602" y="1651"/>
                  </a:cubicBezTo>
                  <a:cubicBezTo>
                    <a:pt x="5474" y="1397"/>
                    <a:pt x="5220" y="1270"/>
                    <a:pt x="4838" y="1016"/>
                  </a:cubicBezTo>
                  <a:cubicBezTo>
                    <a:pt x="4583" y="889"/>
                    <a:pt x="4201" y="762"/>
                    <a:pt x="3692" y="762"/>
                  </a:cubicBezTo>
                  <a:cubicBezTo>
                    <a:pt x="3183" y="762"/>
                    <a:pt x="2546" y="889"/>
                    <a:pt x="2037" y="1143"/>
                  </a:cubicBezTo>
                  <a:cubicBezTo>
                    <a:pt x="1528" y="1397"/>
                    <a:pt x="1146" y="1778"/>
                    <a:pt x="891" y="2159"/>
                  </a:cubicBezTo>
                  <a:lnTo>
                    <a:pt x="636" y="2159"/>
                  </a:lnTo>
                  <a:lnTo>
                    <a:pt x="636" y="1016"/>
                  </a:lnTo>
                  <a:close/>
                  <a:moveTo>
                    <a:pt x="5856" y="5080"/>
                  </a:moveTo>
                  <a:cubicBezTo>
                    <a:pt x="5856" y="5080"/>
                    <a:pt x="5347" y="5207"/>
                    <a:pt x="4965" y="5334"/>
                  </a:cubicBezTo>
                  <a:cubicBezTo>
                    <a:pt x="4583" y="5334"/>
                    <a:pt x="4329" y="5334"/>
                    <a:pt x="3947" y="5461"/>
                  </a:cubicBezTo>
                  <a:cubicBezTo>
                    <a:pt x="3565" y="5588"/>
                    <a:pt x="3310" y="5588"/>
                    <a:pt x="2928" y="5715"/>
                  </a:cubicBezTo>
                  <a:cubicBezTo>
                    <a:pt x="2546" y="5715"/>
                    <a:pt x="2292" y="5969"/>
                    <a:pt x="2037" y="6096"/>
                  </a:cubicBezTo>
                  <a:cubicBezTo>
                    <a:pt x="1782" y="6223"/>
                    <a:pt x="1528" y="6477"/>
                    <a:pt x="1400" y="6731"/>
                  </a:cubicBezTo>
                  <a:cubicBezTo>
                    <a:pt x="1273" y="6985"/>
                    <a:pt x="1146" y="7366"/>
                    <a:pt x="1146" y="7747"/>
                  </a:cubicBezTo>
                  <a:cubicBezTo>
                    <a:pt x="1146" y="8382"/>
                    <a:pt x="1400" y="8890"/>
                    <a:pt x="1782" y="9271"/>
                  </a:cubicBezTo>
                  <a:cubicBezTo>
                    <a:pt x="2164" y="9652"/>
                    <a:pt x="2546" y="9779"/>
                    <a:pt x="3055" y="9779"/>
                  </a:cubicBezTo>
                  <a:cubicBezTo>
                    <a:pt x="3565" y="9779"/>
                    <a:pt x="4074" y="9652"/>
                    <a:pt x="4583" y="9271"/>
                  </a:cubicBezTo>
                  <a:cubicBezTo>
                    <a:pt x="5092" y="9017"/>
                    <a:pt x="5347" y="8636"/>
                    <a:pt x="5602" y="8255"/>
                  </a:cubicBezTo>
                  <a:lnTo>
                    <a:pt x="5602" y="5080"/>
                  </a:lnTo>
                  <a:close/>
                </a:path>
              </a:pathLst>
            </a:custGeom>
            <a:solidFill>
              <a:srgbClr val="FFFFFF"/>
            </a:solidFill>
            <a:ln w="0" cap="flat">
              <a:noFill/>
              <a:prstDash val="solid"/>
              <a:miter/>
            </a:ln>
          </p:spPr>
          <p:txBody>
            <a:bodyPr rtlCol="0" anchor="ctr"/>
            <a:lstStyle/>
            <a:p>
              <a:endParaRPr lang="en-AD" sz="2400"/>
            </a:p>
          </p:txBody>
        </p:sp>
        <p:sp>
          <p:nvSpPr>
            <p:cNvPr id="568" name="Freeform 567">
              <a:extLst>
                <a:ext uri="{FF2B5EF4-FFF2-40B4-BE49-F238E27FC236}">
                  <a16:creationId xmlns:a16="http://schemas.microsoft.com/office/drawing/2014/main" id="{F4B78E5F-03FA-9DE9-128C-CA8616E097C5}"/>
                </a:ext>
              </a:extLst>
            </p:cNvPr>
            <p:cNvSpPr/>
            <p:nvPr/>
          </p:nvSpPr>
          <p:spPr>
            <a:xfrm>
              <a:off x="4218830" y="4848859"/>
              <a:ext cx="5728" cy="13518"/>
            </a:xfrm>
            <a:custGeom>
              <a:avLst/>
              <a:gdLst>
                <a:gd name="connsiteX0" fmla="*/ 2928 w 5728"/>
                <a:gd name="connsiteY0" fmla="*/ 0 h 13518"/>
                <a:gd name="connsiteX1" fmla="*/ 2928 w 5728"/>
                <a:gd name="connsiteY1" fmla="*/ 1651 h 13518"/>
                <a:gd name="connsiteX2" fmla="*/ 2928 w 5728"/>
                <a:gd name="connsiteY2" fmla="*/ 3175 h 13518"/>
                <a:gd name="connsiteX3" fmla="*/ 3819 w 5728"/>
                <a:gd name="connsiteY3" fmla="*/ 3175 h 13518"/>
                <a:gd name="connsiteX4" fmla="*/ 5220 w 5728"/>
                <a:gd name="connsiteY4" fmla="*/ 3175 h 13518"/>
                <a:gd name="connsiteX5" fmla="*/ 5220 w 5728"/>
                <a:gd name="connsiteY5" fmla="*/ 3429 h 13518"/>
                <a:gd name="connsiteX6" fmla="*/ 5220 w 5728"/>
                <a:gd name="connsiteY6" fmla="*/ 3937 h 13518"/>
                <a:gd name="connsiteX7" fmla="*/ 5220 w 5728"/>
                <a:gd name="connsiteY7" fmla="*/ 4191 h 13518"/>
                <a:gd name="connsiteX8" fmla="*/ 4583 w 5728"/>
                <a:gd name="connsiteY8" fmla="*/ 4191 h 13518"/>
                <a:gd name="connsiteX9" fmla="*/ 3947 w 5728"/>
                <a:gd name="connsiteY9" fmla="*/ 4191 h 13518"/>
                <a:gd name="connsiteX10" fmla="*/ 2928 w 5728"/>
                <a:gd name="connsiteY10" fmla="*/ 4191 h 13518"/>
                <a:gd name="connsiteX11" fmla="*/ 2928 w 5728"/>
                <a:gd name="connsiteY11" fmla="*/ 4826 h 13518"/>
                <a:gd name="connsiteX12" fmla="*/ 2928 w 5728"/>
                <a:gd name="connsiteY12" fmla="*/ 6223 h 13518"/>
                <a:gd name="connsiteX13" fmla="*/ 2928 w 5728"/>
                <a:gd name="connsiteY13" fmla="*/ 8001 h 13518"/>
                <a:gd name="connsiteX14" fmla="*/ 2928 w 5728"/>
                <a:gd name="connsiteY14" fmla="*/ 9652 h 13518"/>
                <a:gd name="connsiteX15" fmla="*/ 2928 w 5728"/>
                <a:gd name="connsiteY15" fmla="*/ 10795 h 13518"/>
                <a:gd name="connsiteX16" fmla="*/ 3183 w 5728"/>
                <a:gd name="connsiteY16" fmla="*/ 11811 h 13518"/>
                <a:gd name="connsiteX17" fmla="*/ 3692 w 5728"/>
                <a:gd name="connsiteY17" fmla="*/ 12573 h 13518"/>
                <a:gd name="connsiteX18" fmla="*/ 4711 w 5728"/>
                <a:gd name="connsiteY18" fmla="*/ 12827 h 13518"/>
                <a:gd name="connsiteX19" fmla="*/ 5220 w 5728"/>
                <a:gd name="connsiteY19" fmla="*/ 12827 h 13518"/>
                <a:gd name="connsiteX20" fmla="*/ 5729 w 5728"/>
                <a:gd name="connsiteY20" fmla="*/ 12827 h 13518"/>
                <a:gd name="connsiteX21" fmla="*/ 5729 w 5728"/>
                <a:gd name="connsiteY21" fmla="*/ 13335 h 13518"/>
                <a:gd name="connsiteX22" fmla="*/ 4965 w 5728"/>
                <a:gd name="connsiteY22" fmla="*/ 13462 h 13518"/>
                <a:gd name="connsiteX23" fmla="*/ 4074 w 5728"/>
                <a:gd name="connsiteY23" fmla="*/ 13462 h 13518"/>
                <a:gd name="connsiteX24" fmla="*/ 2037 w 5728"/>
                <a:gd name="connsiteY24" fmla="*/ 12827 h 13518"/>
                <a:gd name="connsiteX25" fmla="*/ 1400 w 5728"/>
                <a:gd name="connsiteY25" fmla="*/ 10922 h 13518"/>
                <a:gd name="connsiteX26" fmla="*/ 1400 w 5728"/>
                <a:gd name="connsiteY26" fmla="*/ 9652 h 13518"/>
                <a:gd name="connsiteX27" fmla="*/ 1400 w 5728"/>
                <a:gd name="connsiteY27" fmla="*/ 8128 h 13518"/>
                <a:gd name="connsiteX28" fmla="*/ 1400 w 5728"/>
                <a:gd name="connsiteY28" fmla="*/ 6350 h 13518"/>
                <a:gd name="connsiteX29" fmla="*/ 1400 w 5728"/>
                <a:gd name="connsiteY29" fmla="*/ 4191 h 13518"/>
                <a:gd name="connsiteX30" fmla="*/ 764 w 5728"/>
                <a:gd name="connsiteY30" fmla="*/ 4191 h 13518"/>
                <a:gd name="connsiteX31" fmla="*/ 382 w 5728"/>
                <a:gd name="connsiteY31" fmla="*/ 4191 h 13518"/>
                <a:gd name="connsiteX32" fmla="*/ 0 w 5728"/>
                <a:gd name="connsiteY32" fmla="*/ 4191 h 13518"/>
                <a:gd name="connsiteX33" fmla="*/ 0 w 5728"/>
                <a:gd name="connsiteY33" fmla="*/ 3937 h 13518"/>
                <a:gd name="connsiteX34" fmla="*/ 0 w 5728"/>
                <a:gd name="connsiteY34" fmla="*/ 3683 h 13518"/>
                <a:gd name="connsiteX35" fmla="*/ 0 w 5728"/>
                <a:gd name="connsiteY35" fmla="*/ 3429 h 13518"/>
                <a:gd name="connsiteX36" fmla="*/ 0 w 5728"/>
                <a:gd name="connsiteY36" fmla="*/ 3175 h 13518"/>
                <a:gd name="connsiteX37" fmla="*/ 1400 w 5728"/>
                <a:gd name="connsiteY37" fmla="*/ 3175 h 13518"/>
                <a:gd name="connsiteX38" fmla="*/ 1400 w 5728"/>
                <a:gd name="connsiteY38" fmla="*/ 2159 h 13518"/>
                <a:gd name="connsiteX39" fmla="*/ 1400 w 5728"/>
                <a:gd name="connsiteY39" fmla="*/ 889 h 13518"/>
                <a:gd name="connsiteX40" fmla="*/ 3183 w 5728"/>
                <a:gd name="connsiteY40" fmla="*/ 127 h 13518"/>
                <a:gd name="connsiteX41" fmla="*/ 3183 w 5728"/>
                <a:gd name="connsiteY41" fmla="*/ 127 h 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728" h="13518">
                  <a:moveTo>
                    <a:pt x="2928" y="0"/>
                  </a:moveTo>
                  <a:cubicBezTo>
                    <a:pt x="2928" y="0"/>
                    <a:pt x="2928" y="1016"/>
                    <a:pt x="2928" y="1651"/>
                  </a:cubicBezTo>
                  <a:cubicBezTo>
                    <a:pt x="2928" y="2159"/>
                    <a:pt x="2928" y="2667"/>
                    <a:pt x="2928" y="3175"/>
                  </a:cubicBezTo>
                  <a:cubicBezTo>
                    <a:pt x="3055" y="3175"/>
                    <a:pt x="3437" y="3175"/>
                    <a:pt x="3819" y="3175"/>
                  </a:cubicBezTo>
                  <a:cubicBezTo>
                    <a:pt x="4201" y="3175"/>
                    <a:pt x="4711" y="3175"/>
                    <a:pt x="5220" y="3175"/>
                  </a:cubicBezTo>
                  <a:cubicBezTo>
                    <a:pt x="5220" y="3175"/>
                    <a:pt x="5220" y="3175"/>
                    <a:pt x="5220" y="3429"/>
                  </a:cubicBezTo>
                  <a:lnTo>
                    <a:pt x="5220" y="3937"/>
                  </a:lnTo>
                  <a:cubicBezTo>
                    <a:pt x="5220" y="3937"/>
                    <a:pt x="5220" y="4064"/>
                    <a:pt x="5220" y="4191"/>
                  </a:cubicBezTo>
                  <a:cubicBezTo>
                    <a:pt x="5092" y="4191"/>
                    <a:pt x="4838" y="4191"/>
                    <a:pt x="4583" y="4191"/>
                  </a:cubicBezTo>
                  <a:cubicBezTo>
                    <a:pt x="4329" y="4191"/>
                    <a:pt x="4201" y="4191"/>
                    <a:pt x="3947" y="4191"/>
                  </a:cubicBezTo>
                  <a:lnTo>
                    <a:pt x="2928" y="4191"/>
                  </a:lnTo>
                  <a:cubicBezTo>
                    <a:pt x="2928" y="4191"/>
                    <a:pt x="2928" y="4445"/>
                    <a:pt x="2928" y="4826"/>
                  </a:cubicBezTo>
                  <a:cubicBezTo>
                    <a:pt x="2928" y="5207"/>
                    <a:pt x="2928" y="5715"/>
                    <a:pt x="2928" y="6223"/>
                  </a:cubicBezTo>
                  <a:cubicBezTo>
                    <a:pt x="2928" y="6731"/>
                    <a:pt x="2928" y="7366"/>
                    <a:pt x="2928" y="8001"/>
                  </a:cubicBezTo>
                  <a:cubicBezTo>
                    <a:pt x="2928" y="8636"/>
                    <a:pt x="2928" y="9144"/>
                    <a:pt x="2928" y="9652"/>
                  </a:cubicBezTo>
                  <a:cubicBezTo>
                    <a:pt x="2928" y="10033"/>
                    <a:pt x="2928" y="10414"/>
                    <a:pt x="2928" y="10795"/>
                  </a:cubicBezTo>
                  <a:cubicBezTo>
                    <a:pt x="2928" y="11176"/>
                    <a:pt x="2928" y="11557"/>
                    <a:pt x="3183" y="11811"/>
                  </a:cubicBezTo>
                  <a:cubicBezTo>
                    <a:pt x="3183" y="12065"/>
                    <a:pt x="3437" y="12319"/>
                    <a:pt x="3692" y="12573"/>
                  </a:cubicBezTo>
                  <a:cubicBezTo>
                    <a:pt x="3947" y="12827"/>
                    <a:pt x="4201" y="12827"/>
                    <a:pt x="4711" y="12827"/>
                  </a:cubicBezTo>
                  <a:cubicBezTo>
                    <a:pt x="4711" y="12827"/>
                    <a:pt x="4965" y="12827"/>
                    <a:pt x="5220" y="12827"/>
                  </a:cubicBezTo>
                  <a:cubicBezTo>
                    <a:pt x="5474" y="12827"/>
                    <a:pt x="5602" y="12827"/>
                    <a:pt x="5729" y="12827"/>
                  </a:cubicBezTo>
                  <a:lnTo>
                    <a:pt x="5729" y="13335"/>
                  </a:lnTo>
                  <a:cubicBezTo>
                    <a:pt x="5729" y="13335"/>
                    <a:pt x="5220" y="13335"/>
                    <a:pt x="4965" y="13462"/>
                  </a:cubicBezTo>
                  <a:cubicBezTo>
                    <a:pt x="4711" y="13589"/>
                    <a:pt x="4329" y="13462"/>
                    <a:pt x="4074" y="13462"/>
                  </a:cubicBezTo>
                  <a:cubicBezTo>
                    <a:pt x="3183" y="13462"/>
                    <a:pt x="2546" y="13208"/>
                    <a:pt x="2037" y="12827"/>
                  </a:cubicBezTo>
                  <a:cubicBezTo>
                    <a:pt x="1655" y="12446"/>
                    <a:pt x="1400" y="11684"/>
                    <a:pt x="1400" y="10922"/>
                  </a:cubicBezTo>
                  <a:cubicBezTo>
                    <a:pt x="1400" y="10541"/>
                    <a:pt x="1400" y="10160"/>
                    <a:pt x="1400" y="9652"/>
                  </a:cubicBezTo>
                  <a:cubicBezTo>
                    <a:pt x="1400" y="9144"/>
                    <a:pt x="1400" y="8763"/>
                    <a:pt x="1400" y="8128"/>
                  </a:cubicBezTo>
                  <a:cubicBezTo>
                    <a:pt x="1400" y="7620"/>
                    <a:pt x="1400" y="6985"/>
                    <a:pt x="1400" y="6350"/>
                  </a:cubicBezTo>
                  <a:cubicBezTo>
                    <a:pt x="1400" y="5715"/>
                    <a:pt x="1400" y="4953"/>
                    <a:pt x="1400" y="4191"/>
                  </a:cubicBezTo>
                  <a:lnTo>
                    <a:pt x="764" y="4191"/>
                  </a:lnTo>
                  <a:cubicBezTo>
                    <a:pt x="764" y="4191"/>
                    <a:pt x="509" y="4191"/>
                    <a:pt x="382" y="4191"/>
                  </a:cubicBezTo>
                  <a:cubicBezTo>
                    <a:pt x="254" y="4191"/>
                    <a:pt x="127" y="4191"/>
                    <a:pt x="0" y="4191"/>
                  </a:cubicBezTo>
                  <a:cubicBezTo>
                    <a:pt x="0" y="4191"/>
                    <a:pt x="0" y="4064"/>
                    <a:pt x="0" y="3937"/>
                  </a:cubicBezTo>
                  <a:cubicBezTo>
                    <a:pt x="0" y="3937"/>
                    <a:pt x="0" y="3810"/>
                    <a:pt x="0" y="3683"/>
                  </a:cubicBezTo>
                  <a:cubicBezTo>
                    <a:pt x="0" y="3683"/>
                    <a:pt x="0" y="3556"/>
                    <a:pt x="0" y="3429"/>
                  </a:cubicBezTo>
                  <a:cubicBezTo>
                    <a:pt x="0" y="3429"/>
                    <a:pt x="0" y="3302"/>
                    <a:pt x="0" y="3175"/>
                  </a:cubicBezTo>
                  <a:cubicBezTo>
                    <a:pt x="636" y="3175"/>
                    <a:pt x="1146" y="3175"/>
                    <a:pt x="1400" y="3175"/>
                  </a:cubicBezTo>
                  <a:cubicBezTo>
                    <a:pt x="1400" y="2921"/>
                    <a:pt x="1400" y="2540"/>
                    <a:pt x="1400" y="2159"/>
                  </a:cubicBezTo>
                  <a:cubicBezTo>
                    <a:pt x="1400" y="1778"/>
                    <a:pt x="1400" y="1270"/>
                    <a:pt x="1400" y="889"/>
                  </a:cubicBezTo>
                  <a:lnTo>
                    <a:pt x="3183" y="127"/>
                  </a:lnTo>
                  <a:lnTo>
                    <a:pt x="3183" y="127"/>
                  </a:lnTo>
                  <a:close/>
                </a:path>
              </a:pathLst>
            </a:custGeom>
            <a:solidFill>
              <a:srgbClr val="FFFFFF"/>
            </a:solidFill>
            <a:ln w="0" cap="flat">
              <a:noFill/>
              <a:prstDash val="solid"/>
              <a:miter/>
            </a:ln>
          </p:spPr>
          <p:txBody>
            <a:bodyPr rtlCol="0" anchor="ctr"/>
            <a:lstStyle/>
            <a:p>
              <a:endParaRPr lang="en-AD" sz="2400"/>
            </a:p>
          </p:txBody>
        </p:sp>
        <p:sp>
          <p:nvSpPr>
            <p:cNvPr id="569" name="Freeform 568">
              <a:extLst>
                <a:ext uri="{FF2B5EF4-FFF2-40B4-BE49-F238E27FC236}">
                  <a16:creationId xmlns:a16="http://schemas.microsoft.com/office/drawing/2014/main" id="{7D5AF1F8-7661-159C-75F4-58529F46D60C}"/>
                </a:ext>
              </a:extLst>
            </p:cNvPr>
            <p:cNvSpPr/>
            <p:nvPr/>
          </p:nvSpPr>
          <p:spPr>
            <a:xfrm>
              <a:off x="4226086"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255 w 2291"/>
                <a:gd name="connsiteY9" fmla="*/ 8890 h 14985"/>
                <a:gd name="connsiteX10" fmla="*/ 255 w 2291"/>
                <a:gd name="connsiteY10" fmla="*/ 6858 h 14985"/>
                <a:gd name="connsiteX11" fmla="*/ 127 w 2291"/>
                <a:gd name="connsiteY11" fmla="*/ 4826 h 14985"/>
                <a:gd name="connsiteX12" fmla="*/ 1146 w 2291"/>
                <a:gd name="connsiteY12" fmla="*/ 4826 h 14985"/>
                <a:gd name="connsiteX13" fmla="*/ 2165 w 2291"/>
                <a:gd name="connsiteY13" fmla="*/ 4826 h 14985"/>
                <a:gd name="connsiteX14" fmla="*/ 2037 w 2291"/>
                <a:gd name="connsiteY14" fmla="*/ 6858 h 14985"/>
                <a:gd name="connsiteX15" fmla="*/ 2037 w 2291"/>
                <a:gd name="connsiteY15" fmla="*/ 8890 h 14985"/>
                <a:gd name="connsiteX16" fmla="*/ 2037 w 2291"/>
                <a:gd name="connsiteY16" fmla="*/ 11049 h 14985"/>
                <a:gd name="connsiteX17" fmla="*/ 2037 w 2291"/>
                <a:gd name="connsiteY17" fmla="*/ 13081 h 14985"/>
                <a:gd name="connsiteX18" fmla="*/ 2165 w 2291"/>
                <a:gd name="connsiteY18" fmla="*/ 14986 h 14985"/>
                <a:gd name="connsiteX19" fmla="*/ 1146 w 2291"/>
                <a:gd name="connsiteY19" fmla="*/ 14986 h 14985"/>
                <a:gd name="connsiteX20" fmla="*/ 127 w 2291"/>
                <a:gd name="connsiteY20" fmla="*/ 14986 h 14985"/>
                <a:gd name="connsiteX21" fmla="*/ 255 w 2291"/>
                <a:gd name="connsiteY21" fmla="*/ 13081 h 14985"/>
                <a:gd name="connsiteX22" fmla="*/ 255 w 2291"/>
                <a:gd name="connsiteY22" fmla="*/ 11049 h 14985"/>
                <a:gd name="connsiteX23" fmla="*/ 255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7" y="127"/>
                    <a:pt x="891" y="0"/>
                    <a:pt x="1146" y="0"/>
                  </a:cubicBezTo>
                  <a:cubicBezTo>
                    <a:pt x="1401" y="0"/>
                    <a:pt x="1655" y="0"/>
                    <a:pt x="1910" y="381"/>
                  </a:cubicBezTo>
                  <a:cubicBezTo>
                    <a:pt x="2165" y="635"/>
                    <a:pt x="2292" y="889"/>
                    <a:pt x="2292" y="1143"/>
                  </a:cubicBezTo>
                  <a:cubicBezTo>
                    <a:pt x="2292" y="1397"/>
                    <a:pt x="2292" y="1651"/>
                    <a:pt x="1910" y="1905"/>
                  </a:cubicBezTo>
                  <a:cubicBezTo>
                    <a:pt x="1655" y="2159"/>
                    <a:pt x="1401" y="2286"/>
                    <a:pt x="1146" y="2286"/>
                  </a:cubicBezTo>
                  <a:cubicBezTo>
                    <a:pt x="891" y="2286"/>
                    <a:pt x="637" y="2286"/>
                    <a:pt x="382" y="1905"/>
                  </a:cubicBezTo>
                  <a:cubicBezTo>
                    <a:pt x="127" y="1651"/>
                    <a:pt x="0" y="1397"/>
                    <a:pt x="0" y="1143"/>
                  </a:cubicBezTo>
                  <a:close/>
                  <a:moveTo>
                    <a:pt x="255" y="8890"/>
                  </a:moveTo>
                  <a:cubicBezTo>
                    <a:pt x="255" y="8255"/>
                    <a:pt x="255" y="7620"/>
                    <a:pt x="255" y="6858"/>
                  </a:cubicBezTo>
                  <a:cubicBezTo>
                    <a:pt x="255" y="6096"/>
                    <a:pt x="255" y="5461"/>
                    <a:pt x="127" y="4826"/>
                  </a:cubicBezTo>
                  <a:cubicBezTo>
                    <a:pt x="509" y="4826"/>
                    <a:pt x="891" y="4826"/>
                    <a:pt x="1146" y="4826"/>
                  </a:cubicBezTo>
                  <a:cubicBezTo>
                    <a:pt x="1401" y="4826"/>
                    <a:pt x="1655" y="4826"/>
                    <a:pt x="2165" y="4826"/>
                  </a:cubicBezTo>
                  <a:cubicBezTo>
                    <a:pt x="2165" y="5461"/>
                    <a:pt x="2165" y="6096"/>
                    <a:pt x="2037" y="6858"/>
                  </a:cubicBezTo>
                  <a:cubicBezTo>
                    <a:pt x="2037" y="7620"/>
                    <a:pt x="2037" y="8255"/>
                    <a:pt x="2037" y="8890"/>
                  </a:cubicBezTo>
                  <a:lnTo>
                    <a:pt x="2037" y="11049"/>
                  </a:lnTo>
                  <a:cubicBezTo>
                    <a:pt x="2037" y="11684"/>
                    <a:pt x="2037" y="12319"/>
                    <a:pt x="2037" y="13081"/>
                  </a:cubicBezTo>
                  <a:cubicBezTo>
                    <a:pt x="2037" y="13843"/>
                    <a:pt x="2037" y="14478"/>
                    <a:pt x="2165" y="14986"/>
                  </a:cubicBezTo>
                  <a:cubicBezTo>
                    <a:pt x="1783" y="14986"/>
                    <a:pt x="1528" y="14986"/>
                    <a:pt x="1146" y="14986"/>
                  </a:cubicBezTo>
                  <a:cubicBezTo>
                    <a:pt x="764" y="14986"/>
                    <a:pt x="509" y="14986"/>
                    <a:pt x="127" y="14986"/>
                  </a:cubicBezTo>
                  <a:cubicBezTo>
                    <a:pt x="127" y="14478"/>
                    <a:pt x="127" y="13716"/>
                    <a:pt x="255" y="13081"/>
                  </a:cubicBezTo>
                  <a:cubicBezTo>
                    <a:pt x="255" y="12319"/>
                    <a:pt x="255" y="11684"/>
                    <a:pt x="255" y="11049"/>
                  </a:cubicBezTo>
                  <a:lnTo>
                    <a:pt x="255" y="8890"/>
                  </a:lnTo>
                  <a:close/>
                </a:path>
              </a:pathLst>
            </a:custGeom>
            <a:solidFill>
              <a:srgbClr val="FFFFFF"/>
            </a:solidFill>
            <a:ln w="0" cap="flat">
              <a:noFill/>
              <a:prstDash val="solid"/>
              <a:miter/>
            </a:ln>
          </p:spPr>
          <p:txBody>
            <a:bodyPr rtlCol="0" anchor="ctr"/>
            <a:lstStyle/>
            <a:p>
              <a:endParaRPr lang="en-AD" sz="2400"/>
            </a:p>
          </p:txBody>
        </p:sp>
        <p:sp>
          <p:nvSpPr>
            <p:cNvPr id="570" name="Freeform 569">
              <a:extLst>
                <a:ext uri="{FF2B5EF4-FFF2-40B4-BE49-F238E27FC236}">
                  <a16:creationId xmlns:a16="http://schemas.microsoft.com/office/drawing/2014/main" id="{6665AD5C-5060-B75F-8802-D0C092D9D9E5}"/>
                </a:ext>
              </a:extLst>
            </p:cNvPr>
            <p:cNvSpPr/>
            <p:nvPr/>
          </p:nvSpPr>
          <p:spPr>
            <a:xfrm>
              <a:off x="4231052" y="4851653"/>
              <a:ext cx="10566" cy="10414"/>
            </a:xfrm>
            <a:custGeom>
              <a:avLst/>
              <a:gdLst>
                <a:gd name="connsiteX0" fmla="*/ 0 w 10566"/>
                <a:gd name="connsiteY0" fmla="*/ 5207 h 10414"/>
                <a:gd name="connsiteX1" fmla="*/ 509 w 10566"/>
                <a:gd name="connsiteY1" fmla="*/ 2794 h 10414"/>
                <a:gd name="connsiteX2" fmla="*/ 1782 w 10566"/>
                <a:gd name="connsiteY2" fmla="*/ 1143 h 10414"/>
                <a:gd name="connsiteX3" fmla="*/ 3437 w 10566"/>
                <a:gd name="connsiteY3" fmla="*/ 254 h 10414"/>
                <a:gd name="connsiteX4" fmla="*/ 5347 w 10566"/>
                <a:gd name="connsiteY4" fmla="*/ 0 h 10414"/>
                <a:gd name="connsiteX5" fmla="*/ 7257 w 10566"/>
                <a:gd name="connsiteY5" fmla="*/ 254 h 10414"/>
                <a:gd name="connsiteX6" fmla="*/ 8912 w 10566"/>
                <a:gd name="connsiteY6" fmla="*/ 1143 h 10414"/>
                <a:gd name="connsiteX7" fmla="*/ 10058 w 10566"/>
                <a:gd name="connsiteY7" fmla="*/ 2794 h 10414"/>
                <a:gd name="connsiteX8" fmla="*/ 10567 w 10566"/>
                <a:gd name="connsiteY8" fmla="*/ 5207 h 10414"/>
                <a:gd name="connsiteX9" fmla="*/ 10058 w 10566"/>
                <a:gd name="connsiteY9" fmla="*/ 7620 h 10414"/>
                <a:gd name="connsiteX10" fmla="*/ 8912 w 10566"/>
                <a:gd name="connsiteY10" fmla="*/ 9271 h 10414"/>
                <a:gd name="connsiteX11" fmla="*/ 7257 w 10566"/>
                <a:gd name="connsiteY11" fmla="*/ 10160 h 10414"/>
                <a:gd name="connsiteX12" fmla="*/ 5347 w 10566"/>
                <a:gd name="connsiteY12" fmla="*/ 10414 h 10414"/>
                <a:gd name="connsiteX13" fmla="*/ 3437 w 10566"/>
                <a:gd name="connsiteY13" fmla="*/ 10160 h 10414"/>
                <a:gd name="connsiteX14" fmla="*/ 1782 w 10566"/>
                <a:gd name="connsiteY14" fmla="*/ 9271 h 10414"/>
                <a:gd name="connsiteX15" fmla="*/ 509 w 10566"/>
                <a:gd name="connsiteY15" fmla="*/ 7620 h 10414"/>
                <a:gd name="connsiteX16" fmla="*/ 0 w 10566"/>
                <a:gd name="connsiteY16" fmla="*/ 5207 h 10414"/>
                <a:gd name="connsiteX17" fmla="*/ 1782 w 10566"/>
                <a:gd name="connsiteY17" fmla="*/ 5207 h 10414"/>
                <a:gd name="connsiteX18" fmla="*/ 1910 w 10566"/>
                <a:gd name="connsiteY18" fmla="*/ 6985 h 10414"/>
                <a:gd name="connsiteX19" fmla="*/ 2419 w 10566"/>
                <a:gd name="connsiteY19" fmla="*/ 8509 h 10414"/>
                <a:gd name="connsiteX20" fmla="*/ 3437 w 10566"/>
                <a:gd name="connsiteY20" fmla="*/ 9525 h 10414"/>
                <a:gd name="connsiteX21" fmla="*/ 4965 w 10566"/>
                <a:gd name="connsiteY21" fmla="*/ 9906 h 10414"/>
                <a:gd name="connsiteX22" fmla="*/ 6493 w 10566"/>
                <a:gd name="connsiteY22" fmla="*/ 9525 h 10414"/>
                <a:gd name="connsiteX23" fmla="*/ 7512 w 10566"/>
                <a:gd name="connsiteY23" fmla="*/ 8509 h 10414"/>
                <a:gd name="connsiteX24" fmla="*/ 8021 w 10566"/>
                <a:gd name="connsiteY24" fmla="*/ 6985 h 10414"/>
                <a:gd name="connsiteX25" fmla="*/ 8148 w 10566"/>
                <a:gd name="connsiteY25" fmla="*/ 5207 h 10414"/>
                <a:gd name="connsiteX26" fmla="*/ 8021 w 10566"/>
                <a:gd name="connsiteY26" fmla="*/ 3429 h 10414"/>
                <a:gd name="connsiteX27" fmla="*/ 7512 w 10566"/>
                <a:gd name="connsiteY27" fmla="*/ 1905 h 10414"/>
                <a:gd name="connsiteX28" fmla="*/ 6493 w 10566"/>
                <a:gd name="connsiteY28" fmla="*/ 889 h 10414"/>
                <a:gd name="connsiteX29" fmla="*/ 4965 w 10566"/>
                <a:gd name="connsiteY29" fmla="*/ 508 h 10414"/>
                <a:gd name="connsiteX30" fmla="*/ 3437 w 10566"/>
                <a:gd name="connsiteY30" fmla="*/ 889 h 10414"/>
                <a:gd name="connsiteX31" fmla="*/ 2419 w 10566"/>
                <a:gd name="connsiteY31" fmla="*/ 1905 h 10414"/>
                <a:gd name="connsiteX32" fmla="*/ 1910 w 10566"/>
                <a:gd name="connsiteY32" fmla="*/ 3429 h 10414"/>
                <a:gd name="connsiteX33" fmla="*/ 1782 w 10566"/>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6" h="10414">
                  <a:moveTo>
                    <a:pt x="0" y="5207"/>
                  </a:moveTo>
                  <a:cubicBezTo>
                    <a:pt x="0" y="4191"/>
                    <a:pt x="127" y="3429"/>
                    <a:pt x="509" y="2794"/>
                  </a:cubicBezTo>
                  <a:cubicBezTo>
                    <a:pt x="764" y="2159"/>
                    <a:pt x="1273" y="1524"/>
                    <a:pt x="1782" y="1143"/>
                  </a:cubicBezTo>
                  <a:cubicBezTo>
                    <a:pt x="2292" y="762"/>
                    <a:pt x="2801" y="381"/>
                    <a:pt x="3437" y="254"/>
                  </a:cubicBezTo>
                  <a:cubicBezTo>
                    <a:pt x="4074" y="0"/>
                    <a:pt x="4711" y="0"/>
                    <a:pt x="5347" y="0"/>
                  </a:cubicBezTo>
                  <a:cubicBezTo>
                    <a:pt x="5984" y="0"/>
                    <a:pt x="6620" y="0"/>
                    <a:pt x="7257" y="254"/>
                  </a:cubicBezTo>
                  <a:cubicBezTo>
                    <a:pt x="7893" y="508"/>
                    <a:pt x="8403" y="762"/>
                    <a:pt x="8912" y="1143"/>
                  </a:cubicBezTo>
                  <a:cubicBezTo>
                    <a:pt x="9421"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0" y="10287"/>
                    <a:pt x="5984" y="10414"/>
                    <a:pt x="5347" y="10414"/>
                  </a:cubicBezTo>
                  <a:cubicBezTo>
                    <a:pt x="4711" y="10414"/>
                    <a:pt x="4074" y="10414"/>
                    <a:pt x="3437" y="10160"/>
                  </a:cubicBezTo>
                  <a:cubicBezTo>
                    <a:pt x="2801" y="9906"/>
                    <a:pt x="2292" y="9652"/>
                    <a:pt x="1782" y="9271"/>
                  </a:cubicBezTo>
                  <a:cubicBezTo>
                    <a:pt x="1273" y="8890"/>
                    <a:pt x="891" y="8255"/>
                    <a:pt x="509" y="7620"/>
                  </a:cubicBezTo>
                  <a:cubicBezTo>
                    <a:pt x="254" y="6985"/>
                    <a:pt x="0" y="6096"/>
                    <a:pt x="0" y="5207"/>
                  </a:cubicBezTo>
                  <a:close/>
                  <a:moveTo>
                    <a:pt x="1782" y="5207"/>
                  </a:moveTo>
                  <a:cubicBezTo>
                    <a:pt x="1782" y="5207"/>
                    <a:pt x="1782" y="6350"/>
                    <a:pt x="1910" y="6985"/>
                  </a:cubicBezTo>
                  <a:cubicBezTo>
                    <a:pt x="1910" y="7493"/>
                    <a:pt x="2165" y="8001"/>
                    <a:pt x="2419" y="8509"/>
                  </a:cubicBezTo>
                  <a:cubicBezTo>
                    <a:pt x="2673" y="8890"/>
                    <a:pt x="3055" y="9271"/>
                    <a:pt x="3437" y="9525"/>
                  </a:cubicBezTo>
                  <a:cubicBezTo>
                    <a:pt x="3819" y="9779"/>
                    <a:pt x="4456" y="9906"/>
                    <a:pt x="4965" y="9906"/>
                  </a:cubicBezTo>
                  <a:cubicBezTo>
                    <a:pt x="5474" y="9906"/>
                    <a:pt x="6111" y="9779"/>
                    <a:pt x="6493" y="9525"/>
                  </a:cubicBezTo>
                  <a:cubicBezTo>
                    <a:pt x="6875" y="9271"/>
                    <a:pt x="7257" y="8890"/>
                    <a:pt x="7512" y="8509"/>
                  </a:cubicBezTo>
                  <a:cubicBezTo>
                    <a:pt x="7766" y="8128"/>
                    <a:pt x="7893" y="7620"/>
                    <a:pt x="8021" y="6985"/>
                  </a:cubicBezTo>
                  <a:cubicBezTo>
                    <a:pt x="8021" y="6477"/>
                    <a:pt x="8148" y="5842"/>
                    <a:pt x="8148" y="5207"/>
                  </a:cubicBezTo>
                  <a:cubicBezTo>
                    <a:pt x="8148" y="4572"/>
                    <a:pt x="8148" y="4064"/>
                    <a:pt x="8021" y="3429"/>
                  </a:cubicBezTo>
                  <a:cubicBezTo>
                    <a:pt x="8021" y="2921"/>
                    <a:pt x="7766" y="2413"/>
                    <a:pt x="7512" y="1905"/>
                  </a:cubicBezTo>
                  <a:cubicBezTo>
                    <a:pt x="7257" y="1524"/>
                    <a:pt x="6875" y="1143"/>
                    <a:pt x="6493" y="889"/>
                  </a:cubicBezTo>
                  <a:cubicBezTo>
                    <a:pt x="6111" y="635"/>
                    <a:pt x="5474" y="508"/>
                    <a:pt x="4965" y="508"/>
                  </a:cubicBezTo>
                  <a:cubicBezTo>
                    <a:pt x="4456" y="508"/>
                    <a:pt x="3819" y="635"/>
                    <a:pt x="3437" y="889"/>
                  </a:cubicBezTo>
                  <a:cubicBezTo>
                    <a:pt x="3055" y="1143"/>
                    <a:pt x="2673" y="1524"/>
                    <a:pt x="2419" y="1905"/>
                  </a:cubicBezTo>
                  <a:cubicBezTo>
                    <a:pt x="2165" y="2286"/>
                    <a:pt x="2037" y="2794"/>
                    <a:pt x="1910" y="3429"/>
                  </a:cubicBezTo>
                  <a:cubicBezTo>
                    <a:pt x="1910" y="3937"/>
                    <a:pt x="1782" y="4572"/>
                    <a:pt x="1782" y="5207"/>
                  </a:cubicBezTo>
                  <a:close/>
                </a:path>
              </a:pathLst>
            </a:custGeom>
            <a:solidFill>
              <a:srgbClr val="FFFFFF"/>
            </a:solidFill>
            <a:ln w="0" cap="flat">
              <a:noFill/>
              <a:prstDash val="solid"/>
              <a:miter/>
            </a:ln>
          </p:spPr>
          <p:txBody>
            <a:bodyPr rtlCol="0" anchor="ctr"/>
            <a:lstStyle/>
            <a:p>
              <a:endParaRPr lang="en-AD" sz="2400"/>
            </a:p>
          </p:txBody>
        </p:sp>
        <p:sp>
          <p:nvSpPr>
            <p:cNvPr id="571" name="Freeform 570">
              <a:extLst>
                <a:ext uri="{FF2B5EF4-FFF2-40B4-BE49-F238E27FC236}">
                  <a16:creationId xmlns:a16="http://schemas.microsoft.com/office/drawing/2014/main" id="{3C9C311C-484E-B990-A10C-AD1AEC153615}"/>
                </a:ext>
              </a:extLst>
            </p:cNvPr>
            <p:cNvSpPr/>
            <p:nvPr/>
          </p:nvSpPr>
          <p:spPr>
            <a:xfrm>
              <a:off x="4243911"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5 w 8784"/>
                <a:gd name="connsiteY24" fmla="*/ 3683 h 10414"/>
                <a:gd name="connsiteX25" fmla="*/ 8785 w 8784"/>
                <a:gd name="connsiteY25" fmla="*/ 5588 h 10414"/>
                <a:gd name="connsiteX26" fmla="*/ 8785 w 8784"/>
                <a:gd name="connsiteY26" fmla="*/ 7620 h 10414"/>
                <a:gd name="connsiteX27" fmla="*/ 8785 w 8784"/>
                <a:gd name="connsiteY27" fmla="*/ 9017 h 10414"/>
                <a:gd name="connsiteX28" fmla="*/ 8785 w 8784"/>
                <a:gd name="connsiteY28" fmla="*/ 9652 h 10414"/>
                <a:gd name="connsiteX29" fmla="*/ 8785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3" y="1397"/>
                    <a:pt x="8530" y="1905"/>
                  </a:cubicBezTo>
                  <a:cubicBezTo>
                    <a:pt x="8785" y="2413"/>
                    <a:pt x="8785" y="3048"/>
                    <a:pt x="8785" y="3683"/>
                  </a:cubicBezTo>
                  <a:cubicBezTo>
                    <a:pt x="8785" y="4318"/>
                    <a:pt x="8785" y="4953"/>
                    <a:pt x="8785" y="5588"/>
                  </a:cubicBezTo>
                  <a:cubicBezTo>
                    <a:pt x="8785" y="6223"/>
                    <a:pt x="8785" y="6985"/>
                    <a:pt x="8785" y="7620"/>
                  </a:cubicBezTo>
                  <a:lnTo>
                    <a:pt x="8785" y="9017"/>
                  </a:lnTo>
                  <a:cubicBezTo>
                    <a:pt x="8785" y="9017"/>
                    <a:pt x="8785" y="9525"/>
                    <a:pt x="8785" y="9652"/>
                  </a:cubicBezTo>
                  <a:cubicBezTo>
                    <a:pt x="8785" y="9906"/>
                    <a:pt x="8785" y="10033"/>
                    <a:pt x="8785"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572" name="Freeform 571">
              <a:extLst>
                <a:ext uri="{FF2B5EF4-FFF2-40B4-BE49-F238E27FC236}">
                  <a16:creationId xmlns:a16="http://schemas.microsoft.com/office/drawing/2014/main" id="{36C615CA-8286-1851-7569-22CB0907F00B}"/>
                </a:ext>
              </a:extLst>
            </p:cNvPr>
            <p:cNvSpPr/>
            <p:nvPr/>
          </p:nvSpPr>
          <p:spPr>
            <a:xfrm>
              <a:off x="4261353" y="4846828"/>
              <a:ext cx="8784" cy="15366"/>
            </a:xfrm>
            <a:custGeom>
              <a:avLst/>
              <a:gdLst>
                <a:gd name="connsiteX0" fmla="*/ 1018 w 8784"/>
                <a:gd name="connsiteY0" fmla="*/ 13081 h 15366"/>
                <a:gd name="connsiteX1" fmla="*/ 1782 w 8784"/>
                <a:gd name="connsiteY1" fmla="*/ 13843 h 15366"/>
                <a:gd name="connsiteX2" fmla="*/ 2801 w 8784"/>
                <a:gd name="connsiteY2" fmla="*/ 14351 h 15366"/>
                <a:gd name="connsiteX3" fmla="*/ 4074 w 8784"/>
                <a:gd name="connsiteY3" fmla="*/ 14605 h 15366"/>
                <a:gd name="connsiteX4" fmla="*/ 5347 w 8784"/>
                <a:gd name="connsiteY4" fmla="*/ 14351 h 15366"/>
                <a:gd name="connsiteX5" fmla="*/ 6366 w 8784"/>
                <a:gd name="connsiteY5" fmla="*/ 13716 h 15366"/>
                <a:gd name="connsiteX6" fmla="*/ 7002 w 8784"/>
                <a:gd name="connsiteY6" fmla="*/ 12700 h 15366"/>
                <a:gd name="connsiteX7" fmla="*/ 7257 w 8784"/>
                <a:gd name="connsiteY7" fmla="*/ 11430 h 15366"/>
                <a:gd name="connsiteX8" fmla="*/ 6748 w 8784"/>
                <a:gd name="connsiteY8" fmla="*/ 9906 h 15366"/>
                <a:gd name="connsiteX9" fmla="*/ 5474 w 8784"/>
                <a:gd name="connsiteY9" fmla="*/ 8890 h 15366"/>
                <a:gd name="connsiteX10" fmla="*/ 3819 w 8784"/>
                <a:gd name="connsiteY10" fmla="*/ 8128 h 15366"/>
                <a:gd name="connsiteX11" fmla="*/ 2164 w 8784"/>
                <a:gd name="connsiteY11" fmla="*/ 7366 h 15366"/>
                <a:gd name="connsiteX12" fmla="*/ 891 w 8784"/>
                <a:gd name="connsiteY12" fmla="*/ 6096 h 15366"/>
                <a:gd name="connsiteX13" fmla="*/ 382 w 8784"/>
                <a:gd name="connsiteY13" fmla="*/ 4064 h 15366"/>
                <a:gd name="connsiteX14" fmla="*/ 764 w 8784"/>
                <a:gd name="connsiteY14" fmla="*/ 2413 h 15366"/>
                <a:gd name="connsiteX15" fmla="*/ 1655 w 8784"/>
                <a:gd name="connsiteY15" fmla="*/ 1143 h 15366"/>
                <a:gd name="connsiteX16" fmla="*/ 3183 w 8784"/>
                <a:gd name="connsiteY16" fmla="*/ 254 h 15366"/>
                <a:gd name="connsiteX17" fmla="*/ 5092 w 8784"/>
                <a:gd name="connsiteY17" fmla="*/ 0 h 15366"/>
                <a:gd name="connsiteX18" fmla="*/ 6875 w 8784"/>
                <a:gd name="connsiteY18" fmla="*/ 254 h 15366"/>
                <a:gd name="connsiteX19" fmla="*/ 8275 w 8784"/>
                <a:gd name="connsiteY19" fmla="*/ 1016 h 15366"/>
                <a:gd name="connsiteX20" fmla="*/ 7893 w 8784"/>
                <a:gd name="connsiteY20" fmla="*/ 1778 h 15366"/>
                <a:gd name="connsiteX21" fmla="*/ 7639 w 8784"/>
                <a:gd name="connsiteY21" fmla="*/ 2794 h 15366"/>
                <a:gd name="connsiteX22" fmla="*/ 7384 w 8784"/>
                <a:gd name="connsiteY22" fmla="*/ 2794 h 15366"/>
                <a:gd name="connsiteX23" fmla="*/ 7130 w 8784"/>
                <a:gd name="connsiteY23" fmla="*/ 2159 h 15366"/>
                <a:gd name="connsiteX24" fmla="*/ 6620 w 8784"/>
                <a:gd name="connsiteY24" fmla="*/ 1524 h 15366"/>
                <a:gd name="connsiteX25" fmla="*/ 5856 w 8784"/>
                <a:gd name="connsiteY25" fmla="*/ 1016 h 15366"/>
                <a:gd name="connsiteX26" fmla="*/ 4838 w 8784"/>
                <a:gd name="connsiteY26" fmla="*/ 762 h 15366"/>
                <a:gd name="connsiteX27" fmla="*/ 3692 w 8784"/>
                <a:gd name="connsiteY27" fmla="*/ 1016 h 15366"/>
                <a:gd name="connsiteX28" fmla="*/ 2801 w 8784"/>
                <a:gd name="connsiteY28" fmla="*/ 1524 h 15366"/>
                <a:gd name="connsiteX29" fmla="*/ 2164 w 8784"/>
                <a:gd name="connsiteY29" fmla="*/ 2413 h 15366"/>
                <a:gd name="connsiteX30" fmla="*/ 1910 w 8784"/>
                <a:gd name="connsiteY30" fmla="*/ 3429 h 15366"/>
                <a:gd name="connsiteX31" fmla="*/ 2419 w 8784"/>
                <a:gd name="connsiteY31" fmla="*/ 4953 h 15366"/>
                <a:gd name="connsiteX32" fmla="*/ 3692 w 8784"/>
                <a:gd name="connsiteY32" fmla="*/ 5969 h 15366"/>
                <a:gd name="connsiteX33" fmla="*/ 5347 w 8784"/>
                <a:gd name="connsiteY33" fmla="*/ 6731 h 15366"/>
                <a:gd name="connsiteX34" fmla="*/ 7002 w 8784"/>
                <a:gd name="connsiteY34" fmla="*/ 7493 h 15366"/>
                <a:gd name="connsiteX35" fmla="*/ 8275 w 8784"/>
                <a:gd name="connsiteY35" fmla="*/ 8636 h 15366"/>
                <a:gd name="connsiteX36" fmla="*/ 8785 w 8784"/>
                <a:gd name="connsiteY36" fmla="*/ 10541 h 15366"/>
                <a:gd name="connsiteX37" fmla="*/ 8403 w 8784"/>
                <a:gd name="connsiteY37" fmla="*/ 12446 h 15366"/>
                <a:gd name="connsiteX38" fmla="*/ 7384 w 8784"/>
                <a:gd name="connsiteY38" fmla="*/ 13970 h 15366"/>
                <a:gd name="connsiteX39" fmla="*/ 5729 w 8784"/>
                <a:gd name="connsiteY39" fmla="*/ 14986 h 15366"/>
                <a:gd name="connsiteX40" fmla="*/ 3565 w 8784"/>
                <a:gd name="connsiteY40" fmla="*/ 15367 h 15366"/>
                <a:gd name="connsiteX41" fmla="*/ 1400 w 8784"/>
                <a:gd name="connsiteY41" fmla="*/ 14986 h 15366"/>
                <a:gd name="connsiteX42" fmla="*/ 0 w 8784"/>
                <a:gd name="connsiteY42" fmla="*/ 14224 h 15366"/>
                <a:gd name="connsiteX43" fmla="*/ 254 w 8784"/>
                <a:gd name="connsiteY43" fmla="*/ 13335 h 15366"/>
                <a:gd name="connsiteX44" fmla="*/ 382 w 8784"/>
                <a:gd name="connsiteY44" fmla="*/ 12319 h 15366"/>
                <a:gd name="connsiteX45" fmla="*/ 636 w 8784"/>
                <a:gd name="connsiteY45" fmla="*/ 12319 h 15366"/>
                <a:gd name="connsiteX46" fmla="*/ 1146 w 8784"/>
                <a:gd name="connsiteY46" fmla="*/ 13081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84" h="15366">
                  <a:moveTo>
                    <a:pt x="1018" y="13081"/>
                  </a:moveTo>
                  <a:cubicBezTo>
                    <a:pt x="1018" y="13081"/>
                    <a:pt x="1400" y="13589"/>
                    <a:pt x="1782" y="13843"/>
                  </a:cubicBezTo>
                  <a:cubicBezTo>
                    <a:pt x="2164" y="14097"/>
                    <a:pt x="2419" y="14224"/>
                    <a:pt x="2801" y="14351"/>
                  </a:cubicBezTo>
                  <a:cubicBezTo>
                    <a:pt x="3183" y="14478"/>
                    <a:pt x="3565" y="14605"/>
                    <a:pt x="4074" y="14605"/>
                  </a:cubicBezTo>
                  <a:cubicBezTo>
                    <a:pt x="4583" y="14605"/>
                    <a:pt x="4965" y="14605"/>
                    <a:pt x="5347" y="14351"/>
                  </a:cubicBezTo>
                  <a:cubicBezTo>
                    <a:pt x="5729" y="14224"/>
                    <a:pt x="5984" y="13970"/>
                    <a:pt x="6366" y="13716"/>
                  </a:cubicBezTo>
                  <a:cubicBezTo>
                    <a:pt x="6620" y="13462"/>
                    <a:pt x="6875" y="13081"/>
                    <a:pt x="7002" y="12700"/>
                  </a:cubicBezTo>
                  <a:cubicBezTo>
                    <a:pt x="7130" y="12319"/>
                    <a:pt x="7257" y="11938"/>
                    <a:pt x="7257" y="11430"/>
                  </a:cubicBezTo>
                  <a:cubicBezTo>
                    <a:pt x="7257" y="10795"/>
                    <a:pt x="7130" y="10287"/>
                    <a:pt x="6748" y="9906"/>
                  </a:cubicBezTo>
                  <a:cubicBezTo>
                    <a:pt x="6366" y="9525"/>
                    <a:pt x="5984" y="9144"/>
                    <a:pt x="5474" y="8890"/>
                  </a:cubicBezTo>
                  <a:cubicBezTo>
                    <a:pt x="4965" y="8636"/>
                    <a:pt x="4456" y="8382"/>
                    <a:pt x="3819" y="8128"/>
                  </a:cubicBezTo>
                  <a:cubicBezTo>
                    <a:pt x="3183" y="7874"/>
                    <a:pt x="2673" y="7620"/>
                    <a:pt x="2164" y="7366"/>
                  </a:cubicBezTo>
                  <a:cubicBezTo>
                    <a:pt x="1655" y="6985"/>
                    <a:pt x="1273" y="6604"/>
                    <a:pt x="891" y="6096"/>
                  </a:cubicBezTo>
                  <a:cubicBezTo>
                    <a:pt x="509" y="5588"/>
                    <a:pt x="382" y="4953"/>
                    <a:pt x="382" y="4064"/>
                  </a:cubicBezTo>
                  <a:cubicBezTo>
                    <a:pt x="382" y="3429"/>
                    <a:pt x="382" y="2921"/>
                    <a:pt x="764" y="2413"/>
                  </a:cubicBezTo>
                  <a:cubicBezTo>
                    <a:pt x="1018" y="1905"/>
                    <a:pt x="1273" y="1524"/>
                    <a:pt x="1655" y="1143"/>
                  </a:cubicBezTo>
                  <a:cubicBezTo>
                    <a:pt x="2037" y="762"/>
                    <a:pt x="2546" y="508"/>
                    <a:pt x="3183" y="254"/>
                  </a:cubicBezTo>
                  <a:cubicBezTo>
                    <a:pt x="3692" y="0"/>
                    <a:pt x="4456" y="0"/>
                    <a:pt x="5092" y="0"/>
                  </a:cubicBezTo>
                  <a:cubicBezTo>
                    <a:pt x="5729" y="0"/>
                    <a:pt x="6366" y="0"/>
                    <a:pt x="6875" y="254"/>
                  </a:cubicBezTo>
                  <a:cubicBezTo>
                    <a:pt x="7384" y="381"/>
                    <a:pt x="7893" y="635"/>
                    <a:pt x="8275" y="1016"/>
                  </a:cubicBezTo>
                  <a:cubicBezTo>
                    <a:pt x="8148" y="1270"/>
                    <a:pt x="8021" y="1524"/>
                    <a:pt x="7893" y="1778"/>
                  </a:cubicBezTo>
                  <a:cubicBezTo>
                    <a:pt x="7893" y="2032"/>
                    <a:pt x="7766" y="2413"/>
                    <a:pt x="7639" y="2794"/>
                  </a:cubicBezTo>
                  <a:lnTo>
                    <a:pt x="7384" y="2794"/>
                  </a:lnTo>
                  <a:cubicBezTo>
                    <a:pt x="7384" y="2794"/>
                    <a:pt x="7257" y="2413"/>
                    <a:pt x="7130" y="2159"/>
                  </a:cubicBezTo>
                  <a:cubicBezTo>
                    <a:pt x="7130" y="1905"/>
                    <a:pt x="6875" y="1651"/>
                    <a:pt x="6620" y="1524"/>
                  </a:cubicBezTo>
                  <a:cubicBezTo>
                    <a:pt x="6366" y="1270"/>
                    <a:pt x="6111" y="1143"/>
                    <a:pt x="5856" y="1016"/>
                  </a:cubicBezTo>
                  <a:cubicBezTo>
                    <a:pt x="5602" y="889"/>
                    <a:pt x="5220" y="762"/>
                    <a:pt x="4838" y="762"/>
                  </a:cubicBezTo>
                  <a:cubicBezTo>
                    <a:pt x="4456" y="762"/>
                    <a:pt x="4074" y="762"/>
                    <a:pt x="3692" y="1016"/>
                  </a:cubicBezTo>
                  <a:cubicBezTo>
                    <a:pt x="3310" y="1143"/>
                    <a:pt x="3055" y="1270"/>
                    <a:pt x="2801" y="1524"/>
                  </a:cubicBezTo>
                  <a:cubicBezTo>
                    <a:pt x="2546" y="1778"/>
                    <a:pt x="2419" y="2032"/>
                    <a:pt x="2164" y="2413"/>
                  </a:cubicBezTo>
                  <a:cubicBezTo>
                    <a:pt x="2037" y="2794"/>
                    <a:pt x="1910" y="3048"/>
                    <a:pt x="1910" y="3429"/>
                  </a:cubicBezTo>
                  <a:cubicBezTo>
                    <a:pt x="1910" y="4064"/>
                    <a:pt x="2037" y="4572"/>
                    <a:pt x="2419" y="4953"/>
                  </a:cubicBezTo>
                  <a:cubicBezTo>
                    <a:pt x="2801" y="5334"/>
                    <a:pt x="3183" y="5715"/>
                    <a:pt x="3692" y="5969"/>
                  </a:cubicBezTo>
                  <a:cubicBezTo>
                    <a:pt x="4201" y="6223"/>
                    <a:pt x="4711" y="6477"/>
                    <a:pt x="5347" y="6731"/>
                  </a:cubicBezTo>
                  <a:cubicBezTo>
                    <a:pt x="5984" y="6985"/>
                    <a:pt x="6493" y="7239"/>
                    <a:pt x="7002" y="7493"/>
                  </a:cubicBezTo>
                  <a:cubicBezTo>
                    <a:pt x="7512" y="7747"/>
                    <a:pt x="7893" y="8128"/>
                    <a:pt x="8275" y="8636"/>
                  </a:cubicBezTo>
                  <a:cubicBezTo>
                    <a:pt x="8657" y="9144"/>
                    <a:pt x="8785" y="9779"/>
                    <a:pt x="8785" y="10541"/>
                  </a:cubicBezTo>
                  <a:cubicBezTo>
                    <a:pt x="8785" y="11176"/>
                    <a:pt x="8785" y="11811"/>
                    <a:pt x="8403" y="12446"/>
                  </a:cubicBezTo>
                  <a:cubicBezTo>
                    <a:pt x="8148" y="13081"/>
                    <a:pt x="7766" y="13589"/>
                    <a:pt x="7384" y="13970"/>
                  </a:cubicBezTo>
                  <a:cubicBezTo>
                    <a:pt x="6875" y="14351"/>
                    <a:pt x="6366" y="14732"/>
                    <a:pt x="5729" y="14986"/>
                  </a:cubicBezTo>
                  <a:cubicBezTo>
                    <a:pt x="5092" y="15240"/>
                    <a:pt x="4329" y="15367"/>
                    <a:pt x="3565" y="15367"/>
                  </a:cubicBezTo>
                  <a:cubicBezTo>
                    <a:pt x="2673" y="15367"/>
                    <a:pt x="1910" y="15367"/>
                    <a:pt x="1400" y="14986"/>
                  </a:cubicBezTo>
                  <a:cubicBezTo>
                    <a:pt x="891" y="14732"/>
                    <a:pt x="382" y="14478"/>
                    <a:pt x="0" y="14224"/>
                  </a:cubicBezTo>
                  <a:cubicBezTo>
                    <a:pt x="127" y="13843"/>
                    <a:pt x="254" y="13589"/>
                    <a:pt x="254" y="13335"/>
                  </a:cubicBezTo>
                  <a:cubicBezTo>
                    <a:pt x="254" y="13081"/>
                    <a:pt x="254" y="12700"/>
                    <a:pt x="382" y="12319"/>
                  </a:cubicBezTo>
                  <a:lnTo>
                    <a:pt x="636" y="12319"/>
                  </a:lnTo>
                  <a:cubicBezTo>
                    <a:pt x="636" y="12319"/>
                    <a:pt x="891" y="12827"/>
                    <a:pt x="1146" y="13081"/>
                  </a:cubicBezTo>
                  <a:close/>
                </a:path>
              </a:pathLst>
            </a:custGeom>
            <a:solidFill>
              <a:srgbClr val="FFFFFF"/>
            </a:solidFill>
            <a:ln w="0" cap="flat">
              <a:noFill/>
              <a:prstDash val="solid"/>
              <a:miter/>
            </a:ln>
          </p:spPr>
          <p:txBody>
            <a:bodyPr rtlCol="0" anchor="ctr"/>
            <a:lstStyle/>
            <a:p>
              <a:endParaRPr lang="en-AD" sz="2400"/>
            </a:p>
          </p:txBody>
        </p:sp>
        <p:sp>
          <p:nvSpPr>
            <p:cNvPr id="573" name="Freeform 572">
              <a:extLst>
                <a:ext uri="{FF2B5EF4-FFF2-40B4-BE49-F238E27FC236}">
                  <a16:creationId xmlns:a16="http://schemas.microsoft.com/office/drawing/2014/main" id="{11BCFEB1-7F4A-3FFC-A85D-568A4E2A72F2}"/>
                </a:ext>
              </a:extLst>
            </p:cNvPr>
            <p:cNvSpPr/>
            <p:nvPr/>
          </p:nvSpPr>
          <p:spPr>
            <a:xfrm>
              <a:off x="4271919"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2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5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2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2" y="9906"/>
                  </a:cubicBezTo>
                  <a:cubicBezTo>
                    <a:pt x="5602" y="9906"/>
                    <a:pt x="6239" y="9779"/>
                    <a:pt x="6621" y="9525"/>
                  </a:cubicBezTo>
                  <a:cubicBezTo>
                    <a:pt x="7003" y="9271"/>
                    <a:pt x="7384" y="8890"/>
                    <a:pt x="7639" y="8509"/>
                  </a:cubicBezTo>
                  <a:cubicBezTo>
                    <a:pt x="7893" y="8128"/>
                    <a:pt x="8021" y="7620"/>
                    <a:pt x="8148" y="6985"/>
                  </a:cubicBezTo>
                  <a:cubicBezTo>
                    <a:pt x="8148" y="6477"/>
                    <a:pt x="8275" y="5842"/>
                    <a:pt x="8275" y="5207"/>
                  </a:cubicBezTo>
                  <a:cubicBezTo>
                    <a:pt x="8275" y="4572"/>
                    <a:pt x="8275" y="4064"/>
                    <a:pt x="8148" y="3429"/>
                  </a:cubicBezTo>
                  <a:cubicBezTo>
                    <a:pt x="8148" y="2921"/>
                    <a:pt x="7893" y="2413"/>
                    <a:pt x="7639" y="1905"/>
                  </a:cubicBezTo>
                  <a:cubicBezTo>
                    <a:pt x="7384" y="1524"/>
                    <a:pt x="7003" y="1143"/>
                    <a:pt x="6621" y="889"/>
                  </a:cubicBezTo>
                  <a:cubicBezTo>
                    <a:pt x="6239" y="635"/>
                    <a:pt x="5602" y="508"/>
                    <a:pt x="5092"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574" name="Freeform 573">
              <a:extLst>
                <a:ext uri="{FF2B5EF4-FFF2-40B4-BE49-F238E27FC236}">
                  <a16:creationId xmlns:a16="http://schemas.microsoft.com/office/drawing/2014/main" id="{4C0F3472-52CB-A594-8C3D-C634573B5414}"/>
                </a:ext>
              </a:extLst>
            </p:cNvPr>
            <p:cNvSpPr/>
            <p:nvPr/>
          </p:nvSpPr>
          <p:spPr>
            <a:xfrm>
              <a:off x="4285288" y="4845811"/>
              <a:ext cx="2037" cy="15875"/>
            </a:xfrm>
            <a:custGeom>
              <a:avLst/>
              <a:gdLst>
                <a:gd name="connsiteX0" fmla="*/ 0 w 2037"/>
                <a:gd name="connsiteY0" fmla="*/ 4572 h 15875"/>
                <a:gd name="connsiteX1" fmla="*/ 0 w 2037"/>
                <a:gd name="connsiteY1" fmla="*/ 2921 h 15875"/>
                <a:gd name="connsiteX2" fmla="*/ 0 w 2037"/>
                <a:gd name="connsiteY2" fmla="*/ 1270 h 15875"/>
                <a:gd name="connsiteX3" fmla="*/ 0 w 2037"/>
                <a:gd name="connsiteY3" fmla="*/ 0 h 15875"/>
                <a:gd name="connsiteX4" fmla="*/ 1018 w 2037"/>
                <a:gd name="connsiteY4" fmla="*/ 0 h 15875"/>
                <a:gd name="connsiteX5" fmla="*/ 2037 w 2037"/>
                <a:gd name="connsiteY5" fmla="*/ 0 h 15875"/>
                <a:gd name="connsiteX6" fmla="*/ 2037 w 2037"/>
                <a:gd name="connsiteY6" fmla="*/ 1270 h 15875"/>
                <a:gd name="connsiteX7" fmla="*/ 2037 w 2037"/>
                <a:gd name="connsiteY7" fmla="*/ 2921 h 15875"/>
                <a:gd name="connsiteX8" fmla="*/ 2037 w 2037"/>
                <a:gd name="connsiteY8" fmla="*/ 4572 h 15875"/>
                <a:gd name="connsiteX9" fmla="*/ 2037 w 2037"/>
                <a:gd name="connsiteY9" fmla="*/ 6096 h 15875"/>
                <a:gd name="connsiteX10" fmla="*/ 2037 w 2037"/>
                <a:gd name="connsiteY10" fmla="*/ 9906 h 15875"/>
                <a:gd name="connsiteX11" fmla="*/ 2037 w 2037"/>
                <a:gd name="connsiteY11" fmla="*/ 11430 h 15875"/>
                <a:gd name="connsiteX12" fmla="*/ 2037 w 2037"/>
                <a:gd name="connsiteY12" fmla="*/ 13081 h 15875"/>
                <a:gd name="connsiteX13" fmla="*/ 2037 w 2037"/>
                <a:gd name="connsiteY13" fmla="*/ 14605 h 15875"/>
                <a:gd name="connsiteX14" fmla="*/ 2037 w 2037"/>
                <a:gd name="connsiteY14" fmla="*/ 15875 h 15875"/>
                <a:gd name="connsiteX15" fmla="*/ 1018 w 2037"/>
                <a:gd name="connsiteY15" fmla="*/ 15875 h 15875"/>
                <a:gd name="connsiteX16" fmla="*/ 0 w 2037"/>
                <a:gd name="connsiteY16" fmla="*/ 15875 h 15875"/>
                <a:gd name="connsiteX17" fmla="*/ 0 w 2037"/>
                <a:gd name="connsiteY17" fmla="*/ 14605 h 15875"/>
                <a:gd name="connsiteX18" fmla="*/ 0 w 2037"/>
                <a:gd name="connsiteY18" fmla="*/ 13081 h 15875"/>
                <a:gd name="connsiteX19" fmla="*/ 0 w 2037"/>
                <a:gd name="connsiteY19" fmla="*/ 11430 h 15875"/>
                <a:gd name="connsiteX20" fmla="*/ 0 w 2037"/>
                <a:gd name="connsiteY20" fmla="*/ 9906 h 15875"/>
                <a:gd name="connsiteX21" fmla="*/ 0 w 2037"/>
                <a:gd name="connsiteY21" fmla="*/ 6096 h 15875"/>
                <a:gd name="connsiteX22" fmla="*/ 0 w 2037"/>
                <a:gd name="connsiteY22" fmla="*/ 4572 h 1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37" h="15875">
                  <a:moveTo>
                    <a:pt x="0" y="4572"/>
                  </a:moveTo>
                  <a:cubicBezTo>
                    <a:pt x="0" y="4572"/>
                    <a:pt x="0" y="3429"/>
                    <a:pt x="0" y="2921"/>
                  </a:cubicBezTo>
                  <a:cubicBezTo>
                    <a:pt x="0" y="2413"/>
                    <a:pt x="0" y="1778"/>
                    <a:pt x="0" y="1270"/>
                  </a:cubicBezTo>
                  <a:cubicBezTo>
                    <a:pt x="0" y="762"/>
                    <a:pt x="0" y="381"/>
                    <a:pt x="0" y="0"/>
                  </a:cubicBezTo>
                  <a:cubicBezTo>
                    <a:pt x="382" y="0"/>
                    <a:pt x="764" y="0"/>
                    <a:pt x="1018" y="0"/>
                  </a:cubicBezTo>
                  <a:cubicBezTo>
                    <a:pt x="1273" y="0"/>
                    <a:pt x="1528" y="0"/>
                    <a:pt x="2037" y="0"/>
                  </a:cubicBezTo>
                  <a:cubicBezTo>
                    <a:pt x="2037" y="381"/>
                    <a:pt x="2037" y="762"/>
                    <a:pt x="2037" y="1270"/>
                  </a:cubicBezTo>
                  <a:cubicBezTo>
                    <a:pt x="2037" y="1778"/>
                    <a:pt x="2037" y="2286"/>
                    <a:pt x="2037" y="2921"/>
                  </a:cubicBezTo>
                  <a:cubicBezTo>
                    <a:pt x="2037" y="3429"/>
                    <a:pt x="2037" y="4064"/>
                    <a:pt x="2037" y="4572"/>
                  </a:cubicBezTo>
                  <a:cubicBezTo>
                    <a:pt x="2037" y="5080"/>
                    <a:pt x="2037" y="5715"/>
                    <a:pt x="2037" y="6096"/>
                  </a:cubicBezTo>
                  <a:lnTo>
                    <a:pt x="2037" y="9906"/>
                  </a:lnTo>
                  <a:cubicBezTo>
                    <a:pt x="2037" y="9906"/>
                    <a:pt x="2037" y="10922"/>
                    <a:pt x="2037" y="11430"/>
                  </a:cubicBezTo>
                  <a:cubicBezTo>
                    <a:pt x="2037" y="11938"/>
                    <a:pt x="2037" y="12573"/>
                    <a:pt x="2037" y="13081"/>
                  </a:cubicBezTo>
                  <a:cubicBezTo>
                    <a:pt x="2037" y="13589"/>
                    <a:pt x="2037" y="14224"/>
                    <a:pt x="2037" y="14605"/>
                  </a:cubicBezTo>
                  <a:cubicBezTo>
                    <a:pt x="2037" y="15113"/>
                    <a:pt x="2037" y="15494"/>
                    <a:pt x="2037" y="15875"/>
                  </a:cubicBezTo>
                  <a:cubicBezTo>
                    <a:pt x="1655" y="15875"/>
                    <a:pt x="1400" y="15875"/>
                    <a:pt x="1018" y="15875"/>
                  </a:cubicBezTo>
                  <a:cubicBezTo>
                    <a:pt x="636" y="15875"/>
                    <a:pt x="382" y="15875"/>
                    <a:pt x="0" y="15875"/>
                  </a:cubicBezTo>
                  <a:cubicBezTo>
                    <a:pt x="0" y="15494"/>
                    <a:pt x="0" y="15113"/>
                    <a:pt x="0" y="14605"/>
                  </a:cubicBezTo>
                  <a:cubicBezTo>
                    <a:pt x="0" y="14097"/>
                    <a:pt x="0" y="13589"/>
                    <a:pt x="0" y="13081"/>
                  </a:cubicBezTo>
                  <a:cubicBezTo>
                    <a:pt x="0" y="12573"/>
                    <a:pt x="0" y="11938"/>
                    <a:pt x="0" y="11430"/>
                  </a:cubicBezTo>
                  <a:cubicBezTo>
                    <a:pt x="0" y="10922"/>
                    <a:pt x="0" y="10287"/>
                    <a:pt x="0" y="9906"/>
                  </a:cubicBezTo>
                  <a:lnTo>
                    <a:pt x="0" y="6096"/>
                  </a:lnTo>
                  <a:cubicBezTo>
                    <a:pt x="0" y="6096"/>
                    <a:pt x="0" y="5080"/>
                    <a:pt x="0" y="4572"/>
                  </a:cubicBezTo>
                  <a:close/>
                </a:path>
              </a:pathLst>
            </a:custGeom>
            <a:solidFill>
              <a:srgbClr val="FFFFFF"/>
            </a:solidFill>
            <a:ln w="0" cap="flat">
              <a:noFill/>
              <a:prstDash val="solid"/>
              <a:miter/>
            </a:ln>
          </p:spPr>
          <p:txBody>
            <a:bodyPr rtlCol="0" anchor="ctr"/>
            <a:lstStyle/>
            <a:p>
              <a:endParaRPr lang="en-AD" sz="2400"/>
            </a:p>
          </p:txBody>
        </p:sp>
        <p:sp>
          <p:nvSpPr>
            <p:cNvPr id="575" name="Freeform 574">
              <a:extLst>
                <a:ext uri="{FF2B5EF4-FFF2-40B4-BE49-F238E27FC236}">
                  <a16:creationId xmlns:a16="http://schemas.microsoft.com/office/drawing/2014/main" id="{D6849541-E731-3DAC-FCCA-D227578EF9E8}"/>
                </a:ext>
              </a:extLst>
            </p:cNvPr>
            <p:cNvSpPr/>
            <p:nvPr/>
          </p:nvSpPr>
          <p:spPr>
            <a:xfrm>
              <a:off x="4290890" y="4851653"/>
              <a:ext cx="8911" cy="10414"/>
            </a:xfrm>
            <a:custGeom>
              <a:avLst/>
              <a:gdLst>
                <a:gd name="connsiteX0" fmla="*/ 0 w 8911"/>
                <a:gd name="connsiteY0" fmla="*/ 6985 h 10414"/>
                <a:gd name="connsiteX1" fmla="*/ 0 w 8911"/>
                <a:gd name="connsiteY1" fmla="*/ 5080 h 10414"/>
                <a:gd name="connsiteX2" fmla="*/ 0 w 8911"/>
                <a:gd name="connsiteY2" fmla="*/ 3429 h 10414"/>
                <a:gd name="connsiteX3" fmla="*/ 0 w 8911"/>
                <a:gd name="connsiteY3" fmla="*/ 1778 h 10414"/>
                <a:gd name="connsiteX4" fmla="*/ 0 w 8911"/>
                <a:gd name="connsiteY4" fmla="*/ 0 h 10414"/>
                <a:gd name="connsiteX5" fmla="*/ 891 w 8911"/>
                <a:gd name="connsiteY5" fmla="*/ 0 h 10414"/>
                <a:gd name="connsiteX6" fmla="*/ 1782 w 8911"/>
                <a:gd name="connsiteY6" fmla="*/ 0 h 10414"/>
                <a:gd name="connsiteX7" fmla="*/ 1655 w 8911"/>
                <a:gd name="connsiteY7" fmla="*/ 2794 h 10414"/>
                <a:gd name="connsiteX8" fmla="*/ 1655 w 8911"/>
                <a:gd name="connsiteY8" fmla="*/ 5969 h 10414"/>
                <a:gd name="connsiteX9" fmla="*/ 1910 w 8911"/>
                <a:gd name="connsiteY9" fmla="*/ 7620 h 10414"/>
                <a:gd name="connsiteX10" fmla="*/ 2419 w 8911"/>
                <a:gd name="connsiteY10" fmla="*/ 8509 h 10414"/>
                <a:gd name="connsiteX11" fmla="*/ 3183 w 8911"/>
                <a:gd name="connsiteY11" fmla="*/ 9017 h 10414"/>
                <a:gd name="connsiteX12" fmla="*/ 4201 w 8911"/>
                <a:gd name="connsiteY12" fmla="*/ 9271 h 10414"/>
                <a:gd name="connsiteX13" fmla="*/ 5729 w 8911"/>
                <a:gd name="connsiteY13" fmla="*/ 8890 h 10414"/>
                <a:gd name="connsiteX14" fmla="*/ 6620 w 8911"/>
                <a:gd name="connsiteY14" fmla="*/ 7874 h 10414"/>
                <a:gd name="connsiteX15" fmla="*/ 6875 w 8911"/>
                <a:gd name="connsiteY15" fmla="*/ 7239 h 10414"/>
                <a:gd name="connsiteX16" fmla="*/ 7002 w 8911"/>
                <a:gd name="connsiteY16" fmla="*/ 6604 h 10414"/>
                <a:gd name="connsiteX17" fmla="*/ 7002 w 8911"/>
                <a:gd name="connsiteY17" fmla="*/ 5461 h 10414"/>
                <a:gd name="connsiteX18" fmla="*/ 7002 w 8911"/>
                <a:gd name="connsiteY18" fmla="*/ 3429 h 10414"/>
                <a:gd name="connsiteX19" fmla="*/ 7002 w 8911"/>
                <a:gd name="connsiteY19" fmla="*/ 1651 h 10414"/>
                <a:gd name="connsiteX20" fmla="*/ 7002 w 8911"/>
                <a:gd name="connsiteY20" fmla="*/ 762 h 10414"/>
                <a:gd name="connsiteX21" fmla="*/ 7002 w 8911"/>
                <a:gd name="connsiteY21" fmla="*/ 0 h 10414"/>
                <a:gd name="connsiteX22" fmla="*/ 7512 w 8911"/>
                <a:gd name="connsiteY22" fmla="*/ 0 h 10414"/>
                <a:gd name="connsiteX23" fmla="*/ 8020 w 8911"/>
                <a:gd name="connsiteY23" fmla="*/ 0 h 10414"/>
                <a:gd name="connsiteX24" fmla="*/ 8530 w 8911"/>
                <a:gd name="connsiteY24" fmla="*/ 0 h 10414"/>
                <a:gd name="connsiteX25" fmla="*/ 8912 w 8911"/>
                <a:gd name="connsiteY25" fmla="*/ 0 h 10414"/>
                <a:gd name="connsiteX26" fmla="*/ 8784 w 8911"/>
                <a:gd name="connsiteY26" fmla="*/ 3175 h 10414"/>
                <a:gd name="connsiteX27" fmla="*/ 8784 w 8911"/>
                <a:gd name="connsiteY27" fmla="*/ 6477 h 10414"/>
                <a:gd name="connsiteX28" fmla="*/ 8784 w 8911"/>
                <a:gd name="connsiteY28" fmla="*/ 8382 h 10414"/>
                <a:gd name="connsiteX29" fmla="*/ 8784 w 8911"/>
                <a:gd name="connsiteY29" fmla="*/ 10160 h 10414"/>
                <a:gd name="connsiteX30" fmla="*/ 7893 w 8911"/>
                <a:gd name="connsiteY30" fmla="*/ 10160 h 10414"/>
                <a:gd name="connsiteX31" fmla="*/ 7002 w 8911"/>
                <a:gd name="connsiteY31" fmla="*/ 10160 h 10414"/>
                <a:gd name="connsiteX32" fmla="*/ 7002 w 8911"/>
                <a:gd name="connsiteY32" fmla="*/ 9779 h 10414"/>
                <a:gd name="connsiteX33" fmla="*/ 7002 w 8911"/>
                <a:gd name="connsiteY33" fmla="*/ 9271 h 10414"/>
                <a:gd name="connsiteX34" fmla="*/ 7002 w 8911"/>
                <a:gd name="connsiteY34" fmla="*/ 8382 h 10414"/>
                <a:gd name="connsiteX35" fmla="*/ 7002 w 8911"/>
                <a:gd name="connsiteY35" fmla="*/ 8382 h 10414"/>
                <a:gd name="connsiteX36" fmla="*/ 5601 w 8911"/>
                <a:gd name="connsiteY36" fmla="*/ 9906 h 10414"/>
                <a:gd name="connsiteX37" fmla="*/ 3692 w 8911"/>
                <a:gd name="connsiteY37" fmla="*/ 10414 h 10414"/>
                <a:gd name="connsiteX38" fmla="*/ 1018 w 8911"/>
                <a:gd name="connsiteY38" fmla="*/ 9525 h 10414"/>
                <a:gd name="connsiteX39" fmla="*/ 127 w 8911"/>
                <a:gd name="connsiteY39" fmla="*/ 698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11" h="10414">
                  <a:moveTo>
                    <a:pt x="0" y="6985"/>
                  </a:moveTo>
                  <a:cubicBezTo>
                    <a:pt x="0" y="6223"/>
                    <a:pt x="0" y="5588"/>
                    <a:pt x="0" y="5080"/>
                  </a:cubicBezTo>
                  <a:cubicBezTo>
                    <a:pt x="0" y="4572"/>
                    <a:pt x="0" y="4064"/>
                    <a:pt x="0" y="3429"/>
                  </a:cubicBezTo>
                  <a:cubicBezTo>
                    <a:pt x="0" y="2921"/>
                    <a:pt x="0" y="2413"/>
                    <a:pt x="0" y="1778"/>
                  </a:cubicBezTo>
                  <a:cubicBezTo>
                    <a:pt x="0" y="1143"/>
                    <a:pt x="0" y="635"/>
                    <a:pt x="0" y="0"/>
                  </a:cubicBezTo>
                  <a:cubicBezTo>
                    <a:pt x="382" y="0"/>
                    <a:pt x="636" y="0"/>
                    <a:pt x="891" y="0"/>
                  </a:cubicBezTo>
                  <a:cubicBezTo>
                    <a:pt x="1146" y="0"/>
                    <a:pt x="1400" y="0"/>
                    <a:pt x="1782" y="0"/>
                  </a:cubicBezTo>
                  <a:cubicBezTo>
                    <a:pt x="1782" y="889"/>
                    <a:pt x="1782" y="1778"/>
                    <a:pt x="1655" y="2794"/>
                  </a:cubicBezTo>
                  <a:cubicBezTo>
                    <a:pt x="1655" y="3810"/>
                    <a:pt x="1655" y="4826"/>
                    <a:pt x="1655" y="5969"/>
                  </a:cubicBezTo>
                  <a:cubicBezTo>
                    <a:pt x="1655" y="6731"/>
                    <a:pt x="1655" y="7239"/>
                    <a:pt x="1910" y="7620"/>
                  </a:cubicBezTo>
                  <a:cubicBezTo>
                    <a:pt x="2037" y="8001"/>
                    <a:pt x="2164" y="8255"/>
                    <a:pt x="2419" y="8509"/>
                  </a:cubicBezTo>
                  <a:cubicBezTo>
                    <a:pt x="2673" y="8763"/>
                    <a:pt x="2928" y="8890"/>
                    <a:pt x="3183" y="9017"/>
                  </a:cubicBezTo>
                  <a:cubicBezTo>
                    <a:pt x="3437" y="9144"/>
                    <a:pt x="3819" y="9271"/>
                    <a:pt x="4201" y="9271"/>
                  </a:cubicBezTo>
                  <a:cubicBezTo>
                    <a:pt x="4838" y="9271"/>
                    <a:pt x="5347" y="9144"/>
                    <a:pt x="5729" y="8890"/>
                  </a:cubicBezTo>
                  <a:cubicBezTo>
                    <a:pt x="6111" y="8636"/>
                    <a:pt x="6366" y="8255"/>
                    <a:pt x="6620" y="7874"/>
                  </a:cubicBezTo>
                  <a:cubicBezTo>
                    <a:pt x="6620" y="7620"/>
                    <a:pt x="6748" y="7366"/>
                    <a:pt x="6875" y="7239"/>
                  </a:cubicBezTo>
                  <a:cubicBezTo>
                    <a:pt x="6875" y="7112"/>
                    <a:pt x="6875" y="6858"/>
                    <a:pt x="7002" y="6604"/>
                  </a:cubicBezTo>
                  <a:cubicBezTo>
                    <a:pt x="7130" y="6350"/>
                    <a:pt x="7002" y="5969"/>
                    <a:pt x="7002" y="5461"/>
                  </a:cubicBezTo>
                  <a:cubicBezTo>
                    <a:pt x="7002" y="4953"/>
                    <a:pt x="7002" y="4318"/>
                    <a:pt x="7002" y="3429"/>
                  </a:cubicBezTo>
                  <a:lnTo>
                    <a:pt x="7002" y="1651"/>
                  </a:lnTo>
                  <a:cubicBezTo>
                    <a:pt x="7002" y="1651"/>
                    <a:pt x="7002" y="1016"/>
                    <a:pt x="7002" y="762"/>
                  </a:cubicBezTo>
                  <a:cubicBezTo>
                    <a:pt x="7002" y="508"/>
                    <a:pt x="7002" y="254"/>
                    <a:pt x="7002" y="0"/>
                  </a:cubicBezTo>
                  <a:cubicBezTo>
                    <a:pt x="7130" y="0"/>
                    <a:pt x="7257" y="0"/>
                    <a:pt x="7512" y="0"/>
                  </a:cubicBezTo>
                  <a:cubicBezTo>
                    <a:pt x="7639" y="0"/>
                    <a:pt x="7766" y="0"/>
                    <a:pt x="8020" y="0"/>
                  </a:cubicBezTo>
                  <a:cubicBezTo>
                    <a:pt x="8275" y="0"/>
                    <a:pt x="8275" y="0"/>
                    <a:pt x="8530" y="0"/>
                  </a:cubicBezTo>
                  <a:cubicBezTo>
                    <a:pt x="8657" y="0"/>
                    <a:pt x="8784" y="0"/>
                    <a:pt x="8912" y="0"/>
                  </a:cubicBezTo>
                  <a:cubicBezTo>
                    <a:pt x="8912" y="1143"/>
                    <a:pt x="8912" y="2159"/>
                    <a:pt x="8784" y="3175"/>
                  </a:cubicBezTo>
                  <a:cubicBezTo>
                    <a:pt x="8657" y="4191"/>
                    <a:pt x="8784" y="5334"/>
                    <a:pt x="8784" y="6477"/>
                  </a:cubicBezTo>
                  <a:cubicBezTo>
                    <a:pt x="8784" y="7112"/>
                    <a:pt x="8784" y="7747"/>
                    <a:pt x="8784" y="8382"/>
                  </a:cubicBezTo>
                  <a:cubicBezTo>
                    <a:pt x="8784" y="9017"/>
                    <a:pt x="8784" y="9525"/>
                    <a:pt x="8784" y="10160"/>
                  </a:cubicBezTo>
                  <a:cubicBezTo>
                    <a:pt x="8530" y="10160"/>
                    <a:pt x="8275" y="10160"/>
                    <a:pt x="7893" y="10160"/>
                  </a:cubicBezTo>
                  <a:cubicBezTo>
                    <a:pt x="7512" y="10160"/>
                    <a:pt x="7384" y="10160"/>
                    <a:pt x="7002" y="10160"/>
                  </a:cubicBezTo>
                  <a:cubicBezTo>
                    <a:pt x="7002" y="10033"/>
                    <a:pt x="7002" y="9906"/>
                    <a:pt x="7002" y="9779"/>
                  </a:cubicBezTo>
                  <a:cubicBezTo>
                    <a:pt x="7002" y="9652"/>
                    <a:pt x="7002" y="9525"/>
                    <a:pt x="7002" y="9271"/>
                  </a:cubicBezTo>
                  <a:lnTo>
                    <a:pt x="7002" y="8382"/>
                  </a:lnTo>
                  <a:lnTo>
                    <a:pt x="7002" y="8382"/>
                  </a:lnTo>
                  <a:cubicBezTo>
                    <a:pt x="6620" y="9017"/>
                    <a:pt x="6111" y="9525"/>
                    <a:pt x="5601" y="9906"/>
                  </a:cubicBezTo>
                  <a:cubicBezTo>
                    <a:pt x="4965" y="10287"/>
                    <a:pt x="4329" y="10414"/>
                    <a:pt x="3692" y="10414"/>
                  </a:cubicBezTo>
                  <a:cubicBezTo>
                    <a:pt x="2546" y="10414"/>
                    <a:pt x="1655" y="10160"/>
                    <a:pt x="1018" y="9525"/>
                  </a:cubicBezTo>
                  <a:cubicBezTo>
                    <a:pt x="382" y="8890"/>
                    <a:pt x="127" y="8128"/>
                    <a:pt x="127" y="6985"/>
                  </a:cubicBezTo>
                  <a:close/>
                </a:path>
              </a:pathLst>
            </a:custGeom>
            <a:solidFill>
              <a:srgbClr val="FFFFFF"/>
            </a:solidFill>
            <a:ln w="0" cap="flat">
              <a:noFill/>
              <a:prstDash val="solid"/>
              <a:miter/>
            </a:ln>
          </p:spPr>
          <p:txBody>
            <a:bodyPr rtlCol="0" anchor="ctr"/>
            <a:lstStyle/>
            <a:p>
              <a:endParaRPr lang="en-AD" sz="2400"/>
            </a:p>
          </p:txBody>
        </p:sp>
        <p:sp>
          <p:nvSpPr>
            <p:cNvPr id="576" name="Freeform 575">
              <a:extLst>
                <a:ext uri="{FF2B5EF4-FFF2-40B4-BE49-F238E27FC236}">
                  <a16:creationId xmlns:a16="http://schemas.microsoft.com/office/drawing/2014/main" id="{D7335DD5-558D-04C7-40D4-77D4F95B1399}"/>
                </a:ext>
              </a:extLst>
            </p:cNvPr>
            <p:cNvSpPr/>
            <p:nvPr/>
          </p:nvSpPr>
          <p:spPr>
            <a:xfrm>
              <a:off x="4301838" y="4848859"/>
              <a:ext cx="5729" cy="13518"/>
            </a:xfrm>
            <a:custGeom>
              <a:avLst/>
              <a:gdLst>
                <a:gd name="connsiteX0" fmla="*/ 2928 w 5729"/>
                <a:gd name="connsiteY0" fmla="*/ 0 h 13518"/>
                <a:gd name="connsiteX1" fmla="*/ 2928 w 5729"/>
                <a:gd name="connsiteY1" fmla="*/ 1651 h 13518"/>
                <a:gd name="connsiteX2" fmla="*/ 2928 w 5729"/>
                <a:gd name="connsiteY2" fmla="*/ 3175 h 13518"/>
                <a:gd name="connsiteX3" fmla="*/ 3819 w 5729"/>
                <a:gd name="connsiteY3" fmla="*/ 3175 h 13518"/>
                <a:gd name="connsiteX4" fmla="*/ 5220 w 5729"/>
                <a:gd name="connsiteY4" fmla="*/ 3175 h 13518"/>
                <a:gd name="connsiteX5" fmla="*/ 5220 w 5729"/>
                <a:gd name="connsiteY5" fmla="*/ 3429 h 13518"/>
                <a:gd name="connsiteX6" fmla="*/ 5220 w 5729"/>
                <a:gd name="connsiteY6" fmla="*/ 3937 h 13518"/>
                <a:gd name="connsiteX7" fmla="*/ 5220 w 5729"/>
                <a:gd name="connsiteY7" fmla="*/ 4191 h 13518"/>
                <a:gd name="connsiteX8" fmla="*/ 4584 w 5729"/>
                <a:gd name="connsiteY8" fmla="*/ 4191 h 13518"/>
                <a:gd name="connsiteX9" fmla="*/ 3947 w 5729"/>
                <a:gd name="connsiteY9" fmla="*/ 4191 h 13518"/>
                <a:gd name="connsiteX10" fmla="*/ 2928 w 5729"/>
                <a:gd name="connsiteY10" fmla="*/ 4191 h 13518"/>
                <a:gd name="connsiteX11" fmla="*/ 2928 w 5729"/>
                <a:gd name="connsiteY11" fmla="*/ 4826 h 13518"/>
                <a:gd name="connsiteX12" fmla="*/ 2928 w 5729"/>
                <a:gd name="connsiteY12" fmla="*/ 6223 h 13518"/>
                <a:gd name="connsiteX13" fmla="*/ 2928 w 5729"/>
                <a:gd name="connsiteY13" fmla="*/ 8001 h 13518"/>
                <a:gd name="connsiteX14" fmla="*/ 2928 w 5729"/>
                <a:gd name="connsiteY14" fmla="*/ 9652 h 13518"/>
                <a:gd name="connsiteX15" fmla="*/ 2928 w 5729"/>
                <a:gd name="connsiteY15" fmla="*/ 10795 h 13518"/>
                <a:gd name="connsiteX16" fmla="*/ 3183 w 5729"/>
                <a:gd name="connsiteY16" fmla="*/ 11811 h 13518"/>
                <a:gd name="connsiteX17" fmla="*/ 3692 w 5729"/>
                <a:gd name="connsiteY17" fmla="*/ 12573 h 13518"/>
                <a:gd name="connsiteX18" fmla="*/ 4711 w 5729"/>
                <a:gd name="connsiteY18" fmla="*/ 12827 h 13518"/>
                <a:gd name="connsiteX19" fmla="*/ 5220 w 5729"/>
                <a:gd name="connsiteY19" fmla="*/ 12827 h 13518"/>
                <a:gd name="connsiteX20" fmla="*/ 5729 w 5729"/>
                <a:gd name="connsiteY20" fmla="*/ 12827 h 13518"/>
                <a:gd name="connsiteX21" fmla="*/ 5729 w 5729"/>
                <a:gd name="connsiteY21" fmla="*/ 13335 h 13518"/>
                <a:gd name="connsiteX22" fmla="*/ 4965 w 5729"/>
                <a:gd name="connsiteY22" fmla="*/ 13462 h 13518"/>
                <a:gd name="connsiteX23" fmla="*/ 4074 w 5729"/>
                <a:gd name="connsiteY23" fmla="*/ 13462 h 13518"/>
                <a:gd name="connsiteX24" fmla="*/ 2037 w 5729"/>
                <a:gd name="connsiteY24" fmla="*/ 12827 h 13518"/>
                <a:gd name="connsiteX25" fmla="*/ 1401 w 5729"/>
                <a:gd name="connsiteY25" fmla="*/ 10922 h 13518"/>
                <a:gd name="connsiteX26" fmla="*/ 1401 w 5729"/>
                <a:gd name="connsiteY26" fmla="*/ 9652 h 13518"/>
                <a:gd name="connsiteX27" fmla="*/ 1401 w 5729"/>
                <a:gd name="connsiteY27" fmla="*/ 8128 h 13518"/>
                <a:gd name="connsiteX28" fmla="*/ 1401 w 5729"/>
                <a:gd name="connsiteY28" fmla="*/ 6350 h 13518"/>
                <a:gd name="connsiteX29" fmla="*/ 1401 w 5729"/>
                <a:gd name="connsiteY29" fmla="*/ 4191 h 13518"/>
                <a:gd name="connsiteX30" fmla="*/ 764 w 5729"/>
                <a:gd name="connsiteY30" fmla="*/ 4191 h 13518"/>
                <a:gd name="connsiteX31" fmla="*/ 382 w 5729"/>
                <a:gd name="connsiteY31" fmla="*/ 4191 h 13518"/>
                <a:gd name="connsiteX32" fmla="*/ 0 w 5729"/>
                <a:gd name="connsiteY32" fmla="*/ 4191 h 13518"/>
                <a:gd name="connsiteX33" fmla="*/ 0 w 5729"/>
                <a:gd name="connsiteY33" fmla="*/ 3937 h 13518"/>
                <a:gd name="connsiteX34" fmla="*/ 0 w 5729"/>
                <a:gd name="connsiteY34" fmla="*/ 3683 h 13518"/>
                <a:gd name="connsiteX35" fmla="*/ 0 w 5729"/>
                <a:gd name="connsiteY35" fmla="*/ 3429 h 13518"/>
                <a:gd name="connsiteX36" fmla="*/ 0 w 5729"/>
                <a:gd name="connsiteY36" fmla="*/ 3175 h 13518"/>
                <a:gd name="connsiteX37" fmla="*/ 1401 w 5729"/>
                <a:gd name="connsiteY37" fmla="*/ 3175 h 13518"/>
                <a:gd name="connsiteX38" fmla="*/ 1401 w 5729"/>
                <a:gd name="connsiteY38" fmla="*/ 2159 h 13518"/>
                <a:gd name="connsiteX39" fmla="*/ 1401 w 5729"/>
                <a:gd name="connsiteY39" fmla="*/ 889 h 13518"/>
                <a:gd name="connsiteX40" fmla="*/ 3183 w 5729"/>
                <a:gd name="connsiteY40" fmla="*/ 127 h 13518"/>
                <a:gd name="connsiteX41" fmla="*/ 3183 w 5729"/>
                <a:gd name="connsiteY41" fmla="*/ 127 h 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729" h="13518">
                  <a:moveTo>
                    <a:pt x="2928" y="0"/>
                  </a:moveTo>
                  <a:cubicBezTo>
                    <a:pt x="2928" y="0"/>
                    <a:pt x="2928" y="1016"/>
                    <a:pt x="2928" y="1651"/>
                  </a:cubicBezTo>
                  <a:cubicBezTo>
                    <a:pt x="2928" y="2159"/>
                    <a:pt x="2928" y="2667"/>
                    <a:pt x="2928" y="3175"/>
                  </a:cubicBezTo>
                  <a:cubicBezTo>
                    <a:pt x="3055" y="3175"/>
                    <a:pt x="3437" y="3175"/>
                    <a:pt x="3819" y="3175"/>
                  </a:cubicBezTo>
                  <a:cubicBezTo>
                    <a:pt x="4201" y="3175"/>
                    <a:pt x="4711" y="3175"/>
                    <a:pt x="5220" y="3175"/>
                  </a:cubicBezTo>
                  <a:cubicBezTo>
                    <a:pt x="5220" y="3175"/>
                    <a:pt x="5220" y="3175"/>
                    <a:pt x="5220" y="3429"/>
                  </a:cubicBezTo>
                  <a:lnTo>
                    <a:pt x="5220" y="3937"/>
                  </a:lnTo>
                  <a:cubicBezTo>
                    <a:pt x="5220" y="3937"/>
                    <a:pt x="5220" y="4064"/>
                    <a:pt x="5220" y="4191"/>
                  </a:cubicBezTo>
                  <a:cubicBezTo>
                    <a:pt x="5092" y="4191"/>
                    <a:pt x="4838" y="4191"/>
                    <a:pt x="4584" y="4191"/>
                  </a:cubicBezTo>
                  <a:cubicBezTo>
                    <a:pt x="4329" y="4191"/>
                    <a:pt x="4201" y="4191"/>
                    <a:pt x="3947" y="4191"/>
                  </a:cubicBezTo>
                  <a:lnTo>
                    <a:pt x="2928" y="4191"/>
                  </a:lnTo>
                  <a:cubicBezTo>
                    <a:pt x="2928" y="4191"/>
                    <a:pt x="2928" y="4445"/>
                    <a:pt x="2928" y="4826"/>
                  </a:cubicBezTo>
                  <a:cubicBezTo>
                    <a:pt x="2928" y="5207"/>
                    <a:pt x="2928" y="5715"/>
                    <a:pt x="2928" y="6223"/>
                  </a:cubicBezTo>
                  <a:cubicBezTo>
                    <a:pt x="2928" y="6731"/>
                    <a:pt x="2928" y="7366"/>
                    <a:pt x="2928" y="8001"/>
                  </a:cubicBezTo>
                  <a:cubicBezTo>
                    <a:pt x="2928" y="8636"/>
                    <a:pt x="2928" y="9144"/>
                    <a:pt x="2928" y="9652"/>
                  </a:cubicBezTo>
                  <a:cubicBezTo>
                    <a:pt x="2928" y="10033"/>
                    <a:pt x="2928" y="10414"/>
                    <a:pt x="2928" y="10795"/>
                  </a:cubicBezTo>
                  <a:cubicBezTo>
                    <a:pt x="2928" y="11176"/>
                    <a:pt x="2928" y="11557"/>
                    <a:pt x="3183" y="11811"/>
                  </a:cubicBezTo>
                  <a:cubicBezTo>
                    <a:pt x="3183" y="12065"/>
                    <a:pt x="3437" y="12319"/>
                    <a:pt x="3692" y="12573"/>
                  </a:cubicBezTo>
                  <a:cubicBezTo>
                    <a:pt x="3947" y="12827"/>
                    <a:pt x="4201" y="12827"/>
                    <a:pt x="4711" y="12827"/>
                  </a:cubicBezTo>
                  <a:cubicBezTo>
                    <a:pt x="4711" y="12827"/>
                    <a:pt x="4965" y="12827"/>
                    <a:pt x="5220" y="12827"/>
                  </a:cubicBezTo>
                  <a:cubicBezTo>
                    <a:pt x="5474" y="12827"/>
                    <a:pt x="5602" y="12827"/>
                    <a:pt x="5729" y="12827"/>
                  </a:cubicBezTo>
                  <a:lnTo>
                    <a:pt x="5729" y="13335"/>
                  </a:lnTo>
                  <a:cubicBezTo>
                    <a:pt x="5729" y="13335"/>
                    <a:pt x="5220" y="13335"/>
                    <a:pt x="4965" y="13462"/>
                  </a:cubicBezTo>
                  <a:cubicBezTo>
                    <a:pt x="4711" y="13589"/>
                    <a:pt x="4329" y="13462"/>
                    <a:pt x="4074" y="13462"/>
                  </a:cubicBezTo>
                  <a:cubicBezTo>
                    <a:pt x="3183" y="13462"/>
                    <a:pt x="2546" y="13208"/>
                    <a:pt x="2037" y="12827"/>
                  </a:cubicBezTo>
                  <a:cubicBezTo>
                    <a:pt x="1655" y="12446"/>
                    <a:pt x="1401" y="11684"/>
                    <a:pt x="1401" y="10922"/>
                  </a:cubicBezTo>
                  <a:cubicBezTo>
                    <a:pt x="1401" y="10541"/>
                    <a:pt x="1401" y="10160"/>
                    <a:pt x="1401" y="9652"/>
                  </a:cubicBezTo>
                  <a:cubicBezTo>
                    <a:pt x="1401" y="9144"/>
                    <a:pt x="1401" y="8763"/>
                    <a:pt x="1401" y="8128"/>
                  </a:cubicBezTo>
                  <a:cubicBezTo>
                    <a:pt x="1401" y="7620"/>
                    <a:pt x="1401" y="6985"/>
                    <a:pt x="1401" y="6350"/>
                  </a:cubicBezTo>
                  <a:cubicBezTo>
                    <a:pt x="1401" y="5715"/>
                    <a:pt x="1401" y="4953"/>
                    <a:pt x="1401" y="4191"/>
                  </a:cubicBezTo>
                  <a:lnTo>
                    <a:pt x="764" y="4191"/>
                  </a:lnTo>
                  <a:cubicBezTo>
                    <a:pt x="764" y="4191"/>
                    <a:pt x="509" y="4191"/>
                    <a:pt x="382" y="4191"/>
                  </a:cubicBezTo>
                  <a:cubicBezTo>
                    <a:pt x="254" y="4191"/>
                    <a:pt x="127" y="4191"/>
                    <a:pt x="0" y="4191"/>
                  </a:cubicBezTo>
                  <a:cubicBezTo>
                    <a:pt x="0" y="4191"/>
                    <a:pt x="0" y="4064"/>
                    <a:pt x="0" y="3937"/>
                  </a:cubicBezTo>
                  <a:cubicBezTo>
                    <a:pt x="0" y="3937"/>
                    <a:pt x="0" y="3810"/>
                    <a:pt x="0" y="3683"/>
                  </a:cubicBezTo>
                  <a:cubicBezTo>
                    <a:pt x="0" y="3683"/>
                    <a:pt x="0" y="3556"/>
                    <a:pt x="0" y="3429"/>
                  </a:cubicBezTo>
                  <a:cubicBezTo>
                    <a:pt x="0" y="3429"/>
                    <a:pt x="0" y="3302"/>
                    <a:pt x="0" y="3175"/>
                  </a:cubicBezTo>
                  <a:cubicBezTo>
                    <a:pt x="636" y="3175"/>
                    <a:pt x="1146" y="3175"/>
                    <a:pt x="1401" y="3175"/>
                  </a:cubicBezTo>
                  <a:cubicBezTo>
                    <a:pt x="1401" y="2921"/>
                    <a:pt x="1401" y="2540"/>
                    <a:pt x="1401" y="2159"/>
                  </a:cubicBezTo>
                  <a:cubicBezTo>
                    <a:pt x="1401" y="1778"/>
                    <a:pt x="1401" y="1270"/>
                    <a:pt x="1401" y="889"/>
                  </a:cubicBezTo>
                  <a:lnTo>
                    <a:pt x="3183" y="127"/>
                  </a:lnTo>
                  <a:lnTo>
                    <a:pt x="3183" y="127"/>
                  </a:lnTo>
                  <a:close/>
                </a:path>
              </a:pathLst>
            </a:custGeom>
            <a:solidFill>
              <a:srgbClr val="FFFFFF"/>
            </a:solidFill>
            <a:ln w="0" cap="flat">
              <a:noFill/>
              <a:prstDash val="solid"/>
              <a:miter/>
            </a:ln>
          </p:spPr>
          <p:txBody>
            <a:bodyPr rtlCol="0" anchor="ctr"/>
            <a:lstStyle/>
            <a:p>
              <a:endParaRPr lang="en-AD" sz="2400"/>
            </a:p>
          </p:txBody>
        </p:sp>
        <p:sp>
          <p:nvSpPr>
            <p:cNvPr id="577" name="Freeform 576">
              <a:extLst>
                <a:ext uri="{FF2B5EF4-FFF2-40B4-BE49-F238E27FC236}">
                  <a16:creationId xmlns:a16="http://schemas.microsoft.com/office/drawing/2014/main" id="{A411A228-A6CA-0020-D6ED-BD8F7B7CB6A3}"/>
                </a:ext>
              </a:extLst>
            </p:cNvPr>
            <p:cNvSpPr/>
            <p:nvPr/>
          </p:nvSpPr>
          <p:spPr>
            <a:xfrm>
              <a:off x="4309222"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255 w 2291"/>
                <a:gd name="connsiteY9" fmla="*/ 8890 h 14985"/>
                <a:gd name="connsiteX10" fmla="*/ 255 w 2291"/>
                <a:gd name="connsiteY10" fmla="*/ 6858 h 14985"/>
                <a:gd name="connsiteX11" fmla="*/ 127 w 2291"/>
                <a:gd name="connsiteY11" fmla="*/ 4826 h 14985"/>
                <a:gd name="connsiteX12" fmla="*/ 1146 w 2291"/>
                <a:gd name="connsiteY12" fmla="*/ 4826 h 14985"/>
                <a:gd name="connsiteX13" fmla="*/ 2165 w 2291"/>
                <a:gd name="connsiteY13" fmla="*/ 4826 h 14985"/>
                <a:gd name="connsiteX14" fmla="*/ 2037 w 2291"/>
                <a:gd name="connsiteY14" fmla="*/ 6858 h 14985"/>
                <a:gd name="connsiteX15" fmla="*/ 2037 w 2291"/>
                <a:gd name="connsiteY15" fmla="*/ 8890 h 14985"/>
                <a:gd name="connsiteX16" fmla="*/ 2037 w 2291"/>
                <a:gd name="connsiteY16" fmla="*/ 11049 h 14985"/>
                <a:gd name="connsiteX17" fmla="*/ 2037 w 2291"/>
                <a:gd name="connsiteY17" fmla="*/ 13081 h 14985"/>
                <a:gd name="connsiteX18" fmla="*/ 2165 w 2291"/>
                <a:gd name="connsiteY18" fmla="*/ 14986 h 14985"/>
                <a:gd name="connsiteX19" fmla="*/ 1146 w 2291"/>
                <a:gd name="connsiteY19" fmla="*/ 14986 h 14985"/>
                <a:gd name="connsiteX20" fmla="*/ 127 w 2291"/>
                <a:gd name="connsiteY20" fmla="*/ 14986 h 14985"/>
                <a:gd name="connsiteX21" fmla="*/ 255 w 2291"/>
                <a:gd name="connsiteY21" fmla="*/ 13081 h 14985"/>
                <a:gd name="connsiteX22" fmla="*/ 255 w 2291"/>
                <a:gd name="connsiteY22" fmla="*/ 11049 h 14985"/>
                <a:gd name="connsiteX23" fmla="*/ 255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7" y="127"/>
                    <a:pt x="891" y="0"/>
                    <a:pt x="1146" y="0"/>
                  </a:cubicBezTo>
                  <a:cubicBezTo>
                    <a:pt x="1401" y="0"/>
                    <a:pt x="1655" y="0"/>
                    <a:pt x="1910" y="381"/>
                  </a:cubicBezTo>
                  <a:cubicBezTo>
                    <a:pt x="2165" y="635"/>
                    <a:pt x="2292" y="889"/>
                    <a:pt x="2292" y="1143"/>
                  </a:cubicBezTo>
                  <a:cubicBezTo>
                    <a:pt x="2292" y="1397"/>
                    <a:pt x="2292" y="1651"/>
                    <a:pt x="1910" y="1905"/>
                  </a:cubicBezTo>
                  <a:cubicBezTo>
                    <a:pt x="1655" y="2159"/>
                    <a:pt x="1401" y="2286"/>
                    <a:pt x="1146" y="2286"/>
                  </a:cubicBezTo>
                  <a:cubicBezTo>
                    <a:pt x="891" y="2286"/>
                    <a:pt x="637" y="2286"/>
                    <a:pt x="382" y="1905"/>
                  </a:cubicBezTo>
                  <a:cubicBezTo>
                    <a:pt x="127" y="1651"/>
                    <a:pt x="0" y="1397"/>
                    <a:pt x="0" y="1143"/>
                  </a:cubicBezTo>
                  <a:close/>
                  <a:moveTo>
                    <a:pt x="255" y="8890"/>
                  </a:moveTo>
                  <a:cubicBezTo>
                    <a:pt x="255" y="8255"/>
                    <a:pt x="255" y="7620"/>
                    <a:pt x="255" y="6858"/>
                  </a:cubicBezTo>
                  <a:cubicBezTo>
                    <a:pt x="255" y="6096"/>
                    <a:pt x="255" y="5461"/>
                    <a:pt x="127" y="4826"/>
                  </a:cubicBezTo>
                  <a:cubicBezTo>
                    <a:pt x="509" y="4826"/>
                    <a:pt x="891" y="4826"/>
                    <a:pt x="1146" y="4826"/>
                  </a:cubicBezTo>
                  <a:cubicBezTo>
                    <a:pt x="1401" y="4826"/>
                    <a:pt x="1655" y="4826"/>
                    <a:pt x="2165" y="4826"/>
                  </a:cubicBezTo>
                  <a:cubicBezTo>
                    <a:pt x="2165" y="5461"/>
                    <a:pt x="2165" y="6096"/>
                    <a:pt x="2037" y="6858"/>
                  </a:cubicBezTo>
                  <a:cubicBezTo>
                    <a:pt x="2037" y="7620"/>
                    <a:pt x="2037" y="8255"/>
                    <a:pt x="2037" y="8890"/>
                  </a:cubicBezTo>
                  <a:lnTo>
                    <a:pt x="2037" y="11049"/>
                  </a:lnTo>
                  <a:cubicBezTo>
                    <a:pt x="2037" y="11684"/>
                    <a:pt x="2037" y="12319"/>
                    <a:pt x="2037" y="13081"/>
                  </a:cubicBezTo>
                  <a:cubicBezTo>
                    <a:pt x="2037" y="13843"/>
                    <a:pt x="2037" y="14478"/>
                    <a:pt x="2165" y="14986"/>
                  </a:cubicBezTo>
                  <a:cubicBezTo>
                    <a:pt x="1783" y="14986"/>
                    <a:pt x="1528" y="14986"/>
                    <a:pt x="1146" y="14986"/>
                  </a:cubicBezTo>
                  <a:cubicBezTo>
                    <a:pt x="764" y="14986"/>
                    <a:pt x="509" y="14986"/>
                    <a:pt x="127" y="14986"/>
                  </a:cubicBezTo>
                  <a:cubicBezTo>
                    <a:pt x="127" y="14478"/>
                    <a:pt x="127" y="13716"/>
                    <a:pt x="255" y="13081"/>
                  </a:cubicBezTo>
                  <a:cubicBezTo>
                    <a:pt x="255" y="12319"/>
                    <a:pt x="255" y="11684"/>
                    <a:pt x="255" y="11049"/>
                  </a:cubicBezTo>
                  <a:lnTo>
                    <a:pt x="255" y="8890"/>
                  </a:lnTo>
                  <a:close/>
                </a:path>
              </a:pathLst>
            </a:custGeom>
            <a:solidFill>
              <a:srgbClr val="FFFFFF"/>
            </a:solidFill>
            <a:ln w="0" cap="flat">
              <a:noFill/>
              <a:prstDash val="solid"/>
              <a:miter/>
            </a:ln>
          </p:spPr>
          <p:txBody>
            <a:bodyPr rtlCol="0" anchor="ctr"/>
            <a:lstStyle/>
            <a:p>
              <a:endParaRPr lang="en-AD" sz="2400"/>
            </a:p>
          </p:txBody>
        </p:sp>
        <p:sp>
          <p:nvSpPr>
            <p:cNvPr id="578" name="Freeform 577">
              <a:extLst>
                <a:ext uri="{FF2B5EF4-FFF2-40B4-BE49-F238E27FC236}">
                  <a16:creationId xmlns:a16="http://schemas.microsoft.com/office/drawing/2014/main" id="{58161726-1F59-660B-B6FF-152088A5F570}"/>
                </a:ext>
              </a:extLst>
            </p:cNvPr>
            <p:cNvSpPr/>
            <p:nvPr/>
          </p:nvSpPr>
          <p:spPr>
            <a:xfrm>
              <a:off x="4314060"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3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6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3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3" y="9906"/>
                  </a:cubicBezTo>
                  <a:cubicBezTo>
                    <a:pt x="5602" y="9906"/>
                    <a:pt x="6239" y="9779"/>
                    <a:pt x="6621" y="9525"/>
                  </a:cubicBezTo>
                  <a:cubicBezTo>
                    <a:pt x="7003" y="9271"/>
                    <a:pt x="7384" y="8890"/>
                    <a:pt x="7639" y="8509"/>
                  </a:cubicBezTo>
                  <a:cubicBezTo>
                    <a:pt x="7893" y="8128"/>
                    <a:pt x="8021" y="7620"/>
                    <a:pt x="8148" y="6985"/>
                  </a:cubicBezTo>
                  <a:cubicBezTo>
                    <a:pt x="8148" y="6477"/>
                    <a:pt x="8276" y="5842"/>
                    <a:pt x="8276" y="5207"/>
                  </a:cubicBezTo>
                  <a:cubicBezTo>
                    <a:pt x="8276" y="4572"/>
                    <a:pt x="8276" y="4064"/>
                    <a:pt x="8148" y="3429"/>
                  </a:cubicBezTo>
                  <a:cubicBezTo>
                    <a:pt x="8148" y="2921"/>
                    <a:pt x="7893" y="2413"/>
                    <a:pt x="7639" y="1905"/>
                  </a:cubicBezTo>
                  <a:cubicBezTo>
                    <a:pt x="7384" y="1524"/>
                    <a:pt x="7003" y="1143"/>
                    <a:pt x="6621" y="889"/>
                  </a:cubicBezTo>
                  <a:cubicBezTo>
                    <a:pt x="6239" y="635"/>
                    <a:pt x="5602" y="508"/>
                    <a:pt x="5093"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579" name="Freeform 578">
              <a:extLst>
                <a:ext uri="{FF2B5EF4-FFF2-40B4-BE49-F238E27FC236}">
                  <a16:creationId xmlns:a16="http://schemas.microsoft.com/office/drawing/2014/main" id="{1306588B-ECED-5AB8-267F-45251FEE4962}"/>
                </a:ext>
              </a:extLst>
            </p:cNvPr>
            <p:cNvSpPr/>
            <p:nvPr/>
          </p:nvSpPr>
          <p:spPr>
            <a:xfrm>
              <a:off x="4327047"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5 w 8784"/>
                <a:gd name="connsiteY24" fmla="*/ 3683 h 10414"/>
                <a:gd name="connsiteX25" fmla="*/ 8785 w 8784"/>
                <a:gd name="connsiteY25" fmla="*/ 5588 h 10414"/>
                <a:gd name="connsiteX26" fmla="*/ 8785 w 8784"/>
                <a:gd name="connsiteY26" fmla="*/ 7620 h 10414"/>
                <a:gd name="connsiteX27" fmla="*/ 8785 w 8784"/>
                <a:gd name="connsiteY27" fmla="*/ 9017 h 10414"/>
                <a:gd name="connsiteX28" fmla="*/ 8785 w 8784"/>
                <a:gd name="connsiteY28" fmla="*/ 9652 h 10414"/>
                <a:gd name="connsiteX29" fmla="*/ 8785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3" y="1397"/>
                    <a:pt x="8530" y="1905"/>
                  </a:cubicBezTo>
                  <a:cubicBezTo>
                    <a:pt x="8785" y="2413"/>
                    <a:pt x="8785" y="3048"/>
                    <a:pt x="8785" y="3683"/>
                  </a:cubicBezTo>
                  <a:cubicBezTo>
                    <a:pt x="8785" y="4318"/>
                    <a:pt x="8785" y="4953"/>
                    <a:pt x="8785" y="5588"/>
                  </a:cubicBezTo>
                  <a:cubicBezTo>
                    <a:pt x="8785" y="6223"/>
                    <a:pt x="8785" y="6985"/>
                    <a:pt x="8785" y="7620"/>
                  </a:cubicBezTo>
                  <a:lnTo>
                    <a:pt x="8785" y="9017"/>
                  </a:lnTo>
                  <a:cubicBezTo>
                    <a:pt x="8785" y="9017"/>
                    <a:pt x="8785" y="9525"/>
                    <a:pt x="8785" y="9652"/>
                  </a:cubicBezTo>
                  <a:cubicBezTo>
                    <a:pt x="8785" y="9906"/>
                    <a:pt x="8785" y="10033"/>
                    <a:pt x="8785"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580" name="Freeform 579">
              <a:extLst>
                <a:ext uri="{FF2B5EF4-FFF2-40B4-BE49-F238E27FC236}">
                  <a16:creationId xmlns:a16="http://schemas.microsoft.com/office/drawing/2014/main" id="{3EE4E755-26C7-6B6E-968A-CD65D4F448A4}"/>
                </a:ext>
              </a:extLst>
            </p:cNvPr>
            <p:cNvSpPr/>
            <p:nvPr/>
          </p:nvSpPr>
          <p:spPr>
            <a:xfrm>
              <a:off x="4338251" y="4851527"/>
              <a:ext cx="6620" cy="10540"/>
            </a:xfrm>
            <a:custGeom>
              <a:avLst/>
              <a:gdLst>
                <a:gd name="connsiteX0" fmla="*/ 1018 w 6620"/>
                <a:gd name="connsiteY0" fmla="*/ 8890 h 10540"/>
                <a:gd name="connsiteX1" fmla="*/ 1528 w 6620"/>
                <a:gd name="connsiteY1" fmla="*/ 9398 h 10540"/>
                <a:gd name="connsiteX2" fmla="*/ 2292 w 6620"/>
                <a:gd name="connsiteY2" fmla="*/ 9779 h 10540"/>
                <a:gd name="connsiteX3" fmla="*/ 3183 w 6620"/>
                <a:gd name="connsiteY3" fmla="*/ 9906 h 10540"/>
                <a:gd name="connsiteX4" fmla="*/ 3947 w 6620"/>
                <a:gd name="connsiteY4" fmla="*/ 9779 h 10540"/>
                <a:gd name="connsiteX5" fmla="*/ 4583 w 6620"/>
                <a:gd name="connsiteY5" fmla="*/ 9398 h 10540"/>
                <a:gd name="connsiteX6" fmla="*/ 5092 w 6620"/>
                <a:gd name="connsiteY6" fmla="*/ 8763 h 10540"/>
                <a:gd name="connsiteX7" fmla="*/ 5220 w 6620"/>
                <a:gd name="connsiteY7" fmla="*/ 7874 h 10540"/>
                <a:gd name="connsiteX8" fmla="*/ 4838 w 6620"/>
                <a:gd name="connsiteY8" fmla="*/ 6858 h 10540"/>
                <a:gd name="connsiteX9" fmla="*/ 3947 w 6620"/>
                <a:gd name="connsiteY9" fmla="*/ 6223 h 10540"/>
                <a:gd name="connsiteX10" fmla="*/ 2673 w 6620"/>
                <a:gd name="connsiteY10" fmla="*/ 5842 h 10540"/>
                <a:gd name="connsiteX11" fmla="*/ 1400 w 6620"/>
                <a:gd name="connsiteY11" fmla="*/ 5334 h 10540"/>
                <a:gd name="connsiteX12" fmla="*/ 509 w 6620"/>
                <a:gd name="connsiteY12" fmla="*/ 4572 h 10540"/>
                <a:gd name="connsiteX13" fmla="*/ 127 w 6620"/>
                <a:gd name="connsiteY13" fmla="*/ 3175 h 10540"/>
                <a:gd name="connsiteX14" fmla="*/ 382 w 6620"/>
                <a:gd name="connsiteY14" fmla="*/ 1905 h 10540"/>
                <a:gd name="connsiteX15" fmla="*/ 1018 w 6620"/>
                <a:gd name="connsiteY15" fmla="*/ 889 h 10540"/>
                <a:gd name="connsiteX16" fmla="*/ 2164 w 6620"/>
                <a:gd name="connsiteY16" fmla="*/ 254 h 10540"/>
                <a:gd name="connsiteX17" fmla="*/ 3692 w 6620"/>
                <a:gd name="connsiteY17" fmla="*/ 0 h 10540"/>
                <a:gd name="connsiteX18" fmla="*/ 5092 w 6620"/>
                <a:gd name="connsiteY18" fmla="*/ 254 h 10540"/>
                <a:gd name="connsiteX19" fmla="*/ 6111 w 6620"/>
                <a:gd name="connsiteY19" fmla="*/ 635 h 10540"/>
                <a:gd name="connsiteX20" fmla="*/ 5729 w 6620"/>
                <a:gd name="connsiteY20" fmla="*/ 1397 h 10540"/>
                <a:gd name="connsiteX21" fmla="*/ 5474 w 6620"/>
                <a:gd name="connsiteY21" fmla="*/ 2159 h 10540"/>
                <a:gd name="connsiteX22" fmla="*/ 5220 w 6620"/>
                <a:gd name="connsiteY22" fmla="*/ 2159 h 10540"/>
                <a:gd name="connsiteX23" fmla="*/ 4583 w 6620"/>
                <a:gd name="connsiteY23" fmla="*/ 1270 h 10540"/>
                <a:gd name="connsiteX24" fmla="*/ 3310 w 6620"/>
                <a:gd name="connsiteY24" fmla="*/ 889 h 10540"/>
                <a:gd name="connsiteX25" fmla="*/ 2673 w 6620"/>
                <a:gd name="connsiteY25" fmla="*/ 889 h 10540"/>
                <a:gd name="connsiteX26" fmla="*/ 2037 w 6620"/>
                <a:gd name="connsiteY26" fmla="*/ 1270 h 10540"/>
                <a:gd name="connsiteX27" fmla="*/ 1655 w 6620"/>
                <a:gd name="connsiteY27" fmla="*/ 1778 h 10540"/>
                <a:gd name="connsiteX28" fmla="*/ 1528 w 6620"/>
                <a:gd name="connsiteY28" fmla="*/ 2540 h 10540"/>
                <a:gd name="connsiteX29" fmla="*/ 1910 w 6620"/>
                <a:gd name="connsiteY29" fmla="*/ 3556 h 10540"/>
                <a:gd name="connsiteX30" fmla="*/ 2801 w 6620"/>
                <a:gd name="connsiteY30" fmla="*/ 4191 h 10540"/>
                <a:gd name="connsiteX31" fmla="*/ 4074 w 6620"/>
                <a:gd name="connsiteY31" fmla="*/ 4572 h 10540"/>
                <a:gd name="connsiteX32" fmla="*/ 5347 w 6620"/>
                <a:gd name="connsiteY32" fmla="*/ 5080 h 10540"/>
                <a:gd name="connsiteX33" fmla="*/ 6238 w 6620"/>
                <a:gd name="connsiteY33" fmla="*/ 5842 h 10540"/>
                <a:gd name="connsiteX34" fmla="*/ 6620 w 6620"/>
                <a:gd name="connsiteY34" fmla="*/ 7239 h 10540"/>
                <a:gd name="connsiteX35" fmla="*/ 6366 w 6620"/>
                <a:gd name="connsiteY35" fmla="*/ 8509 h 10540"/>
                <a:gd name="connsiteX36" fmla="*/ 5601 w 6620"/>
                <a:gd name="connsiteY36" fmla="*/ 9525 h 10540"/>
                <a:gd name="connsiteX37" fmla="*/ 4456 w 6620"/>
                <a:gd name="connsiteY37" fmla="*/ 10287 h 10540"/>
                <a:gd name="connsiteX38" fmla="*/ 2801 w 6620"/>
                <a:gd name="connsiteY38" fmla="*/ 10541 h 10540"/>
                <a:gd name="connsiteX39" fmla="*/ 1146 w 6620"/>
                <a:gd name="connsiteY39" fmla="*/ 10287 h 10540"/>
                <a:gd name="connsiteX40" fmla="*/ 0 w 6620"/>
                <a:gd name="connsiteY40" fmla="*/ 9779 h 10540"/>
                <a:gd name="connsiteX41" fmla="*/ 254 w 6620"/>
                <a:gd name="connsiteY41" fmla="*/ 9017 h 10540"/>
                <a:gd name="connsiteX42" fmla="*/ 382 w 6620"/>
                <a:gd name="connsiteY42" fmla="*/ 8255 h 10540"/>
                <a:gd name="connsiteX43" fmla="*/ 636 w 6620"/>
                <a:gd name="connsiteY43" fmla="*/ 8255 h 10540"/>
                <a:gd name="connsiteX44" fmla="*/ 1018 w 6620"/>
                <a:gd name="connsiteY44" fmla="*/ 8763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20" h="10540">
                  <a:moveTo>
                    <a:pt x="1018" y="8890"/>
                  </a:moveTo>
                  <a:cubicBezTo>
                    <a:pt x="1018" y="8890"/>
                    <a:pt x="1400" y="9271"/>
                    <a:pt x="1528" y="9398"/>
                  </a:cubicBezTo>
                  <a:cubicBezTo>
                    <a:pt x="1655" y="9525"/>
                    <a:pt x="1910" y="9652"/>
                    <a:pt x="2292" y="9779"/>
                  </a:cubicBezTo>
                  <a:cubicBezTo>
                    <a:pt x="2546" y="9779"/>
                    <a:pt x="2801" y="9906"/>
                    <a:pt x="3183" y="9906"/>
                  </a:cubicBezTo>
                  <a:cubicBezTo>
                    <a:pt x="3437" y="9906"/>
                    <a:pt x="3692" y="9906"/>
                    <a:pt x="3947" y="9779"/>
                  </a:cubicBezTo>
                  <a:cubicBezTo>
                    <a:pt x="4201" y="9779"/>
                    <a:pt x="4456" y="9525"/>
                    <a:pt x="4583" y="9398"/>
                  </a:cubicBezTo>
                  <a:cubicBezTo>
                    <a:pt x="4711" y="9271"/>
                    <a:pt x="4965" y="9017"/>
                    <a:pt x="5092" y="8763"/>
                  </a:cubicBezTo>
                  <a:cubicBezTo>
                    <a:pt x="5092" y="8509"/>
                    <a:pt x="5220" y="8255"/>
                    <a:pt x="5220" y="7874"/>
                  </a:cubicBezTo>
                  <a:cubicBezTo>
                    <a:pt x="5220" y="7493"/>
                    <a:pt x="5220" y="7112"/>
                    <a:pt x="4838" y="6858"/>
                  </a:cubicBezTo>
                  <a:cubicBezTo>
                    <a:pt x="4456" y="6604"/>
                    <a:pt x="4329" y="6477"/>
                    <a:pt x="3947" y="6223"/>
                  </a:cubicBezTo>
                  <a:cubicBezTo>
                    <a:pt x="3565" y="6096"/>
                    <a:pt x="3183" y="5969"/>
                    <a:pt x="2673" y="5842"/>
                  </a:cubicBezTo>
                  <a:cubicBezTo>
                    <a:pt x="2164" y="5715"/>
                    <a:pt x="1782" y="5588"/>
                    <a:pt x="1400" y="5334"/>
                  </a:cubicBezTo>
                  <a:cubicBezTo>
                    <a:pt x="1018" y="5080"/>
                    <a:pt x="764" y="4826"/>
                    <a:pt x="509" y="4572"/>
                  </a:cubicBezTo>
                  <a:cubicBezTo>
                    <a:pt x="254" y="4191"/>
                    <a:pt x="127" y="3810"/>
                    <a:pt x="127" y="3175"/>
                  </a:cubicBezTo>
                  <a:cubicBezTo>
                    <a:pt x="127" y="2667"/>
                    <a:pt x="127" y="2286"/>
                    <a:pt x="382" y="1905"/>
                  </a:cubicBezTo>
                  <a:cubicBezTo>
                    <a:pt x="509" y="1524"/>
                    <a:pt x="764" y="1143"/>
                    <a:pt x="1018" y="889"/>
                  </a:cubicBezTo>
                  <a:cubicBezTo>
                    <a:pt x="1273" y="635"/>
                    <a:pt x="1655" y="381"/>
                    <a:pt x="2164" y="254"/>
                  </a:cubicBezTo>
                  <a:cubicBezTo>
                    <a:pt x="2673" y="127"/>
                    <a:pt x="3055" y="0"/>
                    <a:pt x="3692" y="0"/>
                  </a:cubicBezTo>
                  <a:cubicBezTo>
                    <a:pt x="4201" y="0"/>
                    <a:pt x="4711" y="0"/>
                    <a:pt x="5092" y="254"/>
                  </a:cubicBezTo>
                  <a:cubicBezTo>
                    <a:pt x="5474" y="381"/>
                    <a:pt x="5856" y="508"/>
                    <a:pt x="6111" y="635"/>
                  </a:cubicBezTo>
                  <a:cubicBezTo>
                    <a:pt x="6111" y="889"/>
                    <a:pt x="5856" y="1143"/>
                    <a:pt x="5729" y="1397"/>
                  </a:cubicBezTo>
                  <a:cubicBezTo>
                    <a:pt x="5729" y="1651"/>
                    <a:pt x="5601" y="1905"/>
                    <a:pt x="5474" y="2159"/>
                  </a:cubicBezTo>
                  <a:lnTo>
                    <a:pt x="5220" y="2159"/>
                  </a:lnTo>
                  <a:cubicBezTo>
                    <a:pt x="5220" y="2159"/>
                    <a:pt x="4838" y="1524"/>
                    <a:pt x="4583" y="1270"/>
                  </a:cubicBezTo>
                  <a:cubicBezTo>
                    <a:pt x="4201" y="1016"/>
                    <a:pt x="3819" y="889"/>
                    <a:pt x="3310" y="889"/>
                  </a:cubicBezTo>
                  <a:cubicBezTo>
                    <a:pt x="3055" y="889"/>
                    <a:pt x="2928" y="889"/>
                    <a:pt x="2673" y="889"/>
                  </a:cubicBezTo>
                  <a:cubicBezTo>
                    <a:pt x="2419" y="889"/>
                    <a:pt x="2292" y="1016"/>
                    <a:pt x="2037" y="1270"/>
                  </a:cubicBezTo>
                  <a:cubicBezTo>
                    <a:pt x="1910" y="1397"/>
                    <a:pt x="1782" y="1651"/>
                    <a:pt x="1655" y="1778"/>
                  </a:cubicBezTo>
                  <a:cubicBezTo>
                    <a:pt x="1528" y="1905"/>
                    <a:pt x="1528" y="2286"/>
                    <a:pt x="1528" y="2540"/>
                  </a:cubicBezTo>
                  <a:cubicBezTo>
                    <a:pt x="1528" y="3048"/>
                    <a:pt x="1528" y="3302"/>
                    <a:pt x="1910" y="3556"/>
                  </a:cubicBezTo>
                  <a:cubicBezTo>
                    <a:pt x="2164" y="3810"/>
                    <a:pt x="2419" y="4064"/>
                    <a:pt x="2801" y="4191"/>
                  </a:cubicBezTo>
                  <a:cubicBezTo>
                    <a:pt x="3183" y="4318"/>
                    <a:pt x="3565" y="4445"/>
                    <a:pt x="4074" y="4572"/>
                  </a:cubicBezTo>
                  <a:cubicBezTo>
                    <a:pt x="4456" y="4572"/>
                    <a:pt x="4965" y="4826"/>
                    <a:pt x="5347" y="5080"/>
                  </a:cubicBezTo>
                  <a:cubicBezTo>
                    <a:pt x="5729" y="5334"/>
                    <a:pt x="5983" y="5588"/>
                    <a:pt x="6238" y="5842"/>
                  </a:cubicBezTo>
                  <a:cubicBezTo>
                    <a:pt x="6493" y="6223"/>
                    <a:pt x="6620" y="6604"/>
                    <a:pt x="6620" y="7239"/>
                  </a:cubicBezTo>
                  <a:cubicBezTo>
                    <a:pt x="6620" y="7620"/>
                    <a:pt x="6620" y="8001"/>
                    <a:pt x="6366" y="8509"/>
                  </a:cubicBezTo>
                  <a:cubicBezTo>
                    <a:pt x="6111" y="9017"/>
                    <a:pt x="5983" y="9271"/>
                    <a:pt x="5601" y="9525"/>
                  </a:cubicBezTo>
                  <a:cubicBezTo>
                    <a:pt x="5220" y="9906"/>
                    <a:pt x="4838" y="10033"/>
                    <a:pt x="4456" y="10287"/>
                  </a:cubicBezTo>
                  <a:cubicBezTo>
                    <a:pt x="4074" y="10541"/>
                    <a:pt x="3437" y="10541"/>
                    <a:pt x="2801" y="10541"/>
                  </a:cubicBezTo>
                  <a:cubicBezTo>
                    <a:pt x="2164" y="10541"/>
                    <a:pt x="1655" y="10541"/>
                    <a:pt x="1146" y="10287"/>
                  </a:cubicBezTo>
                  <a:cubicBezTo>
                    <a:pt x="636" y="10033"/>
                    <a:pt x="382" y="10033"/>
                    <a:pt x="0" y="9779"/>
                  </a:cubicBezTo>
                  <a:cubicBezTo>
                    <a:pt x="0" y="9652"/>
                    <a:pt x="127" y="9398"/>
                    <a:pt x="254" y="9017"/>
                  </a:cubicBezTo>
                  <a:cubicBezTo>
                    <a:pt x="254" y="8636"/>
                    <a:pt x="382" y="8382"/>
                    <a:pt x="382" y="8255"/>
                  </a:cubicBezTo>
                  <a:lnTo>
                    <a:pt x="636" y="8255"/>
                  </a:lnTo>
                  <a:cubicBezTo>
                    <a:pt x="636" y="8255"/>
                    <a:pt x="764" y="8509"/>
                    <a:pt x="1018" y="8763"/>
                  </a:cubicBezTo>
                  <a:close/>
                </a:path>
              </a:pathLst>
            </a:custGeom>
            <a:solidFill>
              <a:srgbClr val="FFFFFF"/>
            </a:solidFill>
            <a:ln w="0" cap="flat">
              <a:noFill/>
              <a:prstDash val="solid"/>
              <a:miter/>
            </a:ln>
          </p:spPr>
          <p:txBody>
            <a:bodyPr rtlCol="0" anchor="ctr"/>
            <a:lstStyle/>
            <a:p>
              <a:endParaRPr lang="en-AD" sz="2400"/>
            </a:p>
          </p:txBody>
        </p:sp>
        <p:sp>
          <p:nvSpPr>
            <p:cNvPr id="581" name="Freeform 580">
              <a:extLst>
                <a:ext uri="{FF2B5EF4-FFF2-40B4-BE49-F238E27FC236}">
                  <a16:creationId xmlns:a16="http://schemas.microsoft.com/office/drawing/2014/main" id="{DF754C16-FD69-7F8F-F8C2-577722023FE1}"/>
                </a:ext>
              </a:extLst>
            </p:cNvPr>
            <p:cNvSpPr/>
            <p:nvPr/>
          </p:nvSpPr>
          <p:spPr>
            <a:xfrm>
              <a:off x="4353655" y="4847209"/>
              <a:ext cx="8147" cy="15112"/>
            </a:xfrm>
            <a:custGeom>
              <a:avLst/>
              <a:gdLst>
                <a:gd name="connsiteX0" fmla="*/ 254 w 8147"/>
                <a:gd name="connsiteY0" fmla="*/ 2794 h 15112"/>
                <a:gd name="connsiteX1" fmla="*/ 254 w 8147"/>
                <a:gd name="connsiteY1" fmla="*/ 0 h 15112"/>
                <a:gd name="connsiteX2" fmla="*/ 2164 w 8147"/>
                <a:gd name="connsiteY2" fmla="*/ 0 h 15112"/>
                <a:gd name="connsiteX3" fmla="*/ 4074 w 8147"/>
                <a:gd name="connsiteY3" fmla="*/ 0 h 15112"/>
                <a:gd name="connsiteX4" fmla="*/ 5984 w 8147"/>
                <a:gd name="connsiteY4" fmla="*/ 0 h 15112"/>
                <a:gd name="connsiteX5" fmla="*/ 8148 w 8147"/>
                <a:gd name="connsiteY5" fmla="*/ 0 h 15112"/>
                <a:gd name="connsiteX6" fmla="*/ 8148 w 8147"/>
                <a:gd name="connsiteY6" fmla="*/ 635 h 15112"/>
                <a:gd name="connsiteX7" fmla="*/ 8148 w 8147"/>
                <a:gd name="connsiteY7" fmla="*/ 1270 h 15112"/>
                <a:gd name="connsiteX8" fmla="*/ 6748 w 8147"/>
                <a:gd name="connsiteY8" fmla="*/ 1270 h 15112"/>
                <a:gd name="connsiteX9" fmla="*/ 5092 w 8147"/>
                <a:gd name="connsiteY9" fmla="*/ 1270 h 15112"/>
                <a:gd name="connsiteX10" fmla="*/ 3437 w 8147"/>
                <a:gd name="connsiteY10" fmla="*/ 1270 h 15112"/>
                <a:gd name="connsiteX11" fmla="*/ 2164 w 8147"/>
                <a:gd name="connsiteY11" fmla="*/ 1270 h 15112"/>
                <a:gd name="connsiteX12" fmla="*/ 2164 w 8147"/>
                <a:gd name="connsiteY12" fmla="*/ 2667 h 15112"/>
                <a:gd name="connsiteX13" fmla="*/ 2164 w 8147"/>
                <a:gd name="connsiteY13" fmla="*/ 4064 h 15112"/>
                <a:gd name="connsiteX14" fmla="*/ 2164 w 8147"/>
                <a:gd name="connsiteY14" fmla="*/ 5461 h 15112"/>
                <a:gd name="connsiteX15" fmla="*/ 2164 w 8147"/>
                <a:gd name="connsiteY15" fmla="*/ 6731 h 15112"/>
                <a:gd name="connsiteX16" fmla="*/ 4965 w 8147"/>
                <a:gd name="connsiteY16" fmla="*/ 6731 h 15112"/>
                <a:gd name="connsiteX17" fmla="*/ 7639 w 8147"/>
                <a:gd name="connsiteY17" fmla="*/ 6604 h 15112"/>
                <a:gd name="connsiteX18" fmla="*/ 7639 w 8147"/>
                <a:gd name="connsiteY18" fmla="*/ 7239 h 15112"/>
                <a:gd name="connsiteX19" fmla="*/ 7639 w 8147"/>
                <a:gd name="connsiteY19" fmla="*/ 7874 h 15112"/>
                <a:gd name="connsiteX20" fmla="*/ 6366 w 8147"/>
                <a:gd name="connsiteY20" fmla="*/ 7874 h 15112"/>
                <a:gd name="connsiteX21" fmla="*/ 4965 w 8147"/>
                <a:gd name="connsiteY21" fmla="*/ 7874 h 15112"/>
                <a:gd name="connsiteX22" fmla="*/ 3437 w 8147"/>
                <a:gd name="connsiteY22" fmla="*/ 7874 h 15112"/>
                <a:gd name="connsiteX23" fmla="*/ 2037 w 8147"/>
                <a:gd name="connsiteY23" fmla="*/ 7874 h 15112"/>
                <a:gd name="connsiteX24" fmla="*/ 2037 w 8147"/>
                <a:gd name="connsiteY24" fmla="*/ 9652 h 15112"/>
                <a:gd name="connsiteX25" fmla="*/ 2037 w 8147"/>
                <a:gd name="connsiteY25" fmla="*/ 12446 h 15112"/>
                <a:gd name="connsiteX26" fmla="*/ 2037 w 8147"/>
                <a:gd name="connsiteY26" fmla="*/ 15113 h 15112"/>
                <a:gd name="connsiteX27" fmla="*/ 1018 w 8147"/>
                <a:gd name="connsiteY27" fmla="*/ 15113 h 15112"/>
                <a:gd name="connsiteX28" fmla="*/ 0 w 8147"/>
                <a:gd name="connsiteY28" fmla="*/ 15113 h 15112"/>
                <a:gd name="connsiteX29" fmla="*/ 0 w 8147"/>
                <a:gd name="connsiteY29" fmla="*/ 12446 h 15112"/>
                <a:gd name="connsiteX30" fmla="*/ 0 w 8147"/>
                <a:gd name="connsiteY30" fmla="*/ 9652 h 15112"/>
                <a:gd name="connsiteX31" fmla="*/ 0 w 8147"/>
                <a:gd name="connsiteY31" fmla="*/ 5969 h 15112"/>
                <a:gd name="connsiteX32" fmla="*/ 0 w 8147"/>
                <a:gd name="connsiteY32" fmla="*/ 3175 h 1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47" h="15112">
                  <a:moveTo>
                    <a:pt x="254" y="2794"/>
                  </a:moveTo>
                  <a:cubicBezTo>
                    <a:pt x="254" y="1905"/>
                    <a:pt x="254" y="1016"/>
                    <a:pt x="254" y="0"/>
                  </a:cubicBezTo>
                  <a:cubicBezTo>
                    <a:pt x="891" y="0"/>
                    <a:pt x="1528" y="0"/>
                    <a:pt x="2164" y="0"/>
                  </a:cubicBezTo>
                  <a:cubicBezTo>
                    <a:pt x="2801" y="0"/>
                    <a:pt x="3437" y="0"/>
                    <a:pt x="4074" y="0"/>
                  </a:cubicBezTo>
                  <a:cubicBezTo>
                    <a:pt x="4711" y="0"/>
                    <a:pt x="5347" y="0"/>
                    <a:pt x="5984" y="0"/>
                  </a:cubicBezTo>
                  <a:cubicBezTo>
                    <a:pt x="6620" y="0"/>
                    <a:pt x="7384" y="0"/>
                    <a:pt x="8148" y="0"/>
                  </a:cubicBezTo>
                  <a:cubicBezTo>
                    <a:pt x="8148" y="254"/>
                    <a:pt x="8148" y="381"/>
                    <a:pt x="8148" y="635"/>
                  </a:cubicBezTo>
                  <a:cubicBezTo>
                    <a:pt x="8148" y="889"/>
                    <a:pt x="8148" y="1016"/>
                    <a:pt x="8148" y="1270"/>
                  </a:cubicBezTo>
                  <a:cubicBezTo>
                    <a:pt x="7766" y="1270"/>
                    <a:pt x="7257" y="1270"/>
                    <a:pt x="6748" y="1270"/>
                  </a:cubicBezTo>
                  <a:cubicBezTo>
                    <a:pt x="6238" y="1270"/>
                    <a:pt x="5602" y="1270"/>
                    <a:pt x="5092" y="1270"/>
                  </a:cubicBezTo>
                  <a:cubicBezTo>
                    <a:pt x="4583" y="1270"/>
                    <a:pt x="3947" y="1270"/>
                    <a:pt x="3437" y="1270"/>
                  </a:cubicBezTo>
                  <a:cubicBezTo>
                    <a:pt x="2928" y="1270"/>
                    <a:pt x="2546" y="1270"/>
                    <a:pt x="2164" y="1270"/>
                  </a:cubicBezTo>
                  <a:cubicBezTo>
                    <a:pt x="2164" y="1778"/>
                    <a:pt x="2164" y="2286"/>
                    <a:pt x="2164" y="2667"/>
                  </a:cubicBezTo>
                  <a:cubicBezTo>
                    <a:pt x="2164" y="3048"/>
                    <a:pt x="2164" y="3556"/>
                    <a:pt x="2164" y="4064"/>
                  </a:cubicBezTo>
                  <a:cubicBezTo>
                    <a:pt x="2164" y="4572"/>
                    <a:pt x="2164" y="5080"/>
                    <a:pt x="2164" y="5461"/>
                  </a:cubicBezTo>
                  <a:cubicBezTo>
                    <a:pt x="2164" y="5842"/>
                    <a:pt x="2164" y="6350"/>
                    <a:pt x="2164" y="6731"/>
                  </a:cubicBezTo>
                  <a:cubicBezTo>
                    <a:pt x="3055" y="6731"/>
                    <a:pt x="4074" y="6731"/>
                    <a:pt x="4965" y="6731"/>
                  </a:cubicBezTo>
                  <a:cubicBezTo>
                    <a:pt x="5856" y="6731"/>
                    <a:pt x="6748" y="6731"/>
                    <a:pt x="7639" y="6604"/>
                  </a:cubicBezTo>
                  <a:cubicBezTo>
                    <a:pt x="7639" y="6858"/>
                    <a:pt x="7639" y="6985"/>
                    <a:pt x="7639" y="7239"/>
                  </a:cubicBezTo>
                  <a:cubicBezTo>
                    <a:pt x="7639" y="7493"/>
                    <a:pt x="7639" y="7620"/>
                    <a:pt x="7639" y="7874"/>
                  </a:cubicBezTo>
                  <a:cubicBezTo>
                    <a:pt x="7257" y="7874"/>
                    <a:pt x="6875" y="7874"/>
                    <a:pt x="6366" y="7874"/>
                  </a:cubicBezTo>
                  <a:cubicBezTo>
                    <a:pt x="5856" y="7874"/>
                    <a:pt x="5474" y="7874"/>
                    <a:pt x="4965" y="7874"/>
                  </a:cubicBezTo>
                  <a:cubicBezTo>
                    <a:pt x="4456" y="7874"/>
                    <a:pt x="3947" y="7874"/>
                    <a:pt x="3437" y="7874"/>
                  </a:cubicBezTo>
                  <a:lnTo>
                    <a:pt x="2037" y="7874"/>
                  </a:lnTo>
                  <a:lnTo>
                    <a:pt x="2037" y="9652"/>
                  </a:lnTo>
                  <a:cubicBezTo>
                    <a:pt x="2037" y="10541"/>
                    <a:pt x="2037" y="11557"/>
                    <a:pt x="2037" y="12446"/>
                  </a:cubicBezTo>
                  <a:cubicBezTo>
                    <a:pt x="2037" y="13335"/>
                    <a:pt x="2037" y="14224"/>
                    <a:pt x="2037" y="15113"/>
                  </a:cubicBezTo>
                  <a:cubicBezTo>
                    <a:pt x="1655" y="15113"/>
                    <a:pt x="1400" y="15113"/>
                    <a:pt x="1018" y="15113"/>
                  </a:cubicBezTo>
                  <a:cubicBezTo>
                    <a:pt x="636" y="15113"/>
                    <a:pt x="254" y="15113"/>
                    <a:pt x="0" y="15113"/>
                  </a:cubicBezTo>
                  <a:cubicBezTo>
                    <a:pt x="0" y="14224"/>
                    <a:pt x="0" y="13335"/>
                    <a:pt x="0" y="12446"/>
                  </a:cubicBezTo>
                  <a:cubicBezTo>
                    <a:pt x="0" y="11557"/>
                    <a:pt x="0" y="10668"/>
                    <a:pt x="0" y="9652"/>
                  </a:cubicBezTo>
                  <a:lnTo>
                    <a:pt x="0" y="5969"/>
                  </a:lnTo>
                  <a:cubicBezTo>
                    <a:pt x="0" y="5080"/>
                    <a:pt x="0" y="4064"/>
                    <a:pt x="0" y="3175"/>
                  </a:cubicBezTo>
                  <a:close/>
                </a:path>
              </a:pathLst>
            </a:custGeom>
            <a:solidFill>
              <a:srgbClr val="FFFFFF"/>
            </a:solidFill>
            <a:ln w="0" cap="flat">
              <a:noFill/>
              <a:prstDash val="solid"/>
              <a:miter/>
            </a:ln>
          </p:spPr>
          <p:txBody>
            <a:bodyPr rtlCol="0" anchor="ctr"/>
            <a:lstStyle/>
            <a:p>
              <a:endParaRPr lang="en-AD" sz="2400"/>
            </a:p>
          </p:txBody>
        </p:sp>
        <p:sp>
          <p:nvSpPr>
            <p:cNvPr id="582" name="Freeform 581">
              <a:extLst>
                <a:ext uri="{FF2B5EF4-FFF2-40B4-BE49-F238E27FC236}">
                  <a16:creationId xmlns:a16="http://schemas.microsoft.com/office/drawing/2014/main" id="{7E01E4A4-4CB8-A567-DBD0-A1A782A33CD7}"/>
                </a:ext>
              </a:extLst>
            </p:cNvPr>
            <p:cNvSpPr/>
            <p:nvPr/>
          </p:nvSpPr>
          <p:spPr>
            <a:xfrm>
              <a:off x="4362440" y="4851653"/>
              <a:ext cx="10566" cy="10414"/>
            </a:xfrm>
            <a:custGeom>
              <a:avLst/>
              <a:gdLst>
                <a:gd name="connsiteX0" fmla="*/ 0 w 10566"/>
                <a:gd name="connsiteY0" fmla="*/ 5207 h 10414"/>
                <a:gd name="connsiteX1" fmla="*/ 509 w 10566"/>
                <a:gd name="connsiteY1" fmla="*/ 2794 h 10414"/>
                <a:gd name="connsiteX2" fmla="*/ 1782 w 10566"/>
                <a:gd name="connsiteY2" fmla="*/ 1143 h 10414"/>
                <a:gd name="connsiteX3" fmla="*/ 3437 w 10566"/>
                <a:gd name="connsiteY3" fmla="*/ 254 h 10414"/>
                <a:gd name="connsiteX4" fmla="*/ 5347 w 10566"/>
                <a:gd name="connsiteY4" fmla="*/ 0 h 10414"/>
                <a:gd name="connsiteX5" fmla="*/ 7257 w 10566"/>
                <a:gd name="connsiteY5" fmla="*/ 254 h 10414"/>
                <a:gd name="connsiteX6" fmla="*/ 8912 w 10566"/>
                <a:gd name="connsiteY6" fmla="*/ 1143 h 10414"/>
                <a:gd name="connsiteX7" fmla="*/ 10058 w 10566"/>
                <a:gd name="connsiteY7" fmla="*/ 2794 h 10414"/>
                <a:gd name="connsiteX8" fmla="*/ 10567 w 10566"/>
                <a:gd name="connsiteY8" fmla="*/ 5207 h 10414"/>
                <a:gd name="connsiteX9" fmla="*/ 10058 w 10566"/>
                <a:gd name="connsiteY9" fmla="*/ 7620 h 10414"/>
                <a:gd name="connsiteX10" fmla="*/ 8912 w 10566"/>
                <a:gd name="connsiteY10" fmla="*/ 9271 h 10414"/>
                <a:gd name="connsiteX11" fmla="*/ 7257 w 10566"/>
                <a:gd name="connsiteY11" fmla="*/ 10160 h 10414"/>
                <a:gd name="connsiteX12" fmla="*/ 5347 w 10566"/>
                <a:gd name="connsiteY12" fmla="*/ 10414 h 10414"/>
                <a:gd name="connsiteX13" fmla="*/ 3437 w 10566"/>
                <a:gd name="connsiteY13" fmla="*/ 10160 h 10414"/>
                <a:gd name="connsiteX14" fmla="*/ 1782 w 10566"/>
                <a:gd name="connsiteY14" fmla="*/ 9271 h 10414"/>
                <a:gd name="connsiteX15" fmla="*/ 509 w 10566"/>
                <a:gd name="connsiteY15" fmla="*/ 7620 h 10414"/>
                <a:gd name="connsiteX16" fmla="*/ 0 w 10566"/>
                <a:gd name="connsiteY16" fmla="*/ 5207 h 10414"/>
                <a:gd name="connsiteX17" fmla="*/ 1910 w 10566"/>
                <a:gd name="connsiteY17" fmla="*/ 5207 h 10414"/>
                <a:gd name="connsiteX18" fmla="*/ 2037 w 10566"/>
                <a:gd name="connsiteY18" fmla="*/ 6985 h 10414"/>
                <a:gd name="connsiteX19" fmla="*/ 2546 w 10566"/>
                <a:gd name="connsiteY19" fmla="*/ 8509 h 10414"/>
                <a:gd name="connsiteX20" fmla="*/ 3565 w 10566"/>
                <a:gd name="connsiteY20" fmla="*/ 9525 h 10414"/>
                <a:gd name="connsiteX21" fmla="*/ 5092 w 10566"/>
                <a:gd name="connsiteY21" fmla="*/ 9906 h 10414"/>
                <a:gd name="connsiteX22" fmla="*/ 6620 w 10566"/>
                <a:gd name="connsiteY22" fmla="*/ 9525 h 10414"/>
                <a:gd name="connsiteX23" fmla="*/ 7639 w 10566"/>
                <a:gd name="connsiteY23" fmla="*/ 8509 h 10414"/>
                <a:gd name="connsiteX24" fmla="*/ 8148 w 10566"/>
                <a:gd name="connsiteY24" fmla="*/ 6985 h 10414"/>
                <a:gd name="connsiteX25" fmla="*/ 8275 w 10566"/>
                <a:gd name="connsiteY25" fmla="*/ 5207 h 10414"/>
                <a:gd name="connsiteX26" fmla="*/ 8148 w 10566"/>
                <a:gd name="connsiteY26" fmla="*/ 3429 h 10414"/>
                <a:gd name="connsiteX27" fmla="*/ 7639 w 10566"/>
                <a:gd name="connsiteY27" fmla="*/ 1905 h 10414"/>
                <a:gd name="connsiteX28" fmla="*/ 6620 w 10566"/>
                <a:gd name="connsiteY28" fmla="*/ 889 h 10414"/>
                <a:gd name="connsiteX29" fmla="*/ 5092 w 10566"/>
                <a:gd name="connsiteY29" fmla="*/ 508 h 10414"/>
                <a:gd name="connsiteX30" fmla="*/ 3565 w 10566"/>
                <a:gd name="connsiteY30" fmla="*/ 889 h 10414"/>
                <a:gd name="connsiteX31" fmla="*/ 2546 w 10566"/>
                <a:gd name="connsiteY31" fmla="*/ 1905 h 10414"/>
                <a:gd name="connsiteX32" fmla="*/ 2037 w 10566"/>
                <a:gd name="connsiteY32" fmla="*/ 3429 h 10414"/>
                <a:gd name="connsiteX33" fmla="*/ 1910 w 10566"/>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6" h="10414">
                  <a:moveTo>
                    <a:pt x="0" y="5207"/>
                  </a:moveTo>
                  <a:cubicBezTo>
                    <a:pt x="0" y="4191"/>
                    <a:pt x="127" y="3429"/>
                    <a:pt x="509" y="2794"/>
                  </a:cubicBezTo>
                  <a:cubicBezTo>
                    <a:pt x="764" y="2159"/>
                    <a:pt x="1273" y="1524"/>
                    <a:pt x="1782" y="1143"/>
                  </a:cubicBezTo>
                  <a:cubicBezTo>
                    <a:pt x="2292" y="762"/>
                    <a:pt x="2801" y="381"/>
                    <a:pt x="3437" y="254"/>
                  </a:cubicBezTo>
                  <a:cubicBezTo>
                    <a:pt x="4074" y="0"/>
                    <a:pt x="4711" y="0"/>
                    <a:pt x="5347" y="0"/>
                  </a:cubicBezTo>
                  <a:cubicBezTo>
                    <a:pt x="5984" y="0"/>
                    <a:pt x="6620" y="0"/>
                    <a:pt x="7257" y="254"/>
                  </a:cubicBezTo>
                  <a:cubicBezTo>
                    <a:pt x="7893" y="508"/>
                    <a:pt x="8403" y="762"/>
                    <a:pt x="8912" y="1143"/>
                  </a:cubicBezTo>
                  <a:cubicBezTo>
                    <a:pt x="9421" y="1524"/>
                    <a:pt x="9803" y="2159"/>
                    <a:pt x="10058" y="2794"/>
                  </a:cubicBezTo>
                  <a:cubicBezTo>
                    <a:pt x="10312" y="3429"/>
                    <a:pt x="10567" y="4318"/>
                    <a:pt x="10567" y="5207"/>
                  </a:cubicBezTo>
                  <a:cubicBezTo>
                    <a:pt x="10567" y="6096"/>
                    <a:pt x="10439" y="6985"/>
                    <a:pt x="10058" y="7620"/>
                  </a:cubicBezTo>
                  <a:cubicBezTo>
                    <a:pt x="9803" y="8255"/>
                    <a:pt x="9294" y="8890"/>
                    <a:pt x="8912" y="9271"/>
                  </a:cubicBezTo>
                  <a:cubicBezTo>
                    <a:pt x="8530" y="9652"/>
                    <a:pt x="7893" y="10033"/>
                    <a:pt x="7257" y="10160"/>
                  </a:cubicBezTo>
                  <a:cubicBezTo>
                    <a:pt x="6620" y="10287"/>
                    <a:pt x="5984" y="10414"/>
                    <a:pt x="5347" y="10414"/>
                  </a:cubicBezTo>
                  <a:cubicBezTo>
                    <a:pt x="4711" y="10414"/>
                    <a:pt x="4074" y="10414"/>
                    <a:pt x="3437" y="10160"/>
                  </a:cubicBezTo>
                  <a:cubicBezTo>
                    <a:pt x="2801" y="9906"/>
                    <a:pt x="2292" y="9652"/>
                    <a:pt x="1782" y="9271"/>
                  </a:cubicBezTo>
                  <a:cubicBezTo>
                    <a:pt x="1273" y="8890"/>
                    <a:pt x="891" y="8255"/>
                    <a:pt x="509" y="7620"/>
                  </a:cubicBezTo>
                  <a:cubicBezTo>
                    <a:pt x="254"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3" y="9906"/>
                    <a:pt x="5092" y="9906"/>
                  </a:cubicBezTo>
                  <a:cubicBezTo>
                    <a:pt x="5602" y="9906"/>
                    <a:pt x="6238" y="9779"/>
                    <a:pt x="6620" y="9525"/>
                  </a:cubicBezTo>
                  <a:cubicBezTo>
                    <a:pt x="7002" y="9271"/>
                    <a:pt x="7384" y="8890"/>
                    <a:pt x="7639" y="8509"/>
                  </a:cubicBezTo>
                  <a:cubicBezTo>
                    <a:pt x="7893" y="8128"/>
                    <a:pt x="8021" y="7620"/>
                    <a:pt x="8148" y="6985"/>
                  </a:cubicBezTo>
                  <a:cubicBezTo>
                    <a:pt x="8148" y="6477"/>
                    <a:pt x="8275" y="5842"/>
                    <a:pt x="8275" y="5207"/>
                  </a:cubicBezTo>
                  <a:cubicBezTo>
                    <a:pt x="8275" y="4572"/>
                    <a:pt x="8275" y="4064"/>
                    <a:pt x="8148" y="3429"/>
                  </a:cubicBezTo>
                  <a:cubicBezTo>
                    <a:pt x="8148" y="2921"/>
                    <a:pt x="7893" y="2413"/>
                    <a:pt x="7639" y="1905"/>
                  </a:cubicBezTo>
                  <a:cubicBezTo>
                    <a:pt x="7384" y="1524"/>
                    <a:pt x="7002" y="1143"/>
                    <a:pt x="6620" y="889"/>
                  </a:cubicBezTo>
                  <a:cubicBezTo>
                    <a:pt x="6238" y="635"/>
                    <a:pt x="5602" y="508"/>
                    <a:pt x="5092" y="508"/>
                  </a:cubicBezTo>
                  <a:cubicBezTo>
                    <a:pt x="4583" y="508"/>
                    <a:pt x="3947" y="635"/>
                    <a:pt x="3565" y="889"/>
                  </a:cubicBezTo>
                  <a:cubicBezTo>
                    <a:pt x="3183" y="1143"/>
                    <a:pt x="2801" y="1524"/>
                    <a:pt x="2546" y="1905"/>
                  </a:cubicBezTo>
                  <a:cubicBezTo>
                    <a:pt x="2292" y="2286"/>
                    <a:pt x="2164"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583" name="Freeform 582">
              <a:extLst>
                <a:ext uri="{FF2B5EF4-FFF2-40B4-BE49-F238E27FC236}">
                  <a16:creationId xmlns:a16="http://schemas.microsoft.com/office/drawing/2014/main" id="{F1153739-0086-E7A2-4267-7B3E66A18C96}"/>
                </a:ext>
              </a:extLst>
            </p:cNvPr>
            <p:cNvSpPr/>
            <p:nvPr/>
          </p:nvSpPr>
          <p:spPr>
            <a:xfrm>
              <a:off x="4375426" y="4851780"/>
              <a:ext cx="5474" cy="10286"/>
            </a:xfrm>
            <a:custGeom>
              <a:avLst/>
              <a:gdLst>
                <a:gd name="connsiteX0" fmla="*/ 4456 w 5474"/>
                <a:gd name="connsiteY0" fmla="*/ 1524 h 10286"/>
                <a:gd name="connsiteX1" fmla="*/ 3819 w 5474"/>
                <a:gd name="connsiteY1" fmla="*/ 1524 h 10286"/>
                <a:gd name="connsiteX2" fmla="*/ 2928 w 5474"/>
                <a:gd name="connsiteY2" fmla="*/ 1778 h 10286"/>
                <a:gd name="connsiteX3" fmla="*/ 2292 w 5474"/>
                <a:gd name="connsiteY3" fmla="*/ 2413 h 10286"/>
                <a:gd name="connsiteX4" fmla="*/ 1910 w 5474"/>
                <a:gd name="connsiteY4" fmla="*/ 3302 h 10286"/>
                <a:gd name="connsiteX5" fmla="*/ 1783 w 5474"/>
                <a:gd name="connsiteY5" fmla="*/ 4445 h 10286"/>
                <a:gd name="connsiteX6" fmla="*/ 1783 w 5474"/>
                <a:gd name="connsiteY6" fmla="*/ 6858 h 10286"/>
                <a:gd name="connsiteX7" fmla="*/ 1783 w 5474"/>
                <a:gd name="connsiteY7" fmla="*/ 9017 h 10286"/>
                <a:gd name="connsiteX8" fmla="*/ 1783 w 5474"/>
                <a:gd name="connsiteY8" fmla="*/ 10287 h 10286"/>
                <a:gd name="connsiteX9" fmla="*/ 891 w 5474"/>
                <a:gd name="connsiteY9" fmla="*/ 10287 h 10286"/>
                <a:gd name="connsiteX10" fmla="*/ 0 w 5474"/>
                <a:gd name="connsiteY10" fmla="*/ 10287 h 10286"/>
                <a:gd name="connsiteX11" fmla="*/ 0 w 5474"/>
                <a:gd name="connsiteY11" fmla="*/ 8255 h 10286"/>
                <a:gd name="connsiteX12" fmla="*/ 0 w 5474"/>
                <a:gd name="connsiteY12" fmla="*/ 5207 h 10286"/>
                <a:gd name="connsiteX13" fmla="*/ 0 w 5474"/>
                <a:gd name="connsiteY13" fmla="*/ 4572 h 10286"/>
                <a:gd name="connsiteX14" fmla="*/ 0 w 5474"/>
                <a:gd name="connsiteY14" fmla="*/ 2667 h 10286"/>
                <a:gd name="connsiteX15" fmla="*/ 0 w 5474"/>
                <a:gd name="connsiteY15" fmla="*/ 127 h 10286"/>
                <a:gd name="connsiteX16" fmla="*/ 509 w 5474"/>
                <a:gd name="connsiteY16" fmla="*/ 127 h 10286"/>
                <a:gd name="connsiteX17" fmla="*/ 1019 w 5474"/>
                <a:gd name="connsiteY17" fmla="*/ 127 h 10286"/>
                <a:gd name="connsiteX18" fmla="*/ 1401 w 5474"/>
                <a:gd name="connsiteY18" fmla="*/ 127 h 10286"/>
                <a:gd name="connsiteX19" fmla="*/ 1910 w 5474"/>
                <a:gd name="connsiteY19" fmla="*/ 127 h 10286"/>
                <a:gd name="connsiteX20" fmla="*/ 1910 w 5474"/>
                <a:gd name="connsiteY20" fmla="*/ 1397 h 10286"/>
                <a:gd name="connsiteX21" fmla="*/ 1910 w 5474"/>
                <a:gd name="connsiteY21" fmla="*/ 2286 h 10286"/>
                <a:gd name="connsiteX22" fmla="*/ 1910 w 5474"/>
                <a:gd name="connsiteY22" fmla="*/ 2286 h 10286"/>
                <a:gd name="connsiteX23" fmla="*/ 4711 w 5474"/>
                <a:gd name="connsiteY23" fmla="*/ 0 h 10286"/>
                <a:gd name="connsiteX24" fmla="*/ 5092 w 5474"/>
                <a:gd name="connsiteY24" fmla="*/ 0 h 10286"/>
                <a:gd name="connsiteX25" fmla="*/ 5474 w 5474"/>
                <a:gd name="connsiteY25" fmla="*/ 0 h 10286"/>
                <a:gd name="connsiteX26" fmla="*/ 5347 w 5474"/>
                <a:gd name="connsiteY26" fmla="*/ 762 h 10286"/>
                <a:gd name="connsiteX27" fmla="*/ 5347 w 5474"/>
                <a:gd name="connsiteY27" fmla="*/ 1651 h 10286"/>
                <a:gd name="connsiteX28" fmla="*/ 5220 w 5474"/>
                <a:gd name="connsiteY28" fmla="*/ 1651 h 10286"/>
                <a:gd name="connsiteX29" fmla="*/ 4838 w 5474"/>
                <a:gd name="connsiteY29" fmla="*/ 1524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4" h="10286">
                  <a:moveTo>
                    <a:pt x="4456" y="1524"/>
                  </a:moveTo>
                  <a:cubicBezTo>
                    <a:pt x="4456" y="1524"/>
                    <a:pt x="4074" y="1524"/>
                    <a:pt x="3819" y="1524"/>
                  </a:cubicBezTo>
                  <a:cubicBezTo>
                    <a:pt x="3437" y="1524"/>
                    <a:pt x="3183" y="1524"/>
                    <a:pt x="2928" y="1778"/>
                  </a:cubicBezTo>
                  <a:cubicBezTo>
                    <a:pt x="2673" y="1905"/>
                    <a:pt x="2419" y="2159"/>
                    <a:pt x="2292" y="2413"/>
                  </a:cubicBezTo>
                  <a:cubicBezTo>
                    <a:pt x="2165" y="2667"/>
                    <a:pt x="1910" y="3048"/>
                    <a:pt x="1910" y="3302"/>
                  </a:cubicBezTo>
                  <a:cubicBezTo>
                    <a:pt x="1910" y="3683"/>
                    <a:pt x="1783" y="4064"/>
                    <a:pt x="1783" y="4445"/>
                  </a:cubicBezTo>
                  <a:lnTo>
                    <a:pt x="1783" y="6858"/>
                  </a:lnTo>
                  <a:cubicBezTo>
                    <a:pt x="1783" y="7874"/>
                    <a:pt x="1783" y="8509"/>
                    <a:pt x="1783" y="9017"/>
                  </a:cubicBezTo>
                  <a:cubicBezTo>
                    <a:pt x="1783" y="9525"/>
                    <a:pt x="1783" y="9906"/>
                    <a:pt x="1783" y="10287"/>
                  </a:cubicBezTo>
                  <a:cubicBezTo>
                    <a:pt x="1528" y="10287"/>
                    <a:pt x="1273" y="10287"/>
                    <a:pt x="891" y="10287"/>
                  </a:cubicBezTo>
                  <a:cubicBezTo>
                    <a:pt x="636" y="10287"/>
                    <a:pt x="254" y="10287"/>
                    <a:pt x="0" y="10287"/>
                  </a:cubicBezTo>
                  <a:cubicBezTo>
                    <a:pt x="0" y="9779"/>
                    <a:pt x="0" y="9144"/>
                    <a:pt x="0" y="8255"/>
                  </a:cubicBezTo>
                  <a:cubicBezTo>
                    <a:pt x="0" y="7366"/>
                    <a:pt x="0" y="6350"/>
                    <a:pt x="0" y="5207"/>
                  </a:cubicBezTo>
                  <a:lnTo>
                    <a:pt x="0" y="4572"/>
                  </a:lnTo>
                  <a:cubicBezTo>
                    <a:pt x="0" y="4572"/>
                    <a:pt x="0" y="3429"/>
                    <a:pt x="0" y="2667"/>
                  </a:cubicBezTo>
                  <a:cubicBezTo>
                    <a:pt x="0" y="1905"/>
                    <a:pt x="0" y="1143"/>
                    <a:pt x="0" y="127"/>
                  </a:cubicBezTo>
                  <a:cubicBezTo>
                    <a:pt x="127" y="127"/>
                    <a:pt x="254" y="127"/>
                    <a:pt x="509" y="127"/>
                  </a:cubicBezTo>
                  <a:cubicBezTo>
                    <a:pt x="636" y="127"/>
                    <a:pt x="764" y="127"/>
                    <a:pt x="1019" y="127"/>
                  </a:cubicBezTo>
                  <a:cubicBezTo>
                    <a:pt x="1146" y="127"/>
                    <a:pt x="1273" y="127"/>
                    <a:pt x="1401" y="127"/>
                  </a:cubicBezTo>
                  <a:cubicBezTo>
                    <a:pt x="1528" y="127"/>
                    <a:pt x="1655" y="127"/>
                    <a:pt x="1910" y="127"/>
                  </a:cubicBezTo>
                  <a:cubicBezTo>
                    <a:pt x="1910" y="635"/>
                    <a:pt x="1910" y="1016"/>
                    <a:pt x="1910" y="1397"/>
                  </a:cubicBezTo>
                  <a:cubicBezTo>
                    <a:pt x="1910" y="1651"/>
                    <a:pt x="1910" y="2032"/>
                    <a:pt x="1910" y="2286"/>
                  </a:cubicBezTo>
                  <a:lnTo>
                    <a:pt x="1910" y="2286"/>
                  </a:lnTo>
                  <a:cubicBezTo>
                    <a:pt x="2801" y="762"/>
                    <a:pt x="3692" y="0"/>
                    <a:pt x="4711" y="0"/>
                  </a:cubicBezTo>
                  <a:cubicBezTo>
                    <a:pt x="4838" y="0"/>
                    <a:pt x="4965" y="0"/>
                    <a:pt x="5092" y="0"/>
                  </a:cubicBezTo>
                  <a:cubicBezTo>
                    <a:pt x="5092" y="0"/>
                    <a:pt x="5347" y="0"/>
                    <a:pt x="5474" y="0"/>
                  </a:cubicBezTo>
                  <a:cubicBezTo>
                    <a:pt x="5474" y="127"/>
                    <a:pt x="5474" y="381"/>
                    <a:pt x="5347" y="762"/>
                  </a:cubicBezTo>
                  <a:cubicBezTo>
                    <a:pt x="5347" y="1143"/>
                    <a:pt x="5347" y="1397"/>
                    <a:pt x="5347" y="1651"/>
                  </a:cubicBezTo>
                  <a:lnTo>
                    <a:pt x="5220" y="1651"/>
                  </a:lnTo>
                  <a:cubicBezTo>
                    <a:pt x="5220" y="1651"/>
                    <a:pt x="4965" y="1651"/>
                    <a:pt x="4838" y="1524"/>
                  </a:cubicBezTo>
                  <a:close/>
                </a:path>
              </a:pathLst>
            </a:custGeom>
            <a:solidFill>
              <a:srgbClr val="FFFFFF"/>
            </a:solidFill>
            <a:ln w="0" cap="flat">
              <a:noFill/>
              <a:prstDash val="solid"/>
              <a:miter/>
            </a:ln>
          </p:spPr>
          <p:txBody>
            <a:bodyPr rtlCol="0" anchor="ctr"/>
            <a:lstStyle/>
            <a:p>
              <a:endParaRPr lang="en-AD" sz="2400"/>
            </a:p>
          </p:txBody>
        </p:sp>
        <p:sp>
          <p:nvSpPr>
            <p:cNvPr id="584" name="Freeform 583">
              <a:extLst>
                <a:ext uri="{FF2B5EF4-FFF2-40B4-BE49-F238E27FC236}">
                  <a16:creationId xmlns:a16="http://schemas.microsoft.com/office/drawing/2014/main" id="{16DB12F2-FF9B-5CAC-DDF8-08C6B54AF3A9}"/>
                </a:ext>
              </a:extLst>
            </p:cNvPr>
            <p:cNvSpPr/>
            <p:nvPr/>
          </p:nvSpPr>
          <p:spPr>
            <a:xfrm>
              <a:off x="4389049" y="4847209"/>
              <a:ext cx="8020" cy="14858"/>
            </a:xfrm>
            <a:custGeom>
              <a:avLst/>
              <a:gdLst>
                <a:gd name="connsiteX0" fmla="*/ 0 w 8020"/>
                <a:gd name="connsiteY0" fmla="*/ 2794 h 14858"/>
                <a:gd name="connsiteX1" fmla="*/ 0 w 8020"/>
                <a:gd name="connsiteY1" fmla="*/ 0 h 14858"/>
                <a:gd name="connsiteX2" fmla="*/ 509 w 8020"/>
                <a:gd name="connsiteY2" fmla="*/ 0 h 14858"/>
                <a:gd name="connsiteX3" fmla="*/ 1018 w 8020"/>
                <a:gd name="connsiteY3" fmla="*/ 0 h 14858"/>
                <a:gd name="connsiteX4" fmla="*/ 1528 w 8020"/>
                <a:gd name="connsiteY4" fmla="*/ 0 h 14858"/>
                <a:gd name="connsiteX5" fmla="*/ 2037 w 8020"/>
                <a:gd name="connsiteY5" fmla="*/ 0 h 14858"/>
                <a:gd name="connsiteX6" fmla="*/ 2037 w 8020"/>
                <a:gd name="connsiteY6" fmla="*/ 2794 h 14858"/>
                <a:gd name="connsiteX7" fmla="*/ 2037 w 8020"/>
                <a:gd name="connsiteY7" fmla="*/ 5588 h 14858"/>
                <a:gd name="connsiteX8" fmla="*/ 2037 w 8020"/>
                <a:gd name="connsiteY8" fmla="*/ 10287 h 14858"/>
                <a:gd name="connsiteX9" fmla="*/ 2037 w 8020"/>
                <a:gd name="connsiteY9" fmla="*/ 13843 h 14858"/>
                <a:gd name="connsiteX10" fmla="*/ 4965 w 8020"/>
                <a:gd name="connsiteY10" fmla="*/ 13843 h 14858"/>
                <a:gd name="connsiteX11" fmla="*/ 8021 w 8020"/>
                <a:gd name="connsiteY11" fmla="*/ 13589 h 14858"/>
                <a:gd name="connsiteX12" fmla="*/ 8021 w 8020"/>
                <a:gd name="connsiteY12" fmla="*/ 14224 h 14858"/>
                <a:gd name="connsiteX13" fmla="*/ 8021 w 8020"/>
                <a:gd name="connsiteY13" fmla="*/ 14859 h 14858"/>
                <a:gd name="connsiteX14" fmla="*/ 6111 w 8020"/>
                <a:gd name="connsiteY14" fmla="*/ 14859 h 14858"/>
                <a:gd name="connsiteX15" fmla="*/ 2164 w 8020"/>
                <a:gd name="connsiteY15" fmla="*/ 14859 h 14858"/>
                <a:gd name="connsiteX16" fmla="*/ 127 w 8020"/>
                <a:gd name="connsiteY16" fmla="*/ 14859 h 14858"/>
                <a:gd name="connsiteX17" fmla="*/ 127 w 8020"/>
                <a:gd name="connsiteY17" fmla="*/ 12192 h 14858"/>
                <a:gd name="connsiteX18" fmla="*/ 127 w 8020"/>
                <a:gd name="connsiteY18" fmla="*/ 9398 h 14858"/>
                <a:gd name="connsiteX19" fmla="*/ 127 w 8020"/>
                <a:gd name="connsiteY19" fmla="*/ 5715 h 14858"/>
                <a:gd name="connsiteX20" fmla="*/ 127 w 8020"/>
                <a:gd name="connsiteY20" fmla="*/ 2921 h 1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20" h="14858">
                  <a:moveTo>
                    <a:pt x="0" y="2794"/>
                  </a:moveTo>
                  <a:cubicBezTo>
                    <a:pt x="0" y="1905"/>
                    <a:pt x="0" y="1016"/>
                    <a:pt x="0" y="0"/>
                  </a:cubicBezTo>
                  <a:cubicBezTo>
                    <a:pt x="127" y="0"/>
                    <a:pt x="382" y="0"/>
                    <a:pt x="509" y="0"/>
                  </a:cubicBezTo>
                  <a:cubicBezTo>
                    <a:pt x="636" y="0"/>
                    <a:pt x="891" y="0"/>
                    <a:pt x="1018" y="0"/>
                  </a:cubicBezTo>
                  <a:cubicBezTo>
                    <a:pt x="1146" y="0"/>
                    <a:pt x="1400" y="0"/>
                    <a:pt x="1528" y="0"/>
                  </a:cubicBezTo>
                  <a:cubicBezTo>
                    <a:pt x="1655" y="0"/>
                    <a:pt x="1910" y="0"/>
                    <a:pt x="2037" y="0"/>
                  </a:cubicBezTo>
                  <a:cubicBezTo>
                    <a:pt x="2037" y="889"/>
                    <a:pt x="2037" y="1905"/>
                    <a:pt x="2037" y="2794"/>
                  </a:cubicBezTo>
                  <a:cubicBezTo>
                    <a:pt x="2037" y="3683"/>
                    <a:pt x="2037" y="4572"/>
                    <a:pt x="2037" y="5588"/>
                  </a:cubicBezTo>
                  <a:cubicBezTo>
                    <a:pt x="2037" y="7366"/>
                    <a:pt x="2037" y="8890"/>
                    <a:pt x="2037" y="10287"/>
                  </a:cubicBezTo>
                  <a:cubicBezTo>
                    <a:pt x="2037" y="11557"/>
                    <a:pt x="2037" y="12827"/>
                    <a:pt x="2037" y="13843"/>
                  </a:cubicBezTo>
                  <a:cubicBezTo>
                    <a:pt x="3055" y="13843"/>
                    <a:pt x="4074" y="13843"/>
                    <a:pt x="4965" y="13843"/>
                  </a:cubicBezTo>
                  <a:cubicBezTo>
                    <a:pt x="5856" y="13843"/>
                    <a:pt x="6875" y="13843"/>
                    <a:pt x="8021" y="13589"/>
                  </a:cubicBezTo>
                  <a:cubicBezTo>
                    <a:pt x="8021" y="13843"/>
                    <a:pt x="8021" y="14097"/>
                    <a:pt x="8021" y="14224"/>
                  </a:cubicBezTo>
                  <a:cubicBezTo>
                    <a:pt x="8021" y="14351"/>
                    <a:pt x="8021" y="14605"/>
                    <a:pt x="8021" y="14859"/>
                  </a:cubicBezTo>
                  <a:cubicBezTo>
                    <a:pt x="7384" y="14859"/>
                    <a:pt x="6748" y="14859"/>
                    <a:pt x="6111" y="14859"/>
                  </a:cubicBezTo>
                  <a:lnTo>
                    <a:pt x="2164" y="14859"/>
                  </a:lnTo>
                  <a:cubicBezTo>
                    <a:pt x="2164" y="14859"/>
                    <a:pt x="891" y="14859"/>
                    <a:pt x="127" y="14859"/>
                  </a:cubicBezTo>
                  <a:cubicBezTo>
                    <a:pt x="127" y="13970"/>
                    <a:pt x="127" y="13081"/>
                    <a:pt x="127" y="12192"/>
                  </a:cubicBezTo>
                  <a:cubicBezTo>
                    <a:pt x="127" y="11303"/>
                    <a:pt x="127" y="10414"/>
                    <a:pt x="127" y="9398"/>
                  </a:cubicBezTo>
                  <a:lnTo>
                    <a:pt x="127" y="5715"/>
                  </a:lnTo>
                  <a:cubicBezTo>
                    <a:pt x="127" y="4826"/>
                    <a:pt x="127" y="3810"/>
                    <a:pt x="127" y="2921"/>
                  </a:cubicBezTo>
                  <a:close/>
                </a:path>
              </a:pathLst>
            </a:custGeom>
            <a:solidFill>
              <a:srgbClr val="FFFFFF"/>
            </a:solidFill>
            <a:ln w="0" cap="flat">
              <a:noFill/>
              <a:prstDash val="solid"/>
              <a:miter/>
            </a:ln>
          </p:spPr>
          <p:txBody>
            <a:bodyPr rtlCol="0" anchor="ctr"/>
            <a:lstStyle/>
            <a:p>
              <a:endParaRPr lang="en-AD" sz="2400"/>
            </a:p>
          </p:txBody>
        </p:sp>
        <p:sp>
          <p:nvSpPr>
            <p:cNvPr id="585" name="Freeform 584">
              <a:extLst>
                <a:ext uri="{FF2B5EF4-FFF2-40B4-BE49-F238E27FC236}">
                  <a16:creationId xmlns:a16="http://schemas.microsoft.com/office/drawing/2014/main" id="{A75778A5-6427-CDD2-42A5-E2056914DF2D}"/>
                </a:ext>
              </a:extLst>
            </p:cNvPr>
            <p:cNvSpPr/>
            <p:nvPr/>
          </p:nvSpPr>
          <p:spPr>
            <a:xfrm>
              <a:off x="4399743"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382 w 2291"/>
                <a:gd name="connsiteY9" fmla="*/ 8890 h 14985"/>
                <a:gd name="connsiteX10" fmla="*/ 382 w 2291"/>
                <a:gd name="connsiteY10" fmla="*/ 6858 h 14985"/>
                <a:gd name="connsiteX11" fmla="*/ 254 w 2291"/>
                <a:gd name="connsiteY11" fmla="*/ 4826 h 14985"/>
                <a:gd name="connsiteX12" fmla="*/ 1273 w 2291"/>
                <a:gd name="connsiteY12" fmla="*/ 4826 h 14985"/>
                <a:gd name="connsiteX13" fmla="*/ 2292 w 2291"/>
                <a:gd name="connsiteY13" fmla="*/ 4826 h 14985"/>
                <a:gd name="connsiteX14" fmla="*/ 2165 w 2291"/>
                <a:gd name="connsiteY14" fmla="*/ 6858 h 14985"/>
                <a:gd name="connsiteX15" fmla="*/ 2165 w 2291"/>
                <a:gd name="connsiteY15" fmla="*/ 8890 h 14985"/>
                <a:gd name="connsiteX16" fmla="*/ 2165 w 2291"/>
                <a:gd name="connsiteY16" fmla="*/ 11049 h 14985"/>
                <a:gd name="connsiteX17" fmla="*/ 2165 w 2291"/>
                <a:gd name="connsiteY17" fmla="*/ 13081 h 14985"/>
                <a:gd name="connsiteX18" fmla="*/ 2292 w 2291"/>
                <a:gd name="connsiteY18" fmla="*/ 14986 h 14985"/>
                <a:gd name="connsiteX19" fmla="*/ 1273 w 2291"/>
                <a:gd name="connsiteY19" fmla="*/ 14986 h 14985"/>
                <a:gd name="connsiteX20" fmla="*/ 254 w 2291"/>
                <a:gd name="connsiteY20" fmla="*/ 14986 h 14985"/>
                <a:gd name="connsiteX21" fmla="*/ 382 w 2291"/>
                <a:gd name="connsiteY21" fmla="*/ 13081 h 14985"/>
                <a:gd name="connsiteX22" fmla="*/ 382 w 2291"/>
                <a:gd name="connsiteY22" fmla="*/ 11049 h 14985"/>
                <a:gd name="connsiteX23" fmla="*/ 382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6" y="127"/>
                    <a:pt x="891" y="0"/>
                    <a:pt x="1146" y="0"/>
                  </a:cubicBezTo>
                  <a:cubicBezTo>
                    <a:pt x="1400" y="0"/>
                    <a:pt x="1655" y="0"/>
                    <a:pt x="1910" y="381"/>
                  </a:cubicBezTo>
                  <a:cubicBezTo>
                    <a:pt x="2165" y="635"/>
                    <a:pt x="2292" y="889"/>
                    <a:pt x="2292" y="1143"/>
                  </a:cubicBezTo>
                  <a:cubicBezTo>
                    <a:pt x="2292" y="1397"/>
                    <a:pt x="2292" y="1651"/>
                    <a:pt x="1910" y="1905"/>
                  </a:cubicBezTo>
                  <a:cubicBezTo>
                    <a:pt x="1655" y="2159"/>
                    <a:pt x="1400" y="2286"/>
                    <a:pt x="1146" y="2286"/>
                  </a:cubicBezTo>
                  <a:cubicBezTo>
                    <a:pt x="891" y="2286"/>
                    <a:pt x="636" y="2286"/>
                    <a:pt x="382" y="1905"/>
                  </a:cubicBezTo>
                  <a:cubicBezTo>
                    <a:pt x="127" y="1651"/>
                    <a:pt x="0" y="1397"/>
                    <a:pt x="0" y="1143"/>
                  </a:cubicBezTo>
                  <a:close/>
                  <a:moveTo>
                    <a:pt x="382" y="8890"/>
                  </a:moveTo>
                  <a:cubicBezTo>
                    <a:pt x="382" y="8255"/>
                    <a:pt x="382" y="7620"/>
                    <a:pt x="382" y="6858"/>
                  </a:cubicBezTo>
                  <a:cubicBezTo>
                    <a:pt x="382" y="6096"/>
                    <a:pt x="382" y="5461"/>
                    <a:pt x="254" y="4826"/>
                  </a:cubicBezTo>
                  <a:cubicBezTo>
                    <a:pt x="636" y="4826"/>
                    <a:pt x="1018" y="4826"/>
                    <a:pt x="1273" y="4826"/>
                  </a:cubicBezTo>
                  <a:cubicBezTo>
                    <a:pt x="1528" y="4826"/>
                    <a:pt x="1782" y="4826"/>
                    <a:pt x="2292" y="4826"/>
                  </a:cubicBezTo>
                  <a:cubicBezTo>
                    <a:pt x="2292" y="5461"/>
                    <a:pt x="2292" y="6096"/>
                    <a:pt x="2165" y="6858"/>
                  </a:cubicBezTo>
                  <a:cubicBezTo>
                    <a:pt x="2165" y="7620"/>
                    <a:pt x="2165" y="8255"/>
                    <a:pt x="2165" y="8890"/>
                  </a:cubicBezTo>
                  <a:lnTo>
                    <a:pt x="2165" y="11049"/>
                  </a:lnTo>
                  <a:cubicBezTo>
                    <a:pt x="2165" y="11684"/>
                    <a:pt x="2165" y="12319"/>
                    <a:pt x="2165" y="13081"/>
                  </a:cubicBezTo>
                  <a:cubicBezTo>
                    <a:pt x="2165" y="13843"/>
                    <a:pt x="2165" y="14478"/>
                    <a:pt x="2292" y="14986"/>
                  </a:cubicBezTo>
                  <a:cubicBezTo>
                    <a:pt x="1910" y="14986"/>
                    <a:pt x="1655" y="14986"/>
                    <a:pt x="1273" y="14986"/>
                  </a:cubicBezTo>
                  <a:cubicBezTo>
                    <a:pt x="891" y="14986"/>
                    <a:pt x="636" y="14986"/>
                    <a:pt x="254" y="14986"/>
                  </a:cubicBezTo>
                  <a:cubicBezTo>
                    <a:pt x="254" y="14478"/>
                    <a:pt x="254" y="13716"/>
                    <a:pt x="382" y="13081"/>
                  </a:cubicBezTo>
                  <a:cubicBezTo>
                    <a:pt x="382" y="12319"/>
                    <a:pt x="382" y="11684"/>
                    <a:pt x="382" y="11049"/>
                  </a:cubicBezTo>
                  <a:lnTo>
                    <a:pt x="382" y="8890"/>
                  </a:lnTo>
                  <a:close/>
                </a:path>
              </a:pathLst>
            </a:custGeom>
            <a:solidFill>
              <a:srgbClr val="FFFFFF"/>
            </a:solidFill>
            <a:ln w="0" cap="flat">
              <a:noFill/>
              <a:prstDash val="solid"/>
              <a:miter/>
            </a:ln>
          </p:spPr>
          <p:txBody>
            <a:bodyPr rtlCol="0" anchor="ctr"/>
            <a:lstStyle/>
            <a:p>
              <a:endParaRPr lang="en-AD" sz="2400"/>
            </a:p>
          </p:txBody>
        </p:sp>
        <p:sp>
          <p:nvSpPr>
            <p:cNvPr id="586" name="Freeform 585">
              <a:extLst>
                <a:ext uri="{FF2B5EF4-FFF2-40B4-BE49-F238E27FC236}">
                  <a16:creationId xmlns:a16="http://schemas.microsoft.com/office/drawing/2014/main" id="{DBA93D7D-9CD9-3411-9F8C-5761B47136B5}"/>
                </a:ext>
              </a:extLst>
            </p:cNvPr>
            <p:cNvSpPr/>
            <p:nvPr/>
          </p:nvSpPr>
          <p:spPr>
            <a:xfrm>
              <a:off x="4404199" y="4845558"/>
              <a:ext cx="5983" cy="16382"/>
            </a:xfrm>
            <a:custGeom>
              <a:avLst/>
              <a:gdLst>
                <a:gd name="connsiteX0" fmla="*/ 4711 w 5983"/>
                <a:gd name="connsiteY0" fmla="*/ 1651 h 16382"/>
                <a:gd name="connsiteX1" fmla="*/ 3947 w 5983"/>
                <a:gd name="connsiteY1" fmla="*/ 1778 h 16382"/>
                <a:gd name="connsiteX2" fmla="*/ 3437 w 5983"/>
                <a:gd name="connsiteY2" fmla="*/ 2286 h 16382"/>
                <a:gd name="connsiteX3" fmla="*/ 3183 w 5983"/>
                <a:gd name="connsiteY3" fmla="*/ 2921 h 16382"/>
                <a:gd name="connsiteX4" fmla="*/ 3183 w 5983"/>
                <a:gd name="connsiteY4" fmla="*/ 3683 h 16382"/>
                <a:gd name="connsiteX5" fmla="*/ 3183 w 5983"/>
                <a:gd name="connsiteY5" fmla="*/ 4826 h 16382"/>
                <a:gd name="connsiteX6" fmla="*/ 3310 w 5983"/>
                <a:gd name="connsiteY6" fmla="*/ 6223 h 16382"/>
                <a:gd name="connsiteX7" fmla="*/ 4456 w 5983"/>
                <a:gd name="connsiteY7" fmla="*/ 6223 h 16382"/>
                <a:gd name="connsiteX8" fmla="*/ 5602 w 5983"/>
                <a:gd name="connsiteY8" fmla="*/ 6223 h 16382"/>
                <a:gd name="connsiteX9" fmla="*/ 5602 w 5983"/>
                <a:gd name="connsiteY9" fmla="*/ 6477 h 16382"/>
                <a:gd name="connsiteX10" fmla="*/ 5602 w 5983"/>
                <a:gd name="connsiteY10" fmla="*/ 6731 h 16382"/>
                <a:gd name="connsiteX11" fmla="*/ 5602 w 5983"/>
                <a:gd name="connsiteY11" fmla="*/ 6985 h 16382"/>
                <a:gd name="connsiteX12" fmla="*/ 5602 w 5983"/>
                <a:gd name="connsiteY12" fmla="*/ 7239 h 16382"/>
                <a:gd name="connsiteX13" fmla="*/ 4456 w 5983"/>
                <a:gd name="connsiteY13" fmla="*/ 7239 h 16382"/>
                <a:gd name="connsiteX14" fmla="*/ 3310 w 5983"/>
                <a:gd name="connsiteY14" fmla="*/ 7239 h 16382"/>
                <a:gd name="connsiteX15" fmla="*/ 3310 w 5983"/>
                <a:gd name="connsiteY15" fmla="*/ 11811 h 16382"/>
                <a:gd name="connsiteX16" fmla="*/ 3310 w 5983"/>
                <a:gd name="connsiteY16" fmla="*/ 16383 h 16382"/>
                <a:gd name="connsiteX17" fmla="*/ 2801 w 5983"/>
                <a:gd name="connsiteY17" fmla="*/ 16383 h 16382"/>
                <a:gd name="connsiteX18" fmla="*/ 2292 w 5983"/>
                <a:gd name="connsiteY18" fmla="*/ 16383 h 16382"/>
                <a:gd name="connsiteX19" fmla="*/ 1400 w 5983"/>
                <a:gd name="connsiteY19" fmla="*/ 16383 h 16382"/>
                <a:gd name="connsiteX20" fmla="*/ 1528 w 5983"/>
                <a:gd name="connsiteY20" fmla="*/ 11811 h 16382"/>
                <a:gd name="connsiteX21" fmla="*/ 1528 w 5983"/>
                <a:gd name="connsiteY21" fmla="*/ 7112 h 16382"/>
                <a:gd name="connsiteX22" fmla="*/ 764 w 5983"/>
                <a:gd name="connsiteY22" fmla="*/ 7112 h 16382"/>
                <a:gd name="connsiteX23" fmla="*/ 0 w 5983"/>
                <a:gd name="connsiteY23" fmla="*/ 7112 h 16382"/>
                <a:gd name="connsiteX24" fmla="*/ 0 w 5983"/>
                <a:gd name="connsiteY24" fmla="*/ 6858 h 16382"/>
                <a:gd name="connsiteX25" fmla="*/ 0 w 5983"/>
                <a:gd name="connsiteY25" fmla="*/ 6604 h 16382"/>
                <a:gd name="connsiteX26" fmla="*/ 0 w 5983"/>
                <a:gd name="connsiteY26" fmla="*/ 6350 h 16382"/>
                <a:gd name="connsiteX27" fmla="*/ 0 w 5983"/>
                <a:gd name="connsiteY27" fmla="*/ 6096 h 16382"/>
                <a:gd name="connsiteX28" fmla="*/ 764 w 5983"/>
                <a:gd name="connsiteY28" fmla="*/ 6096 h 16382"/>
                <a:gd name="connsiteX29" fmla="*/ 1528 w 5983"/>
                <a:gd name="connsiteY29" fmla="*/ 6096 h 16382"/>
                <a:gd name="connsiteX30" fmla="*/ 1655 w 5983"/>
                <a:gd name="connsiteY30" fmla="*/ 4699 h 16382"/>
                <a:gd name="connsiteX31" fmla="*/ 2037 w 5983"/>
                <a:gd name="connsiteY31" fmla="*/ 3302 h 16382"/>
                <a:gd name="connsiteX32" fmla="*/ 2673 w 5983"/>
                <a:gd name="connsiteY32" fmla="*/ 1905 h 16382"/>
                <a:gd name="connsiteX33" fmla="*/ 3437 w 5983"/>
                <a:gd name="connsiteY33" fmla="*/ 889 h 16382"/>
                <a:gd name="connsiteX34" fmla="*/ 4456 w 5983"/>
                <a:gd name="connsiteY34" fmla="*/ 254 h 16382"/>
                <a:gd name="connsiteX35" fmla="*/ 5602 w 5983"/>
                <a:gd name="connsiteY35" fmla="*/ 0 h 16382"/>
                <a:gd name="connsiteX36" fmla="*/ 5984 w 5983"/>
                <a:gd name="connsiteY36" fmla="*/ 0 h 16382"/>
                <a:gd name="connsiteX37" fmla="*/ 5984 w 5983"/>
                <a:gd name="connsiteY37" fmla="*/ 889 h 16382"/>
                <a:gd name="connsiteX38" fmla="*/ 5984 w 5983"/>
                <a:gd name="connsiteY38" fmla="*/ 1778 h 16382"/>
                <a:gd name="connsiteX39" fmla="*/ 5856 w 5983"/>
                <a:gd name="connsiteY39" fmla="*/ 1778 h 16382"/>
                <a:gd name="connsiteX40" fmla="*/ 4711 w 5983"/>
                <a:gd name="connsiteY40" fmla="*/ 1524 h 1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983" h="16382">
                  <a:moveTo>
                    <a:pt x="4711" y="1651"/>
                  </a:moveTo>
                  <a:cubicBezTo>
                    <a:pt x="4711" y="1651"/>
                    <a:pt x="4074" y="1651"/>
                    <a:pt x="3947" y="1778"/>
                  </a:cubicBezTo>
                  <a:cubicBezTo>
                    <a:pt x="3692" y="1778"/>
                    <a:pt x="3565" y="2032"/>
                    <a:pt x="3437" y="2286"/>
                  </a:cubicBezTo>
                  <a:cubicBezTo>
                    <a:pt x="3310" y="2540"/>
                    <a:pt x="3183" y="2667"/>
                    <a:pt x="3183" y="2921"/>
                  </a:cubicBezTo>
                  <a:cubicBezTo>
                    <a:pt x="3183" y="3175"/>
                    <a:pt x="3183" y="3429"/>
                    <a:pt x="3183" y="3683"/>
                  </a:cubicBezTo>
                  <a:cubicBezTo>
                    <a:pt x="3183" y="3937"/>
                    <a:pt x="3183" y="4318"/>
                    <a:pt x="3183" y="4826"/>
                  </a:cubicBezTo>
                  <a:cubicBezTo>
                    <a:pt x="3183" y="5334"/>
                    <a:pt x="3183" y="5715"/>
                    <a:pt x="3310" y="6223"/>
                  </a:cubicBezTo>
                  <a:cubicBezTo>
                    <a:pt x="3692" y="6223"/>
                    <a:pt x="4074" y="6223"/>
                    <a:pt x="4456" y="6223"/>
                  </a:cubicBezTo>
                  <a:cubicBezTo>
                    <a:pt x="4838" y="6223"/>
                    <a:pt x="5220" y="6223"/>
                    <a:pt x="5602" y="6223"/>
                  </a:cubicBezTo>
                  <a:cubicBezTo>
                    <a:pt x="5602" y="6223"/>
                    <a:pt x="5602" y="6350"/>
                    <a:pt x="5602" y="6477"/>
                  </a:cubicBezTo>
                  <a:cubicBezTo>
                    <a:pt x="5602" y="6477"/>
                    <a:pt x="5602" y="6604"/>
                    <a:pt x="5602" y="6731"/>
                  </a:cubicBezTo>
                  <a:cubicBezTo>
                    <a:pt x="5602" y="6858"/>
                    <a:pt x="5602" y="6858"/>
                    <a:pt x="5602" y="6985"/>
                  </a:cubicBezTo>
                  <a:cubicBezTo>
                    <a:pt x="5602" y="6985"/>
                    <a:pt x="5602" y="7112"/>
                    <a:pt x="5602" y="7239"/>
                  </a:cubicBezTo>
                  <a:cubicBezTo>
                    <a:pt x="5220" y="7239"/>
                    <a:pt x="4838" y="7239"/>
                    <a:pt x="4456" y="7239"/>
                  </a:cubicBezTo>
                  <a:cubicBezTo>
                    <a:pt x="4074" y="7239"/>
                    <a:pt x="3692" y="7239"/>
                    <a:pt x="3310" y="7239"/>
                  </a:cubicBezTo>
                  <a:cubicBezTo>
                    <a:pt x="3310" y="8763"/>
                    <a:pt x="3310" y="10287"/>
                    <a:pt x="3310" y="11811"/>
                  </a:cubicBezTo>
                  <a:cubicBezTo>
                    <a:pt x="3310" y="13335"/>
                    <a:pt x="3310" y="14859"/>
                    <a:pt x="3310" y="16383"/>
                  </a:cubicBezTo>
                  <a:cubicBezTo>
                    <a:pt x="3183" y="16383"/>
                    <a:pt x="3055" y="16383"/>
                    <a:pt x="2801" y="16383"/>
                  </a:cubicBezTo>
                  <a:lnTo>
                    <a:pt x="2292" y="16383"/>
                  </a:lnTo>
                  <a:cubicBezTo>
                    <a:pt x="2292" y="16383"/>
                    <a:pt x="1655" y="16383"/>
                    <a:pt x="1400" y="16383"/>
                  </a:cubicBezTo>
                  <a:cubicBezTo>
                    <a:pt x="1400" y="14859"/>
                    <a:pt x="1528" y="13335"/>
                    <a:pt x="1528" y="11811"/>
                  </a:cubicBezTo>
                  <a:cubicBezTo>
                    <a:pt x="1528" y="10287"/>
                    <a:pt x="1528" y="8763"/>
                    <a:pt x="1528" y="7112"/>
                  </a:cubicBezTo>
                  <a:cubicBezTo>
                    <a:pt x="1273" y="7112"/>
                    <a:pt x="1018" y="7112"/>
                    <a:pt x="764" y="7112"/>
                  </a:cubicBezTo>
                  <a:cubicBezTo>
                    <a:pt x="509" y="7112"/>
                    <a:pt x="254" y="7112"/>
                    <a:pt x="0" y="7112"/>
                  </a:cubicBezTo>
                  <a:cubicBezTo>
                    <a:pt x="0" y="7112"/>
                    <a:pt x="0" y="6985"/>
                    <a:pt x="0" y="6858"/>
                  </a:cubicBezTo>
                  <a:cubicBezTo>
                    <a:pt x="0" y="6858"/>
                    <a:pt x="0" y="6731"/>
                    <a:pt x="0" y="6604"/>
                  </a:cubicBezTo>
                  <a:cubicBezTo>
                    <a:pt x="0" y="6477"/>
                    <a:pt x="0" y="6477"/>
                    <a:pt x="0" y="6350"/>
                  </a:cubicBezTo>
                  <a:cubicBezTo>
                    <a:pt x="0" y="6350"/>
                    <a:pt x="0" y="6223"/>
                    <a:pt x="0" y="6096"/>
                  </a:cubicBezTo>
                  <a:cubicBezTo>
                    <a:pt x="254" y="6096"/>
                    <a:pt x="509" y="6096"/>
                    <a:pt x="764" y="6096"/>
                  </a:cubicBezTo>
                  <a:cubicBezTo>
                    <a:pt x="1018" y="6096"/>
                    <a:pt x="1273" y="6096"/>
                    <a:pt x="1528" y="6096"/>
                  </a:cubicBezTo>
                  <a:cubicBezTo>
                    <a:pt x="1528" y="5715"/>
                    <a:pt x="1528" y="5207"/>
                    <a:pt x="1655" y="4699"/>
                  </a:cubicBezTo>
                  <a:cubicBezTo>
                    <a:pt x="1655" y="4191"/>
                    <a:pt x="1910" y="3683"/>
                    <a:pt x="2037" y="3302"/>
                  </a:cubicBezTo>
                  <a:cubicBezTo>
                    <a:pt x="2164" y="2794"/>
                    <a:pt x="2419" y="2413"/>
                    <a:pt x="2673" y="1905"/>
                  </a:cubicBezTo>
                  <a:cubicBezTo>
                    <a:pt x="2928" y="1397"/>
                    <a:pt x="3183" y="1143"/>
                    <a:pt x="3437" y="889"/>
                  </a:cubicBezTo>
                  <a:cubicBezTo>
                    <a:pt x="3692" y="635"/>
                    <a:pt x="4074" y="381"/>
                    <a:pt x="4456" y="254"/>
                  </a:cubicBezTo>
                  <a:cubicBezTo>
                    <a:pt x="4838" y="0"/>
                    <a:pt x="5220" y="0"/>
                    <a:pt x="5602" y="0"/>
                  </a:cubicBezTo>
                  <a:cubicBezTo>
                    <a:pt x="5729" y="0"/>
                    <a:pt x="5856" y="0"/>
                    <a:pt x="5984" y="0"/>
                  </a:cubicBezTo>
                  <a:cubicBezTo>
                    <a:pt x="5984" y="254"/>
                    <a:pt x="5984" y="508"/>
                    <a:pt x="5984" y="889"/>
                  </a:cubicBezTo>
                  <a:cubicBezTo>
                    <a:pt x="5984" y="1143"/>
                    <a:pt x="5984" y="1397"/>
                    <a:pt x="5984" y="1778"/>
                  </a:cubicBezTo>
                  <a:lnTo>
                    <a:pt x="5856" y="1778"/>
                  </a:lnTo>
                  <a:cubicBezTo>
                    <a:pt x="5856" y="1778"/>
                    <a:pt x="5092" y="1524"/>
                    <a:pt x="4711" y="1524"/>
                  </a:cubicBezTo>
                  <a:close/>
                </a:path>
              </a:pathLst>
            </a:custGeom>
            <a:solidFill>
              <a:srgbClr val="FFFFFF"/>
            </a:solidFill>
            <a:ln w="0" cap="flat">
              <a:noFill/>
              <a:prstDash val="solid"/>
              <a:miter/>
            </a:ln>
          </p:spPr>
          <p:txBody>
            <a:bodyPr rtlCol="0" anchor="ctr"/>
            <a:lstStyle/>
            <a:p>
              <a:endParaRPr lang="en-AD" sz="2400"/>
            </a:p>
          </p:txBody>
        </p:sp>
        <p:sp>
          <p:nvSpPr>
            <p:cNvPr id="587" name="Freeform 586">
              <a:extLst>
                <a:ext uri="{FF2B5EF4-FFF2-40B4-BE49-F238E27FC236}">
                  <a16:creationId xmlns:a16="http://schemas.microsoft.com/office/drawing/2014/main" id="{99422623-098F-4598-8363-3315E4D5DF23}"/>
                </a:ext>
              </a:extLst>
            </p:cNvPr>
            <p:cNvSpPr/>
            <p:nvPr/>
          </p:nvSpPr>
          <p:spPr>
            <a:xfrm>
              <a:off x="4410438" y="4851527"/>
              <a:ext cx="9548" cy="10540"/>
            </a:xfrm>
            <a:custGeom>
              <a:avLst/>
              <a:gdLst>
                <a:gd name="connsiteX0" fmla="*/ 254 w 9548"/>
                <a:gd name="connsiteY0" fmla="*/ 5588 h 10540"/>
                <a:gd name="connsiteX1" fmla="*/ 1528 w 9548"/>
                <a:gd name="connsiteY1" fmla="*/ 1524 h 10540"/>
                <a:gd name="connsiteX2" fmla="*/ 5220 w 9548"/>
                <a:gd name="connsiteY2" fmla="*/ 0 h 10540"/>
                <a:gd name="connsiteX3" fmla="*/ 7130 w 9548"/>
                <a:gd name="connsiteY3" fmla="*/ 381 h 10540"/>
                <a:gd name="connsiteX4" fmla="*/ 8530 w 9548"/>
                <a:gd name="connsiteY4" fmla="*/ 1270 h 10540"/>
                <a:gd name="connsiteX5" fmla="*/ 9294 w 9548"/>
                <a:gd name="connsiteY5" fmla="*/ 2667 h 10540"/>
                <a:gd name="connsiteX6" fmla="*/ 9549 w 9548"/>
                <a:gd name="connsiteY6" fmla="*/ 4318 h 10540"/>
                <a:gd name="connsiteX7" fmla="*/ 9549 w 9548"/>
                <a:gd name="connsiteY7" fmla="*/ 4699 h 10540"/>
                <a:gd name="connsiteX8" fmla="*/ 9549 w 9548"/>
                <a:gd name="connsiteY8" fmla="*/ 5080 h 10540"/>
                <a:gd name="connsiteX9" fmla="*/ 7257 w 9548"/>
                <a:gd name="connsiteY9" fmla="*/ 5080 h 10540"/>
                <a:gd name="connsiteX10" fmla="*/ 4965 w 9548"/>
                <a:gd name="connsiteY10" fmla="*/ 5080 h 10540"/>
                <a:gd name="connsiteX11" fmla="*/ 3565 w 9548"/>
                <a:gd name="connsiteY11" fmla="*/ 5080 h 10540"/>
                <a:gd name="connsiteX12" fmla="*/ 2165 w 9548"/>
                <a:gd name="connsiteY12" fmla="*/ 5080 h 10540"/>
                <a:gd name="connsiteX13" fmla="*/ 2165 w 9548"/>
                <a:gd name="connsiteY13" fmla="*/ 5461 h 10540"/>
                <a:gd name="connsiteX14" fmla="*/ 2165 w 9548"/>
                <a:gd name="connsiteY14" fmla="*/ 5715 h 10540"/>
                <a:gd name="connsiteX15" fmla="*/ 2419 w 9548"/>
                <a:gd name="connsiteY15" fmla="*/ 7239 h 10540"/>
                <a:gd name="connsiteX16" fmla="*/ 3183 w 9548"/>
                <a:gd name="connsiteY16" fmla="*/ 8509 h 10540"/>
                <a:gd name="connsiteX17" fmla="*/ 4329 w 9548"/>
                <a:gd name="connsiteY17" fmla="*/ 9398 h 10540"/>
                <a:gd name="connsiteX18" fmla="*/ 5856 w 9548"/>
                <a:gd name="connsiteY18" fmla="*/ 9652 h 10540"/>
                <a:gd name="connsiteX19" fmla="*/ 6748 w 9548"/>
                <a:gd name="connsiteY19" fmla="*/ 9652 h 10540"/>
                <a:gd name="connsiteX20" fmla="*/ 7639 w 9548"/>
                <a:gd name="connsiteY20" fmla="*/ 9271 h 10540"/>
                <a:gd name="connsiteX21" fmla="*/ 8403 w 9548"/>
                <a:gd name="connsiteY21" fmla="*/ 8763 h 10540"/>
                <a:gd name="connsiteX22" fmla="*/ 9039 w 9548"/>
                <a:gd name="connsiteY22" fmla="*/ 8128 h 10540"/>
                <a:gd name="connsiteX23" fmla="*/ 9039 w 9548"/>
                <a:gd name="connsiteY23" fmla="*/ 8128 h 10540"/>
                <a:gd name="connsiteX24" fmla="*/ 8912 w 9548"/>
                <a:gd name="connsiteY24" fmla="*/ 9271 h 10540"/>
                <a:gd name="connsiteX25" fmla="*/ 7257 w 9548"/>
                <a:gd name="connsiteY25" fmla="*/ 10160 h 10540"/>
                <a:gd name="connsiteX26" fmla="*/ 5220 w 9548"/>
                <a:gd name="connsiteY26" fmla="*/ 10541 h 10540"/>
                <a:gd name="connsiteX27" fmla="*/ 3055 w 9548"/>
                <a:gd name="connsiteY27" fmla="*/ 10160 h 10540"/>
                <a:gd name="connsiteX28" fmla="*/ 1401 w 9548"/>
                <a:gd name="connsiteY28" fmla="*/ 9144 h 10540"/>
                <a:gd name="connsiteX29" fmla="*/ 382 w 9548"/>
                <a:gd name="connsiteY29" fmla="*/ 7493 h 10540"/>
                <a:gd name="connsiteX30" fmla="*/ 0 w 9548"/>
                <a:gd name="connsiteY30" fmla="*/ 5461 h 10540"/>
                <a:gd name="connsiteX31" fmla="*/ 5220 w 9548"/>
                <a:gd name="connsiteY31" fmla="*/ 635 h 10540"/>
                <a:gd name="connsiteX32" fmla="*/ 3819 w 9548"/>
                <a:gd name="connsiteY32" fmla="*/ 1016 h 10540"/>
                <a:gd name="connsiteX33" fmla="*/ 2928 w 9548"/>
                <a:gd name="connsiteY33" fmla="*/ 1905 h 10540"/>
                <a:gd name="connsiteX34" fmla="*/ 2419 w 9548"/>
                <a:gd name="connsiteY34" fmla="*/ 3048 h 10540"/>
                <a:gd name="connsiteX35" fmla="*/ 2165 w 9548"/>
                <a:gd name="connsiteY35" fmla="*/ 4318 h 10540"/>
                <a:gd name="connsiteX36" fmla="*/ 3565 w 9548"/>
                <a:gd name="connsiteY36" fmla="*/ 4318 h 10540"/>
                <a:gd name="connsiteX37" fmla="*/ 4965 w 9548"/>
                <a:gd name="connsiteY37" fmla="*/ 4318 h 10540"/>
                <a:gd name="connsiteX38" fmla="*/ 6366 w 9548"/>
                <a:gd name="connsiteY38" fmla="*/ 4318 h 10540"/>
                <a:gd name="connsiteX39" fmla="*/ 7766 w 9548"/>
                <a:gd name="connsiteY39" fmla="*/ 4318 h 10540"/>
                <a:gd name="connsiteX40" fmla="*/ 7766 w 9548"/>
                <a:gd name="connsiteY40" fmla="*/ 3048 h 10540"/>
                <a:gd name="connsiteX41" fmla="*/ 7384 w 9548"/>
                <a:gd name="connsiteY41" fmla="*/ 1905 h 10540"/>
                <a:gd name="connsiteX42" fmla="*/ 6620 w 9548"/>
                <a:gd name="connsiteY42" fmla="*/ 1016 h 10540"/>
                <a:gd name="connsiteX43" fmla="*/ 5220 w 9548"/>
                <a:gd name="connsiteY43" fmla="*/ 635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48" h="10540">
                  <a:moveTo>
                    <a:pt x="254" y="5588"/>
                  </a:moveTo>
                  <a:cubicBezTo>
                    <a:pt x="254" y="3810"/>
                    <a:pt x="636" y="2413"/>
                    <a:pt x="1528" y="1524"/>
                  </a:cubicBezTo>
                  <a:cubicBezTo>
                    <a:pt x="2419" y="508"/>
                    <a:pt x="3565" y="0"/>
                    <a:pt x="5220" y="0"/>
                  </a:cubicBezTo>
                  <a:cubicBezTo>
                    <a:pt x="5984" y="0"/>
                    <a:pt x="6620" y="0"/>
                    <a:pt x="7130" y="381"/>
                  </a:cubicBezTo>
                  <a:cubicBezTo>
                    <a:pt x="7639" y="635"/>
                    <a:pt x="8148" y="889"/>
                    <a:pt x="8530" y="1270"/>
                  </a:cubicBezTo>
                  <a:cubicBezTo>
                    <a:pt x="8912" y="1651"/>
                    <a:pt x="9167" y="2159"/>
                    <a:pt x="9294" y="2667"/>
                  </a:cubicBezTo>
                  <a:cubicBezTo>
                    <a:pt x="9421" y="3175"/>
                    <a:pt x="9549" y="3810"/>
                    <a:pt x="9549" y="4318"/>
                  </a:cubicBezTo>
                  <a:cubicBezTo>
                    <a:pt x="9549" y="4445"/>
                    <a:pt x="9549" y="4572"/>
                    <a:pt x="9549" y="4699"/>
                  </a:cubicBezTo>
                  <a:cubicBezTo>
                    <a:pt x="9549" y="4826"/>
                    <a:pt x="9549" y="4953"/>
                    <a:pt x="9549" y="5080"/>
                  </a:cubicBezTo>
                  <a:cubicBezTo>
                    <a:pt x="8785" y="5080"/>
                    <a:pt x="8021" y="5080"/>
                    <a:pt x="7257" y="5080"/>
                  </a:cubicBezTo>
                  <a:cubicBezTo>
                    <a:pt x="6493" y="5080"/>
                    <a:pt x="5729" y="5080"/>
                    <a:pt x="4965" y="5080"/>
                  </a:cubicBezTo>
                  <a:cubicBezTo>
                    <a:pt x="4456" y="5080"/>
                    <a:pt x="4074" y="5080"/>
                    <a:pt x="3565" y="5080"/>
                  </a:cubicBezTo>
                  <a:cubicBezTo>
                    <a:pt x="3055" y="5080"/>
                    <a:pt x="2673" y="5080"/>
                    <a:pt x="2165" y="5080"/>
                  </a:cubicBezTo>
                  <a:cubicBezTo>
                    <a:pt x="2165" y="5080"/>
                    <a:pt x="2165" y="5207"/>
                    <a:pt x="2165" y="5461"/>
                  </a:cubicBezTo>
                  <a:lnTo>
                    <a:pt x="2165" y="5715"/>
                  </a:lnTo>
                  <a:cubicBezTo>
                    <a:pt x="2165" y="5715"/>
                    <a:pt x="2165" y="6731"/>
                    <a:pt x="2419" y="7239"/>
                  </a:cubicBezTo>
                  <a:cubicBezTo>
                    <a:pt x="2546" y="7747"/>
                    <a:pt x="2801" y="8128"/>
                    <a:pt x="3183" y="8509"/>
                  </a:cubicBezTo>
                  <a:cubicBezTo>
                    <a:pt x="3437" y="8890"/>
                    <a:pt x="3819" y="9144"/>
                    <a:pt x="4329" y="9398"/>
                  </a:cubicBezTo>
                  <a:cubicBezTo>
                    <a:pt x="4838" y="9652"/>
                    <a:pt x="5347" y="9652"/>
                    <a:pt x="5856" y="9652"/>
                  </a:cubicBezTo>
                  <a:cubicBezTo>
                    <a:pt x="6111" y="9652"/>
                    <a:pt x="6493" y="9652"/>
                    <a:pt x="6748" y="9652"/>
                  </a:cubicBezTo>
                  <a:cubicBezTo>
                    <a:pt x="7002" y="9652"/>
                    <a:pt x="7384" y="9525"/>
                    <a:pt x="7639" y="9271"/>
                  </a:cubicBezTo>
                  <a:cubicBezTo>
                    <a:pt x="7893" y="9144"/>
                    <a:pt x="8148" y="9017"/>
                    <a:pt x="8403" y="8763"/>
                  </a:cubicBezTo>
                  <a:cubicBezTo>
                    <a:pt x="8657" y="8636"/>
                    <a:pt x="8912" y="8382"/>
                    <a:pt x="9039" y="8128"/>
                  </a:cubicBezTo>
                  <a:lnTo>
                    <a:pt x="9039" y="8128"/>
                  </a:lnTo>
                  <a:cubicBezTo>
                    <a:pt x="9039" y="8128"/>
                    <a:pt x="8912" y="9271"/>
                    <a:pt x="8912" y="9271"/>
                  </a:cubicBezTo>
                  <a:cubicBezTo>
                    <a:pt x="8530" y="9652"/>
                    <a:pt x="7893" y="9906"/>
                    <a:pt x="7257" y="10160"/>
                  </a:cubicBezTo>
                  <a:cubicBezTo>
                    <a:pt x="6620" y="10414"/>
                    <a:pt x="5984" y="10541"/>
                    <a:pt x="5220" y="10541"/>
                  </a:cubicBezTo>
                  <a:cubicBezTo>
                    <a:pt x="4456" y="10541"/>
                    <a:pt x="3692" y="10541"/>
                    <a:pt x="3055" y="10160"/>
                  </a:cubicBezTo>
                  <a:cubicBezTo>
                    <a:pt x="2419" y="9779"/>
                    <a:pt x="1910" y="9525"/>
                    <a:pt x="1401" y="9144"/>
                  </a:cubicBezTo>
                  <a:cubicBezTo>
                    <a:pt x="891" y="8763"/>
                    <a:pt x="636" y="8128"/>
                    <a:pt x="382" y="7493"/>
                  </a:cubicBezTo>
                  <a:cubicBezTo>
                    <a:pt x="127" y="6858"/>
                    <a:pt x="0" y="6223"/>
                    <a:pt x="0" y="5461"/>
                  </a:cubicBezTo>
                  <a:close/>
                  <a:moveTo>
                    <a:pt x="5220" y="635"/>
                  </a:moveTo>
                  <a:cubicBezTo>
                    <a:pt x="5220" y="635"/>
                    <a:pt x="4202" y="635"/>
                    <a:pt x="3819" y="1016"/>
                  </a:cubicBezTo>
                  <a:cubicBezTo>
                    <a:pt x="3437" y="1270"/>
                    <a:pt x="3183" y="1524"/>
                    <a:pt x="2928" y="1905"/>
                  </a:cubicBezTo>
                  <a:cubicBezTo>
                    <a:pt x="2673" y="2286"/>
                    <a:pt x="2546" y="2667"/>
                    <a:pt x="2419" y="3048"/>
                  </a:cubicBezTo>
                  <a:cubicBezTo>
                    <a:pt x="2419" y="3429"/>
                    <a:pt x="2165" y="3937"/>
                    <a:pt x="2165" y="4318"/>
                  </a:cubicBezTo>
                  <a:cubicBezTo>
                    <a:pt x="2546" y="4318"/>
                    <a:pt x="3055" y="4318"/>
                    <a:pt x="3565" y="4318"/>
                  </a:cubicBezTo>
                  <a:cubicBezTo>
                    <a:pt x="4074" y="4318"/>
                    <a:pt x="4456" y="4318"/>
                    <a:pt x="4965" y="4318"/>
                  </a:cubicBezTo>
                  <a:cubicBezTo>
                    <a:pt x="5474" y="4318"/>
                    <a:pt x="5856" y="4318"/>
                    <a:pt x="6366" y="4318"/>
                  </a:cubicBezTo>
                  <a:cubicBezTo>
                    <a:pt x="6875" y="4318"/>
                    <a:pt x="7384" y="4318"/>
                    <a:pt x="7766" y="4318"/>
                  </a:cubicBezTo>
                  <a:cubicBezTo>
                    <a:pt x="7766" y="3937"/>
                    <a:pt x="7766" y="3556"/>
                    <a:pt x="7766" y="3048"/>
                  </a:cubicBezTo>
                  <a:cubicBezTo>
                    <a:pt x="7766" y="2667"/>
                    <a:pt x="7512" y="2159"/>
                    <a:pt x="7384" y="1905"/>
                  </a:cubicBezTo>
                  <a:cubicBezTo>
                    <a:pt x="7130" y="1524"/>
                    <a:pt x="6875" y="1270"/>
                    <a:pt x="6620" y="1016"/>
                  </a:cubicBezTo>
                  <a:cubicBezTo>
                    <a:pt x="6238" y="762"/>
                    <a:pt x="5856" y="635"/>
                    <a:pt x="5220" y="635"/>
                  </a:cubicBezTo>
                  <a:close/>
                </a:path>
              </a:pathLst>
            </a:custGeom>
            <a:solidFill>
              <a:srgbClr val="FFFFFF"/>
            </a:solidFill>
            <a:ln w="0" cap="flat">
              <a:noFill/>
              <a:prstDash val="solid"/>
              <a:miter/>
            </a:ln>
          </p:spPr>
          <p:txBody>
            <a:bodyPr rtlCol="0" anchor="ctr"/>
            <a:lstStyle/>
            <a:p>
              <a:endParaRPr lang="en-AD" sz="2400"/>
            </a:p>
          </p:txBody>
        </p:sp>
        <p:sp>
          <p:nvSpPr>
            <p:cNvPr id="588" name="Freeform 587">
              <a:extLst>
                <a:ext uri="{FF2B5EF4-FFF2-40B4-BE49-F238E27FC236}">
                  <a16:creationId xmlns:a16="http://schemas.microsoft.com/office/drawing/2014/main" id="{19C43DFA-AA89-FCC6-6CD4-664FAEBAAFCA}"/>
                </a:ext>
              </a:extLst>
            </p:cNvPr>
            <p:cNvSpPr/>
            <p:nvPr/>
          </p:nvSpPr>
          <p:spPr>
            <a:xfrm>
              <a:off x="4025821" y="4737100"/>
              <a:ext cx="23043" cy="72009"/>
            </a:xfrm>
            <a:custGeom>
              <a:avLst/>
              <a:gdLst>
                <a:gd name="connsiteX0" fmla="*/ 23044 w 23043"/>
                <a:gd name="connsiteY0" fmla="*/ 0 h 72009"/>
                <a:gd name="connsiteX1" fmla="*/ 23044 w 23043"/>
                <a:gd name="connsiteY1" fmla="*/ 72009 h 72009"/>
                <a:gd name="connsiteX2" fmla="*/ 0 w 23043"/>
                <a:gd name="connsiteY2" fmla="*/ 72009 h 72009"/>
                <a:gd name="connsiteX3" fmla="*/ 0 w 23043"/>
                <a:gd name="connsiteY3" fmla="*/ 0 h 72009"/>
                <a:gd name="connsiteX4" fmla="*/ 23044 w 23043"/>
                <a:gd name="connsiteY4" fmla="*/ 0 h 7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3" h="72009">
                  <a:moveTo>
                    <a:pt x="23044" y="0"/>
                  </a:moveTo>
                  <a:lnTo>
                    <a:pt x="23044" y="72009"/>
                  </a:lnTo>
                  <a:lnTo>
                    <a:pt x="0" y="72009"/>
                  </a:lnTo>
                  <a:lnTo>
                    <a:pt x="0" y="0"/>
                  </a:lnTo>
                  <a:lnTo>
                    <a:pt x="23044" y="0"/>
                  </a:lnTo>
                  <a:close/>
                </a:path>
              </a:pathLst>
            </a:custGeom>
            <a:solidFill>
              <a:srgbClr val="FFFFFF"/>
            </a:solidFill>
            <a:ln w="0" cap="flat">
              <a:noFill/>
              <a:prstDash val="solid"/>
              <a:miter/>
            </a:ln>
          </p:spPr>
          <p:txBody>
            <a:bodyPr rtlCol="0" anchor="ctr"/>
            <a:lstStyle/>
            <a:p>
              <a:endParaRPr lang="en-AD" sz="2400"/>
            </a:p>
          </p:txBody>
        </p:sp>
        <p:sp>
          <p:nvSpPr>
            <p:cNvPr id="589" name="Freeform 588">
              <a:extLst>
                <a:ext uri="{FF2B5EF4-FFF2-40B4-BE49-F238E27FC236}">
                  <a16:creationId xmlns:a16="http://schemas.microsoft.com/office/drawing/2014/main" id="{3237AC2E-2F3F-6FEB-2453-31076DB65363}"/>
                </a:ext>
              </a:extLst>
            </p:cNvPr>
            <p:cNvSpPr/>
            <p:nvPr/>
          </p:nvSpPr>
          <p:spPr>
            <a:xfrm>
              <a:off x="4054721" y="4756658"/>
              <a:ext cx="69386" cy="52323"/>
            </a:xfrm>
            <a:custGeom>
              <a:avLst/>
              <a:gdLst>
                <a:gd name="connsiteX0" fmla="*/ 17951 w 69386"/>
                <a:gd name="connsiteY0" fmla="*/ 1270 h 52323"/>
                <a:gd name="connsiteX1" fmla="*/ 17951 w 69386"/>
                <a:gd name="connsiteY1" fmla="*/ 9017 h 52323"/>
                <a:gd name="connsiteX2" fmla="*/ 18970 w 69386"/>
                <a:gd name="connsiteY2" fmla="*/ 9017 h 52323"/>
                <a:gd name="connsiteX3" fmla="*/ 40741 w 69386"/>
                <a:gd name="connsiteY3" fmla="*/ 0 h 52323"/>
                <a:gd name="connsiteX4" fmla="*/ 63785 w 69386"/>
                <a:gd name="connsiteY4" fmla="*/ 6350 h 52323"/>
                <a:gd name="connsiteX5" fmla="*/ 69386 w 69386"/>
                <a:gd name="connsiteY5" fmla="*/ 29083 h 52323"/>
                <a:gd name="connsiteX6" fmla="*/ 69386 w 69386"/>
                <a:gd name="connsiteY6" fmla="*/ 52324 h 52323"/>
                <a:gd name="connsiteX7" fmla="*/ 50289 w 69386"/>
                <a:gd name="connsiteY7" fmla="*/ 52324 h 52323"/>
                <a:gd name="connsiteX8" fmla="*/ 50289 w 69386"/>
                <a:gd name="connsiteY8" fmla="*/ 29083 h 52323"/>
                <a:gd name="connsiteX9" fmla="*/ 47870 w 69386"/>
                <a:gd name="connsiteY9" fmla="*/ 17145 h 52323"/>
                <a:gd name="connsiteX10" fmla="*/ 35011 w 69386"/>
                <a:gd name="connsiteY10" fmla="*/ 14351 h 52323"/>
                <a:gd name="connsiteX11" fmla="*/ 21898 w 69386"/>
                <a:gd name="connsiteY11" fmla="*/ 17653 h 52323"/>
                <a:gd name="connsiteX12" fmla="*/ 19097 w 69386"/>
                <a:gd name="connsiteY12" fmla="*/ 31877 h 52323"/>
                <a:gd name="connsiteX13" fmla="*/ 19097 w 69386"/>
                <a:gd name="connsiteY13" fmla="*/ 52324 h 52323"/>
                <a:gd name="connsiteX14" fmla="*/ 0 w 69386"/>
                <a:gd name="connsiteY14" fmla="*/ 52324 h 52323"/>
                <a:gd name="connsiteX15" fmla="*/ 0 w 69386"/>
                <a:gd name="connsiteY15" fmla="*/ 1270 h 52323"/>
                <a:gd name="connsiteX16" fmla="*/ 18079 w 69386"/>
                <a:gd name="connsiteY16" fmla="*/ 1270 h 5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386" h="52323">
                  <a:moveTo>
                    <a:pt x="17951" y="1270"/>
                  </a:moveTo>
                  <a:lnTo>
                    <a:pt x="17951" y="9017"/>
                  </a:lnTo>
                  <a:lnTo>
                    <a:pt x="18970" y="9017"/>
                  </a:lnTo>
                  <a:cubicBezTo>
                    <a:pt x="22407" y="2413"/>
                    <a:pt x="28264" y="0"/>
                    <a:pt x="40741" y="0"/>
                  </a:cubicBezTo>
                  <a:cubicBezTo>
                    <a:pt x="53217" y="0"/>
                    <a:pt x="59201" y="1778"/>
                    <a:pt x="63785" y="6350"/>
                  </a:cubicBezTo>
                  <a:cubicBezTo>
                    <a:pt x="68495" y="11176"/>
                    <a:pt x="69386" y="15113"/>
                    <a:pt x="69386" y="29083"/>
                  </a:cubicBezTo>
                  <a:lnTo>
                    <a:pt x="69386" y="52324"/>
                  </a:lnTo>
                  <a:lnTo>
                    <a:pt x="50289" y="52324"/>
                  </a:lnTo>
                  <a:lnTo>
                    <a:pt x="50289" y="29083"/>
                  </a:lnTo>
                  <a:cubicBezTo>
                    <a:pt x="50289" y="20828"/>
                    <a:pt x="49907" y="19050"/>
                    <a:pt x="47870" y="17145"/>
                  </a:cubicBezTo>
                  <a:cubicBezTo>
                    <a:pt x="45833" y="15113"/>
                    <a:pt x="42141" y="14351"/>
                    <a:pt x="35011" y="14351"/>
                  </a:cubicBezTo>
                  <a:cubicBezTo>
                    <a:pt x="27882" y="14351"/>
                    <a:pt x="24190" y="15367"/>
                    <a:pt x="21898" y="17653"/>
                  </a:cubicBezTo>
                  <a:cubicBezTo>
                    <a:pt x="19479" y="20193"/>
                    <a:pt x="19097" y="22479"/>
                    <a:pt x="19097" y="31877"/>
                  </a:cubicBezTo>
                  <a:lnTo>
                    <a:pt x="19097" y="52324"/>
                  </a:lnTo>
                  <a:lnTo>
                    <a:pt x="0" y="52324"/>
                  </a:lnTo>
                  <a:lnTo>
                    <a:pt x="0" y="1270"/>
                  </a:lnTo>
                  <a:lnTo>
                    <a:pt x="18079" y="1270"/>
                  </a:lnTo>
                  <a:close/>
                </a:path>
              </a:pathLst>
            </a:custGeom>
            <a:solidFill>
              <a:srgbClr val="FFFFFF"/>
            </a:solidFill>
            <a:ln w="0" cap="flat">
              <a:noFill/>
              <a:prstDash val="solid"/>
              <a:miter/>
            </a:ln>
          </p:spPr>
          <p:txBody>
            <a:bodyPr rtlCol="0" anchor="ctr"/>
            <a:lstStyle/>
            <a:p>
              <a:endParaRPr lang="en-AD" sz="2400"/>
            </a:p>
          </p:txBody>
        </p:sp>
        <p:sp>
          <p:nvSpPr>
            <p:cNvPr id="590" name="Freeform 589">
              <a:extLst>
                <a:ext uri="{FF2B5EF4-FFF2-40B4-BE49-F238E27FC236}">
                  <a16:creationId xmlns:a16="http://schemas.microsoft.com/office/drawing/2014/main" id="{D3D0106A-82B2-B31F-56E7-CE0722CA7ABF}"/>
                </a:ext>
              </a:extLst>
            </p:cNvPr>
            <p:cNvSpPr/>
            <p:nvPr/>
          </p:nvSpPr>
          <p:spPr>
            <a:xfrm>
              <a:off x="4127163" y="4756658"/>
              <a:ext cx="70659" cy="53466"/>
            </a:xfrm>
            <a:custGeom>
              <a:avLst/>
              <a:gdLst>
                <a:gd name="connsiteX0" fmla="*/ 19225 w 70659"/>
                <a:gd name="connsiteY0" fmla="*/ 36068 h 53466"/>
                <a:gd name="connsiteX1" fmla="*/ 35266 w 70659"/>
                <a:gd name="connsiteY1" fmla="*/ 41783 h 53466"/>
                <a:gd name="connsiteX2" fmla="*/ 51308 w 70659"/>
                <a:gd name="connsiteY2" fmla="*/ 37084 h 53466"/>
                <a:gd name="connsiteX3" fmla="*/ 46852 w 70659"/>
                <a:gd name="connsiteY3" fmla="*/ 33274 h 53466"/>
                <a:gd name="connsiteX4" fmla="*/ 20625 w 70659"/>
                <a:gd name="connsiteY4" fmla="*/ 32893 h 53466"/>
                <a:gd name="connsiteX5" fmla="*/ 127 w 70659"/>
                <a:gd name="connsiteY5" fmla="*/ 17272 h 53466"/>
                <a:gd name="connsiteX6" fmla="*/ 9039 w 70659"/>
                <a:gd name="connsiteY6" fmla="*/ 2413 h 53466"/>
                <a:gd name="connsiteX7" fmla="*/ 35521 w 70659"/>
                <a:gd name="connsiteY7" fmla="*/ 0 h 53466"/>
                <a:gd name="connsiteX8" fmla="*/ 63657 w 70659"/>
                <a:gd name="connsiteY8" fmla="*/ 4699 h 53466"/>
                <a:gd name="connsiteX9" fmla="*/ 67731 w 70659"/>
                <a:gd name="connsiteY9" fmla="*/ 15748 h 53466"/>
                <a:gd name="connsiteX10" fmla="*/ 48252 w 70659"/>
                <a:gd name="connsiteY10" fmla="*/ 15748 h 53466"/>
                <a:gd name="connsiteX11" fmla="*/ 46979 w 70659"/>
                <a:gd name="connsiteY11" fmla="*/ 13335 h 53466"/>
                <a:gd name="connsiteX12" fmla="*/ 35011 w 70659"/>
                <a:gd name="connsiteY12" fmla="*/ 11811 h 53466"/>
                <a:gd name="connsiteX13" fmla="*/ 19352 w 70659"/>
                <a:gd name="connsiteY13" fmla="*/ 16002 h 53466"/>
                <a:gd name="connsiteX14" fmla="*/ 23935 w 70659"/>
                <a:gd name="connsiteY14" fmla="*/ 19304 h 53466"/>
                <a:gd name="connsiteX15" fmla="*/ 50162 w 70659"/>
                <a:gd name="connsiteY15" fmla="*/ 19685 h 53466"/>
                <a:gd name="connsiteX16" fmla="*/ 70659 w 70659"/>
                <a:gd name="connsiteY16" fmla="*/ 35560 h 53466"/>
                <a:gd name="connsiteX17" fmla="*/ 34120 w 70659"/>
                <a:gd name="connsiteY17" fmla="*/ 53467 h 53466"/>
                <a:gd name="connsiteX18" fmla="*/ 4584 w 70659"/>
                <a:gd name="connsiteY18" fmla="*/ 48133 h 53466"/>
                <a:gd name="connsiteX19" fmla="*/ 0 w 70659"/>
                <a:gd name="connsiteY19" fmla="*/ 35814 h 53466"/>
                <a:gd name="connsiteX20" fmla="*/ 19479 w 70659"/>
                <a:gd name="connsiteY20" fmla="*/ 35814 h 5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659" h="53466">
                  <a:moveTo>
                    <a:pt x="19225" y="36068"/>
                  </a:moveTo>
                  <a:cubicBezTo>
                    <a:pt x="19607" y="40513"/>
                    <a:pt x="23171" y="41783"/>
                    <a:pt x="35266" y="41783"/>
                  </a:cubicBezTo>
                  <a:cubicBezTo>
                    <a:pt x="47361" y="41783"/>
                    <a:pt x="51308" y="40767"/>
                    <a:pt x="51308" y="37084"/>
                  </a:cubicBezTo>
                  <a:cubicBezTo>
                    <a:pt x="51308" y="35052"/>
                    <a:pt x="49653" y="33655"/>
                    <a:pt x="46852" y="33274"/>
                  </a:cubicBezTo>
                  <a:cubicBezTo>
                    <a:pt x="44306" y="33020"/>
                    <a:pt x="39468" y="32893"/>
                    <a:pt x="20625" y="32893"/>
                  </a:cubicBezTo>
                  <a:cubicBezTo>
                    <a:pt x="6111" y="32639"/>
                    <a:pt x="127" y="28194"/>
                    <a:pt x="127" y="17272"/>
                  </a:cubicBezTo>
                  <a:cubicBezTo>
                    <a:pt x="127" y="9398"/>
                    <a:pt x="2928" y="4699"/>
                    <a:pt x="9039" y="2413"/>
                  </a:cubicBezTo>
                  <a:cubicBezTo>
                    <a:pt x="13113" y="762"/>
                    <a:pt x="22153" y="0"/>
                    <a:pt x="35521" y="0"/>
                  </a:cubicBezTo>
                  <a:cubicBezTo>
                    <a:pt x="52963" y="0"/>
                    <a:pt x="59329" y="1143"/>
                    <a:pt x="63657" y="4699"/>
                  </a:cubicBezTo>
                  <a:cubicBezTo>
                    <a:pt x="66331" y="6858"/>
                    <a:pt x="67349" y="9525"/>
                    <a:pt x="67731" y="15748"/>
                  </a:cubicBezTo>
                  <a:lnTo>
                    <a:pt x="48252" y="15748"/>
                  </a:lnTo>
                  <a:cubicBezTo>
                    <a:pt x="47870" y="14097"/>
                    <a:pt x="47615" y="13843"/>
                    <a:pt x="46979" y="13335"/>
                  </a:cubicBezTo>
                  <a:cubicBezTo>
                    <a:pt x="45324" y="12319"/>
                    <a:pt x="41505" y="11811"/>
                    <a:pt x="35011" y="11811"/>
                  </a:cubicBezTo>
                  <a:cubicBezTo>
                    <a:pt x="23044" y="11811"/>
                    <a:pt x="19352" y="12827"/>
                    <a:pt x="19352" y="16002"/>
                  </a:cubicBezTo>
                  <a:cubicBezTo>
                    <a:pt x="19352" y="18034"/>
                    <a:pt x="20880" y="19177"/>
                    <a:pt x="23935" y="19304"/>
                  </a:cubicBezTo>
                  <a:cubicBezTo>
                    <a:pt x="27118" y="19558"/>
                    <a:pt x="30428" y="19685"/>
                    <a:pt x="50162" y="19685"/>
                  </a:cubicBezTo>
                  <a:cubicBezTo>
                    <a:pt x="64930" y="19685"/>
                    <a:pt x="70659" y="24130"/>
                    <a:pt x="70659" y="35560"/>
                  </a:cubicBezTo>
                  <a:cubicBezTo>
                    <a:pt x="70659" y="50165"/>
                    <a:pt x="63785" y="53467"/>
                    <a:pt x="34120" y="53467"/>
                  </a:cubicBezTo>
                  <a:cubicBezTo>
                    <a:pt x="15532" y="53467"/>
                    <a:pt x="9167" y="52451"/>
                    <a:pt x="4584" y="48133"/>
                  </a:cubicBezTo>
                  <a:cubicBezTo>
                    <a:pt x="1401" y="45339"/>
                    <a:pt x="127" y="41783"/>
                    <a:pt x="0" y="35814"/>
                  </a:cubicBezTo>
                  <a:lnTo>
                    <a:pt x="19479" y="35814"/>
                  </a:lnTo>
                  <a:close/>
                </a:path>
              </a:pathLst>
            </a:custGeom>
            <a:solidFill>
              <a:srgbClr val="FFFFFF"/>
            </a:solidFill>
            <a:ln w="0" cap="flat">
              <a:noFill/>
              <a:prstDash val="solid"/>
              <a:miter/>
            </a:ln>
          </p:spPr>
          <p:txBody>
            <a:bodyPr rtlCol="0" anchor="ctr"/>
            <a:lstStyle/>
            <a:p>
              <a:endParaRPr lang="en-AD" sz="2400"/>
            </a:p>
          </p:txBody>
        </p:sp>
        <p:sp>
          <p:nvSpPr>
            <p:cNvPr id="591" name="Freeform 590">
              <a:extLst>
                <a:ext uri="{FF2B5EF4-FFF2-40B4-BE49-F238E27FC236}">
                  <a16:creationId xmlns:a16="http://schemas.microsoft.com/office/drawing/2014/main" id="{86F8E1F1-F579-DB8B-836A-F4976590E553}"/>
                </a:ext>
              </a:extLst>
            </p:cNvPr>
            <p:cNvSpPr/>
            <p:nvPr/>
          </p:nvSpPr>
          <p:spPr>
            <a:xfrm>
              <a:off x="4196804" y="4746244"/>
              <a:ext cx="61874" cy="64261"/>
            </a:xfrm>
            <a:custGeom>
              <a:avLst/>
              <a:gdLst>
                <a:gd name="connsiteX0" fmla="*/ 29028 w 61874"/>
                <a:gd name="connsiteY0" fmla="*/ 0 h 64261"/>
                <a:gd name="connsiteX1" fmla="*/ 29028 w 61874"/>
                <a:gd name="connsiteY1" fmla="*/ 11811 h 64261"/>
                <a:gd name="connsiteX2" fmla="*/ 59329 w 61874"/>
                <a:gd name="connsiteY2" fmla="*/ 11811 h 64261"/>
                <a:gd name="connsiteX3" fmla="*/ 59329 w 61874"/>
                <a:gd name="connsiteY3" fmla="*/ 25527 h 64261"/>
                <a:gd name="connsiteX4" fmla="*/ 29028 w 61874"/>
                <a:gd name="connsiteY4" fmla="*/ 25527 h 64261"/>
                <a:gd name="connsiteX5" fmla="*/ 29028 w 61874"/>
                <a:gd name="connsiteY5" fmla="*/ 40386 h 64261"/>
                <a:gd name="connsiteX6" fmla="*/ 30046 w 61874"/>
                <a:gd name="connsiteY6" fmla="*/ 48006 h 64261"/>
                <a:gd name="connsiteX7" fmla="*/ 36667 w 61874"/>
                <a:gd name="connsiteY7" fmla="*/ 50546 h 64261"/>
                <a:gd name="connsiteX8" fmla="*/ 43542 w 61874"/>
                <a:gd name="connsiteY8" fmla="*/ 48006 h 64261"/>
                <a:gd name="connsiteX9" fmla="*/ 44306 w 61874"/>
                <a:gd name="connsiteY9" fmla="*/ 41148 h 64261"/>
                <a:gd name="connsiteX10" fmla="*/ 61875 w 61874"/>
                <a:gd name="connsiteY10" fmla="*/ 41148 h 64261"/>
                <a:gd name="connsiteX11" fmla="*/ 57928 w 61874"/>
                <a:gd name="connsiteY11" fmla="*/ 57785 h 64261"/>
                <a:gd name="connsiteX12" fmla="*/ 35011 w 61874"/>
                <a:gd name="connsiteY12" fmla="*/ 64262 h 64261"/>
                <a:gd name="connsiteX13" fmla="*/ 14005 w 61874"/>
                <a:gd name="connsiteY13" fmla="*/ 59563 h 64261"/>
                <a:gd name="connsiteX14" fmla="*/ 10058 w 61874"/>
                <a:gd name="connsiteY14" fmla="*/ 48260 h 64261"/>
                <a:gd name="connsiteX15" fmla="*/ 10058 w 61874"/>
                <a:gd name="connsiteY15" fmla="*/ 40640 h 64261"/>
                <a:gd name="connsiteX16" fmla="*/ 10058 w 61874"/>
                <a:gd name="connsiteY16" fmla="*/ 25781 h 64261"/>
                <a:gd name="connsiteX17" fmla="*/ 0 w 61874"/>
                <a:gd name="connsiteY17" fmla="*/ 25781 h 64261"/>
                <a:gd name="connsiteX18" fmla="*/ 0 w 61874"/>
                <a:gd name="connsiteY18" fmla="*/ 12065 h 64261"/>
                <a:gd name="connsiteX19" fmla="*/ 10058 w 61874"/>
                <a:gd name="connsiteY19" fmla="*/ 12065 h 64261"/>
                <a:gd name="connsiteX20" fmla="*/ 10058 w 61874"/>
                <a:gd name="connsiteY20" fmla="*/ 254 h 64261"/>
                <a:gd name="connsiteX21" fmla="*/ 29155 w 61874"/>
                <a:gd name="connsiteY21" fmla="*/ 254 h 6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874" h="64261">
                  <a:moveTo>
                    <a:pt x="29028" y="0"/>
                  </a:moveTo>
                  <a:lnTo>
                    <a:pt x="29028" y="11811"/>
                  </a:lnTo>
                  <a:lnTo>
                    <a:pt x="59329" y="11811"/>
                  </a:lnTo>
                  <a:lnTo>
                    <a:pt x="59329" y="25527"/>
                  </a:lnTo>
                  <a:lnTo>
                    <a:pt x="29028" y="25527"/>
                  </a:lnTo>
                  <a:lnTo>
                    <a:pt x="29028" y="40386"/>
                  </a:lnTo>
                  <a:cubicBezTo>
                    <a:pt x="29028" y="45974"/>
                    <a:pt x="29028" y="46736"/>
                    <a:pt x="30046" y="48006"/>
                  </a:cubicBezTo>
                  <a:cubicBezTo>
                    <a:pt x="31065" y="49784"/>
                    <a:pt x="32974" y="50546"/>
                    <a:pt x="36667" y="50546"/>
                  </a:cubicBezTo>
                  <a:cubicBezTo>
                    <a:pt x="40613" y="50546"/>
                    <a:pt x="42778" y="49784"/>
                    <a:pt x="43542" y="48006"/>
                  </a:cubicBezTo>
                  <a:cubicBezTo>
                    <a:pt x="44178" y="46863"/>
                    <a:pt x="44306" y="46355"/>
                    <a:pt x="44306" y="41148"/>
                  </a:cubicBezTo>
                  <a:lnTo>
                    <a:pt x="61875" y="41148"/>
                  </a:lnTo>
                  <a:cubicBezTo>
                    <a:pt x="61620" y="50800"/>
                    <a:pt x="60856" y="53975"/>
                    <a:pt x="57928" y="57785"/>
                  </a:cubicBezTo>
                  <a:cubicBezTo>
                    <a:pt x="53981" y="62611"/>
                    <a:pt x="48252" y="64262"/>
                    <a:pt x="35011" y="64262"/>
                  </a:cubicBezTo>
                  <a:cubicBezTo>
                    <a:pt x="22789" y="64262"/>
                    <a:pt x="17824" y="63246"/>
                    <a:pt x="14005" y="59563"/>
                  </a:cubicBezTo>
                  <a:cubicBezTo>
                    <a:pt x="11331" y="56896"/>
                    <a:pt x="10185" y="54102"/>
                    <a:pt x="10058" y="48260"/>
                  </a:cubicBezTo>
                  <a:cubicBezTo>
                    <a:pt x="10058" y="47371"/>
                    <a:pt x="10058" y="44831"/>
                    <a:pt x="10058" y="40640"/>
                  </a:cubicBezTo>
                  <a:lnTo>
                    <a:pt x="10058" y="25781"/>
                  </a:lnTo>
                  <a:lnTo>
                    <a:pt x="0" y="25781"/>
                  </a:lnTo>
                  <a:lnTo>
                    <a:pt x="0" y="12065"/>
                  </a:lnTo>
                  <a:lnTo>
                    <a:pt x="10058" y="12065"/>
                  </a:lnTo>
                  <a:lnTo>
                    <a:pt x="10058" y="254"/>
                  </a:lnTo>
                  <a:lnTo>
                    <a:pt x="29155" y="254"/>
                  </a:lnTo>
                  <a:close/>
                </a:path>
              </a:pathLst>
            </a:custGeom>
            <a:solidFill>
              <a:srgbClr val="FFFFFF"/>
            </a:solidFill>
            <a:ln w="0" cap="flat">
              <a:noFill/>
              <a:prstDash val="solid"/>
              <a:miter/>
            </a:ln>
          </p:spPr>
          <p:txBody>
            <a:bodyPr rtlCol="0" anchor="ctr"/>
            <a:lstStyle/>
            <a:p>
              <a:endParaRPr lang="en-AD" sz="2400"/>
            </a:p>
          </p:txBody>
        </p:sp>
        <p:sp>
          <p:nvSpPr>
            <p:cNvPr id="592" name="Freeform 591">
              <a:extLst>
                <a:ext uri="{FF2B5EF4-FFF2-40B4-BE49-F238E27FC236}">
                  <a16:creationId xmlns:a16="http://schemas.microsoft.com/office/drawing/2014/main" id="{43C964EE-4EF0-74A0-68D4-858A8297CD09}"/>
                </a:ext>
              </a:extLst>
            </p:cNvPr>
            <p:cNvSpPr/>
            <p:nvPr/>
          </p:nvSpPr>
          <p:spPr>
            <a:xfrm>
              <a:off x="4259570" y="4756530"/>
              <a:ext cx="69131" cy="53847"/>
            </a:xfrm>
            <a:custGeom>
              <a:avLst/>
              <a:gdLst>
                <a:gd name="connsiteX0" fmla="*/ 68750 w 69131"/>
                <a:gd name="connsiteY0" fmla="*/ 36195 h 53847"/>
                <a:gd name="connsiteX1" fmla="*/ 32974 w 69131"/>
                <a:gd name="connsiteY1" fmla="*/ 53848 h 53847"/>
                <a:gd name="connsiteX2" fmla="*/ 6493 w 69131"/>
                <a:gd name="connsiteY2" fmla="*/ 49149 h 53847"/>
                <a:gd name="connsiteX3" fmla="*/ 0 w 69131"/>
                <a:gd name="connsiteY3" fmla="*/ 27178 h 53847"/>
                <a:gd name="connsiteX4" fmla="*/ 6875 w 69131"/>
                <a:gd name="connsiteY4" fmla="*/ 4572 h 53847"/>
                <a:gd name="connsiteX5" fmla="*/ 34884 w 69131"/>
                <a:gd name="connsiteY5" fmla="*/ 0 h 53847"/>
                <a:gd name="connsiteX6" fmla="*/ 62893 w 69131"/>
                <a:gd name="connsiteY6" fmla="*/ 4826 h 53847"/>
                <a:gd name="connsiteX7" fmla="*/ 69132 w 69131"/>
                <a:gd name="connsiteY7" fmla="*/ 25908 h 53847"/>
                <a:gd name="connsiteX8" fmla="*/ 69132 w 69131"/>
                <a:gd name="connsiteY8" fmla="*/ 31115 h 53847"/>
                <a:gd name="connsiteX9" fmla="*/ 19097 w 69131"/>
                <a:gd name="connsiteY9" fmla="*/ 31115 h 53847"/>
                <a:gd name="connsiteX10" fmla="*/ 21516 w 69131"/>
                <a:gd name="connsiteY10" fmla="*/ 39370 h 53847"/>
                <a:gd name="connsiteX11" fmla="*/ 34502 w 69131"/>
                <a:gd name="connsiteY11" fmla="*/ 41529 h 53847"/>
                <a:gd name="connsiteX12" fmla="*/ 49780 w 69131"/>
                <a:gd name="connsiteY12" fmla="*/ 36195 h 53847"/>
                <a:gd name="connsiteX13" fmla="*/ 68877 w 69131"/>
                <a:gd name="connsiteY13" fmla="*/ 36195 h 53847"/>
                <a:gd name="connsiteX14" fmla="*/ 49907 w 69131"/>
                <a:gd name="connsiteY14" fmla="*/ 20701 h 53847"/>
                <a:gd name="connsiteX15" fmla="*/ 48380 w 69131"/>
                <a:gd name="connsiteY15" fmla="*/ 14605 h 53847"/>
                <a:gd name="connsiteX16" fmla="*/ 35139 w 69131"/>
                <a:gd name="connsiteY16" fmla="*/ 12065 h 53847"/>
                <a:gd name="connsiteX17" fmla="*/ 18970 w 69131"/>
                <a:gd name="connsiteY17" fmla="*/ 20828 h 53847"/>
                <a:gd name="connsiteX18" fmla="*/ 49780 w 69131"/>
                <a:gd name="connsiteY18" fmla="*/ 2082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131" h="53847">
                  <a:moveTo>
                    <a:pt x="68750" y="36195"/>
                  </a:moveTo>
                  <a:cubicBezTo>
                    <a:pt x="67349" y="50292"/>
                    <a:pt x="60347" y="53848"/>
                    <a:pt x="32974" y="53848"/>
                  </a:cubicBezTo>
                  <a:cubicBezTo>
                    <a:pt x="18206" y="53848"/>
                    <a:pt x="11076" y="52578"/>
                    <a:pt x="6493" y="49149"/>
                  </a:cubicBezTo>
                  <a:cubicBezTo>
                    <a:pt x="1528" y="45339"/>
                    <a:pt x="0" y="40259"/>
                    <a:pt x="0" y="27178"/>
                  </a:cubicBezTo>
                  <a:cubicBezTo>
                    <a:pt x="0" y="13462"/>
                    <a:pt x="1528" y="8382"/>
                    <a:pt x="6875" y="4572"/>
                  </a:cubicBezTo>
                  <a:cubicBezTo>
                    <a:pt x="11841" y="1143"/>
                    <a:pt x="18206" y="0"/>
                    <a:pt x="34884" y="0"/>
                  </a:cubicBezTo>
                  <a:cubicBezTo>
                    <a:pt x="51563" y="0"/>
                    <a:pt x="58310" y="1016"/>
                    <a:pt x="62893" y="4826"/>
                  </a:cubicBezTo>
                  <a:cubicBezTo>
                    <a:pt x="67477" y="8636"/>
                    <a:pt x="69132" y="14351"/>
                    <a:pt x="69132" y="25908"/>
                  </a:cubicBezTo>
                  <a:cubicBezTo>
                    <a:pt x="69132" y="26543"/>
                    <a:pt x="69132" y="28956"/>
                    <a:pt x="69132" y="31115"/>
                  </a:cubicBezTo>
                  <a:lnTo>
                    <a:pt x="19097" y="31115"/>
                  </a:lnTo>
                  <a:cubicBezTo>
                    <a:pt x="19097" y="36322"/>
                    <a:pt x="19607" y="37973"/>
                    <a:pt x="21516" y="39370"/>
                  </a:cubicBezTo>
                  <a:cubicBezTo>
                    <a:pt x="23553" y="40894"/>
                    <a:pt x="27627" y="41529"/>
                    <a:pt x="34502" y="41529"/>
                  </a:cubicBezTo>
                  <a:cubicBezTo>
                    <a:pt x="46725" y="41529"/>
                    <a:pt x="49016" y="40640"/>
                    <a:pt x="49780" y="36195"/>
                  </a:cubicBezTo>
                  <a:lnTo>
                    <a:pt x="68877" y="36195"/>
                  </a:lnTo>
                  <a:close/>
                  <a:moveTo>
                    <a:pt x="49907" y="20701"/>
                  </a:moveTo>
                  <a:cubicBezTo>
                    <a:pt x="49907" y="16764"/>
                    <a:pt x="49525" y="15748"/>
                    <a:pt x="48380" y="14605"/>
                  </a:cubicBezTo>
                  <a:cubicBezTo>
                    <a:pt x="46597" y="12827"/>
                    <a:pt x="42778" y="12065"/>
                    <a:pt x="35139" y="12065"/>
                  </a:cubicBezTo>
                  <a:cubicBezTo>
                    <a:pt x="22280" y="12065"/>
                    <a:pt x="19225" y="13716"/>
                    <a:pt x="18970" y="20828"/>
                  </a:cubicBezTo>
                  <a:lnTo>
                    <a:pt x="49780" y="20828"/>
                  </a:lnTo>
                  <a:close/>
                </a:path>
              </a:pathLst>
            </a:custGeom>
            <a:solidFill>
              <a:srgbClr val="FFFFFF"/>
            </a:solidFill>
            <a:ln w="0" cap="flat">
              <a:noFill/>
              <a:prstDash val="solid"/>
              <a:miter/>
            </a:ln>
          </p:spPr>
          <p:txBody>
            <a:bodyPr rtlCol="0" anchor="ctr"/>
            <a:lstStyle/>
            <a:p>
              <a:endParaRPr lang="en-AD" sz="2400"/>
            </a:p>
          </p:txBody>
        </p:sp>
        <p:sp>
          <p:nvSpPr>
            <p:cNvPr id="593" name="Freeform 592">
              <a:extLst>
                <a:ext uri="{FF2B5EF4-FFF2-40B4-BE49-F238E27FC236}">
                  <a16:creationId xmlns:a16="http://schemas.microsoft.com/office/drawing/2014/main" id="{5E2E0663-B2F1-C1AA-1FBD-30BE773AD1FF}"/>
                </a:ext>
              </a:extLst>
            </p:cNvPr>
            <p:cNvSpPr/>
            <p:nvPr/>
          </p:nvSpPr>
          <p:spPr>
            <a:xfrm>
              <a:off x="4332267" y="4756530"/>
              <a:ext cx="111527" cy="52578"/>
            </a:xfrm>
            <a:custGeom>
              <a:avLst/>
              <a:gdLst>
                <a:gd name="connsiteX0" fmla="*/ 17951 w 111527"/>
                <a:gd name="connsiteY0" fmla="*/ 1397 h 52578"/>
                <a:gd name="connsiteX1" fmla="*/ 17951 w 111527"/>
                <a:gd name="connsiteY1" fmla="*/ 9017 h 52578"/>
                <a:gd name="connsiteX2" fmla="*/ 18970 w 111527"/>
                <a:gd name="connsiteY2" fmla="*/ 9017 h 52578"/>
                <a:gd name="connsiteX3" fmla="*/ 39595 w 111527"/>
                <a:gd name="connsiteY3" fmla="*/ 0 h 52578"/>
                <a:gd name="connsiteX4" fmla="*/ 62893 w 111527"/>
                <a:gd name="connsiteY4" fmla="*/ 10668 h 52578"/>
                <a:gd name="connsiteX5" fmla="*/ 84918 w 111527"/>
                <a:gd name="connsiteY5" fmla="*/ 0 h 52578"/>
                <a:gd name="connsiteX6" fmla="*/ 106180 w 111527"/>
                <a:gd name="connsiteY6" fmla="*/ 6604 h 52578"/>
                <a:gd name="connsiteX7" fmla="*/ 111527 w 111527"/>
                <a:gd name="connsiteY7" fmla="*/ 28575 h 52578"/>
                <a:gd name="connsiteX8" fmla="*/ 111527 w 111527"/>
                <a:gd name="connsiteY8" fmla="*/ 52451 h 52578"/>
                <a:gd name="connsiteX9" fmla="*/ 92430 w 111527"/>
                <a:gd name="connsiteY9" fmla="*/ 52451 h 52578"/>
                <a:gd name="connsiteX10" fmla="*/ 92430 w 111527"/>
                <a:gd name="connsiteY10" fmla="*/ 28575 h 52578"/>
                <a:gd name="connsiteX11" fmla="*/ 90266 w 111527"/>
                <a:gd name="connsiteY11" fmla="*/ 17272 h 52578"/>
                <a:gd name="connsiteX12" fmla="*/ 79444 w 111527"/>
                <a:gd name="connsiteY12" fmla="*/ 14478 h 52578"/>
                <a:gd name="connsiteX13" fmla="*/ 68113 w 111527"/>
                <a:gd name="connsiteY13" fmla="*/ 17653 h 52578"/>
                <a:gd name="connsiteX14" fmla="*/ 65312 w 111527"/>
                <a:gd name="connsiteY14" fmla="*/ 31369 h 52578"/>
                <a:gd name="connsiteX15" fmla="*/ 65312 w 111527"/>
                <a:gd name="connsiteY15" fmla="*/ 52451 h 52578"/>
                <a:gd name="connsiteX16" fmla="*/ 46215 w 111527"/>
                <a:gd name="connsiteY16" fmla="*/ 52451 h 52578"/>
                <a:gd name="connsiteX17" fmla="*/ 46215 w 111527"/>
                <a:gd name="connsiteY17" fmla="*/ 28575 h 52578"/>
                <a:gd name="connsiteX18" fmla="*/ 44178 w 111527"/>
                <a:gd name="connsiteY18" fmla="*/ 17272 h 52578"/>
                <a:gd name="connsiteX19" fmla="*/ 33611 w 111527"/>
                <a:gd name="connsiteY19" fmla="*/ 14478 h 52578"/>
                <a:gd name="connsiteX20" fmla="*/ 21898 w 111527"/>
                <a:gd name="connsiteY20" fmla="*/ 17653 h 52578"/>
                <a:gd name="connsiteX21" fmla="*/ 19097 w 111527"/>
                <a:gd name="connsiteY21" fmla="*/ 31496 h 52578"/>
                <a:gd name="connsiteX22" fmla="*/ 19097 w 111527"/>
                <a:gd name="connsiteY22" fmla="*/ 52578 h 52578"/>
                <a:gd name="connsiteX23" fmla="*/ 0 w 111527"/>
                <a:gd name="connsiteY23" fmla="*/ 52578 h 52578"/>
                <a:gd name="connsiteX24" fmla="*/ 0 w 111527"/>
                <a:gd name="connsiteY24" fmla="*/ 1524 h 52578"/>
                <a:gd name="connsiteX25" fmla="*/ 18078 w 111527"/>
                <a:gd name="connsiteY25" fmla="*/ 1524 h 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1527" h="52578">
                  <a:moveTo>
                    <a:pt x="17951" y="1397"/>
                  </a:moveTo>
                  <a:lnTo>
                    <a:pt x="17951" y="9017"/>
                  </a:lnTo>
                  <a:lnTo>
                    <a:pt x="18970" y="9017"/>
                  </a:lnTo>
                  <a:cubicBezTo>
                    <a:pt x="21771" y="2921"/>
                    <a:pt x="28264" y="0"/>
                    <a:pt x="39595" y="0"/>
                  </a:cubicBezTo>
                  <a:cubicBezTo>
                    <a:pt x="51944" y="0"/>
                    <a:pt x="58692" y="3175"/>
                    <a:pt x="62893" y="10668"/>
                  </a:cubicBezTo>
                  <a:cubicBezTo>
                    <a:pt x="66203" y="3048"/>
                    <a:pt x="72442" y="0"/>
                    <a:pt x="84918" y="0"/>
                  </a:cubicBezTo>
                  <a:cubicBezTo>
                    <a:pt x="95486" y="0"/>
                    <a:pt x="101851" y="1905"/>
                    <a:pt x="106180" y="6604"/>
                  </a:cubicBezTo>
                  <a:cubicBezTo>
                    <a:pt x="110636" y="11176"/>
                    <a:pt x="111527" y="15367"/>
                    <a:pt x="111527" y="28575"/>
                  </a:cubicBezTo>
                  <a:lnTo>
                    <a:pt x="111527" y="52451"/>
                  </a:lnTo>
                  <a:lnTo>
                    <a:pt x="92430" y="52451"/>
                  </a:lnTo>
                  <a:lnTo>
                    <a:pt x="92430" y="28575"/>
                  </a:lnTo>
                  <a:cubicBezTo>
                    <a:pt x="92430" y="20066"/>
                    <a:pt x="92048" y="19050"/>
                    <a:pt x="90266" y="17272"/>
                  </a:cubicBezTo>
                  <a:cubicBezTo>
                    <a:pt x="88356" y="15367"/>
                    <a:pt x="85046" y="14478"/>
                    <a:pt x="79444" y="14478"/>
                  </a:cubicBezTo>
                  <a:cubicBezTo>
                    <a:pt x="73842" y="14478"/>
                    <a:pt x="70150" y="15494"/>
                    <a:pt x="68113" y="17653"/>
                  </a:cubicBezTo>
                  <a:cubicBezTo>
                    <a:pt x="65949" y="20066"/>
                    <a:pt x="65312" y="22987"/>
                    <a:pt x="65312" y="31369"/>
                  </a:cubicBezTo>
                  <a:lnTo>
                    <a:pt x="65312" y="52451"/>
                  </a:lnTo>
                  <a:lnTo>
                    <a:pt x="46215" y="52451"/>
                  </a:lnTo>
                  <a:lnTo>
                    <a:pt x="46215" y="28575"/>
                  </a:lnTo>
                  <a:cubicBezTo>
                    <a:pt x="46215" y="20574"/>
                    <a:pt x="45960" y="19177"/>
                    <a:pt x="44178" y="17272"/>
                  </a:cubicBezTo>
                  <a:cubicBezTo>
                    <a:pt x="42396" y="15367"/>
                    <a:pt x="39085" y="14478"/>
                    <a:pt x="33611" y="14478"/>
                  </a:cubicBezTo>
                  <a:cubicBezTo>
                    <a:pt x="28136" y="14478"/>
                    <a:pt x="24062" y="15494"/>
                    <a:pt x="21898" y="17653"/>
                  </a:cubicBezTo>
                  <a:cubicBezTo>
                    <a:pt x="19734" y="19812"/>
                    <a:pt x="19097" y="22987"/>
                    <a:pt x="19097" y="31496"/>
                  </a:cubicBezTo>
                  <a:lnTo>
                    <a:pt x="19097" y="52578"/>
                  </a:lnTo>
                  <a:lnTo>
                    <a:pt x="0" y="52578"/>
                  </a:lnTo>
                  <a:lnTo>
                    <a:pt x="0" y="1524"/>
                  </a:lnTo>
                  <a:lnTo>
                    <a:pt x="18078" y="1524"/>
                  </a:lnTo>
                  <a:close/>
                </a:path>
              </a:pathLst>
            </a:custGeom>
            <a:solidFill>
              <a:srgbClr val="FFFFFF"/>
            </a:solidFill>
            <a:ln w="0" cap="flat">
              <a:noFill/>
              <a:prstDash val="solid"/>
              <a:miter/>
            </a:ln>
          </p:spPr>
          <p:txBody>
            <a:bodyPr rtlCol="0" anchor="ctr"/>
            <a:lstStyle/>
            <a:p>
              <a:endParaRPr lang="en-AD" sz="2400"/>
            </a:p>
          </p:txBody>
        </p:sp>
        <p:sp>
          <p:nvSpPr>
            <p:cNvPr id="594" name="Freeform 593">
              <a:extLst>
                <a:ext uri="{FF2B5EF4-FFF2-40B4-BE49-F238E27FC236}">
                  <a16:creationId xmlns:a16="http://schemas.microsoft.com/office/drawing/2014/main" id="{501F31B0-6F3F-E517-E73D-B7E40451C58B}"/>
                </a:ext>
              </a:extLst>
            </p:cNvPr>
            <p:cNvSpPr/>
            <p:nvPr/>
          </p:nvSpPr>
          <p:spPr>
            <a:xfrm>
              <a:off x="4443285" y="4754498"/>
              <a:ext cx="12731" cy="12954"/>
            </a:xfrm>
            <a:custGeom>
              <a:avLst/>
              <a:gdLst>
                <a:gd name="connsiteX0" fmla="*/ 6366 w 12731"/>
                <a:gd name="connsiteY0" fmla="*/ 12954 h 12954"/>
                <a:gd name="connsiteX1" fmla="*/ 0 w 12731"/>
                <a:gd name="connsiteY1" fmla="*/ 6477 h 12954"/>
                <a:gd name="connsiteX2" fmla="*/ 6366 w 12731"/>
                <a:gd name="connsiteY2" fmla="*/ 0 h 12954"/>
                <a:gd name="connsiteX3" fmla="*/ 12731 w 12731"/>
                <a:gd name="connsiteY3" fmla="*/ 6477 h 12954"/>
                <a:gd name="connsiteX4" fmla="*/ 6366 w 12731"/>
                <a:gd name="connsiteY4" fmla="*/ 12954 h 12954"/>
                <a:gd name="connsiteX5" fmla="*/ 6366 w 12731"/>
                <a:gd name="connsiteY5" fmla="*/ 1143 h 12954"/>
                <a:gd name="connsiteX6" fmla="*/ 1400 w 12731"/>
                <a:gd name="connsiteY6" fmla="*/ 6477 h 12954"/>
                <a:gd name="connsiteX7" fmla="*/ 6366 w 12731"/>
                <a:gd name="connsiteY7" fmla="*/ 11811 h 12954"/>
                <a:gd name="connsiteX8" fmla="*/ 11331 w 12731"/>
                <a:gd name="connsiteY8" fmla="*/ 6477 h 12954"/>
                <a:gd name="connsiteX9" fmla="*/ 6366 w 12731"/>
                <a:gd name="connsiteY9" fmla="*/ 1143 h 12954"/>
                <a:gd name="connsiteX10" fmla="*/ 5092 w 12731"/>
                <a:gd name="connsiteY10" fmla="*/ 10160 h 12954"/>
                <a:gd name="connsiteX11" fmla="*/ 3947 w 12731"/>
                <a:gd name="connsiteY11" fmla="*/ 10160 h 12954"/>
                <a:gd name="connsiteX12" fmla="*/ 3947 w 12731"/>
                <a:gd name="connsiteY12" fmla="*/ 3048 h 12954"/>
                <a:gd name="connsiteX13" fmla="*/ 6620 w 12731"/>
                <a:gd name="connsiteY13" fmla="*/ 3048 h 12954"/>
                <a:gd name="connsiteX14" fmla="*/ 9294 w 12731"/>
                <a:gd name="connsiteY14" fmla="*/ 5080 h 12954"/>
                <a:gd name="connsiteX15" fmla="*/ 7384 w 12731"/>
                <a:gd name="connsiteY15" fmla="*/ 6985 h 12954"/>
                <a:gd name="connsiteX16" fmla="*/ 9421 w 12731"/>
                <a:gd name="connsiteY16" fmla="*/ 10160 h 12954"/>
                <a:gd name="connsiteX17" fmla="*/ 8148 w 12731"/>
                <a:gd name="connsiteY17" fmla="*/ 10160 h 12954"/>
                <a:gd name="connsiteX18" fmla="*/ 6238 w 12731"/>
                <a:gd name="connsiteY18" fmla="*/ 7112 h 12954"/>
                <a:gd name="connsiteX19" fmla="*/ 5092 w 12731"/>
                <a:gd name="connsiteY19" fmla="*/ 7112 h 12954"/>
                <a:gd name="connsiteX20" fmla="*/ 5092 w 12731"/>
                <a:gd name="connsiteY20" fmla="*/ 10160 h 12954"/>
                <a:gd name="connsiteX21" fmla="*/ 6493 w 12731"/>
                <a:gd name="connsiteY21" fmla="*/ 6096 h 12954"/>
                <a:gd name="connsiteX22" fmla="*/ 8148 w 12731"/>
                <a:gd name="connsiteY22" fmla="*/ 4953 h 12954"/>
                <a:gd name="connsiteX23" fmla="*/ 6620 w 12731"/>
                <a:gd name="connsiteY23" fmla="*/ 3937 h 12954"/>
                <a:gd name="connsiteX24" fmla="*/ 5220 w 12731"/>
                <a:gd name="connsiteY24" fmla="*/ 3937 h 12954"/>
                <a:gd name="connsiteX25" fmla="*/ 5220 w 12731"/>
                <a:gd name="connsiteY25" fmla="*/ 5969 h 12954"/>
                <a:gd name="connsiteX26" fmla="*/ 6493 w 12731"/>
                <a:gd name="connsiteY26" fmla="*/ 5969 h 1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731" h="12954">
                  <a:moveTo>
                    <a:pt x="6366" y="12954"/>
                  </a:moveTo>
                  <a:cubicBezTo>
                    <a:pt x="2673" y="12954"/>
                    <a:pt x="0" y="10160"/>
                    <a:pt x="0" y="6477"/>
                  </a:cubicBezTo>
                  <a:cubicBezTo>
                    <a:pt x="0" y="2540"/>
                    <a:pt x="2928" y="0"/>
                    <a:pt x="6366" y="0"/>
                  </a:cubicBezTo>
                  <a:cubicBezTo>
                    <a:pt x="9803" y="0"/>
                    <a:pt x="12731" y="2540"/>
                    <a:pt x="12731" y="6477"/>
                  </a:cubicBezTo>
                  <a:cubicBezTo>
                    <a:pt x="12731" y="10414"/>
                    <a:pt x="9803" y="12954"/>
                    <a:pt x="6366" y="12954"/>
                  </a:cubicBezTo>
                  <a:close/>
                  <a:moveTo>
                    <a:pt x="6366" y="1143"/>
                  </a:moveTo>
                  <a:cubicBezTo>
                    <a:pt x="3565" y="1143"/>
                    <a:pt x="1400" y="3302"/>
                    <a:pt x="1400" y="6477"/>
                  </a:cubicBezTo>
                  <a:cubicBezTo>
                    <a:pt x="1400" y="9398"/>
                    <a:pt x="3310" y="11811"/>
                    <a:pt x="6366" y="11811"/>
                  </a:cubicBezTo>
                  <a:cubicBezTo>
                    <a:pt x="9166" y="11811"/>
                    <a:pt x="11331" y="9652"/>
                    <a:pt x="11331" y="6477"/>
                  </a:cubicBezTo>
                  <a:cubicBezTo>
                    <a:pt x="11331" y="3302"/>
                    <a:pt x="9166" y="1143"/>
                    <a:pt x="6366" y="1143"/>
                  </a:cubicBezTo>
                  <a:close/>
                  <a:moveTo>
                    <a:pt x="5092" y="10160"/>
                  </a:moveTo>
                  <a:lnTo>
                    <a:pt x="3947" y="10160"/>
                  </a:lnTo>
                  <a:lnTo>
                    <a:pt x="3947" y="3048"/>
                  </a:lnTo>
                  <a:lnTo>
                    <a:pt x="6620" y="3048"/>
                  </a:lnTo>
                  <a:cubicBezTo>
                    <a:pt x="8402" y="3048"/>
                    <a:pt x="9294" y="3683"/>
                    <a:pt x="9294" y="5080"/>
                  </a:cubicBezTo>
                  <a:cubicBezTo>
                    <a:pt x="9294" y="6350"/>
                    <a:pt x="8530" y="6858"/>
                    <a:pt x="7384" y="6985"/>
                  </a:cubicBezTo>
                  <a:lnTo>
                    <a:pt x="9421" y="10160"/>
                  </a:lnTo>
                  <a:lnTo>
                    <a:pt x="8148" y="10160"/>
                  </a:lnTo>
                  <a:lnTo>
                    <a:pt x="6238" y="7112"/>
                  </a:lnTo>
                  <a:lnTo>
                    <a:pt x="5092" y="7112"/>
                  </a:lnTo>
                  <a:lnTo>
                    <a:pt x="5092" y="10160"/>
                  </a:lnTo>
                  <a:close/>
                  <a:moveTo>
                    <a:pt x="6493" y="6096"/>
                  </a:moveTo>
                  <a:cubicBezTo>
                    <a:pt x="7384" y="6096"/>
                    <a:pt x="8148" y="6096"/>
                    <a:pt x="8148" y="4953"/>
                  </a:cubicBezTo>
                  <a:cubicBezTo>
                    <a:pt x="8148" y="4064"/>
                    <a:pt x="7257" y="3937"/>
                    <a:pt x="6620" y="3937"/>
                  </a:cubicBezTo>
                  <a:lnTo>
                    <a:pt x="5220" y="3937"/>
                  </a:lnTo>
                  <a:lnTo>
                    <a:pt x="5220" y="5969"/>
                  </a:lnTo>
                  <a:lnTo>
                    <a:pt x="6493" y="5969"/>
                  </a:lnTo>
                  <a:close/>
                </a:path>
              </a:pathLst>
            </a:custGeom>
            <a:solidFill>
              <a:srgbClr val="FFFFFF"/>
            </a:solidFill>
            <a:ln w="0" cap="flat">
              <a:noFill/>
              <a:prstDash val="solid"/>
              <a:miter/>
            </a:ln>
          </p:spPr>
          <p:txBody>
            <a:bodyPr rtlCol="0" anchor="ctr"/>
            <a:lstStyle/>
            <a:p>
              <a:endParaRPr lang="en-AD" sz="2400"/>
            </a:p>
          </p:txBody>
        </p:sp>
        <p:sp>
          <p:nvSpPr>
            <p:cNvPr id="595" name="Freeform 594">
              <a:extLst>
                <a:ext uri="{FF2B5EF4-FFF2-40B4-BE49-F238E27FC236}">
                  <a16:creationId xmlns:a16="http://schemas.microsoft.com/office/drawing/2014/main" id="{8DEC6C2C-F080-E85D-7615-BCE0C3F9EDC5}"/>
                </a:ext>
              </a:extLst>
            </p:cNvPr>
            <p:cNvSpPr/>
            <p:nvPr/>
          </p:nvSpPr>
          <p:spPr>
            <a:xfrm>
              <a:off x="4420623" y="4845050"/>
              <a:ext cx="9294" cy="4571"/>
            </a:xfrm>
            <a:custGeom>
              <a:avLst/>
              <a:gdLst>
                <a:gd name="connsiteX0" fmla="*/ 1146 w 9294"/>
                <a:gd name="connsiteY0" fmla="*/ 2794 h 4571"/>
                <a:gd name="connsiteX1" fmla="*/ 1146 w 9294"/>
                <a:gd name="connsiteY1" fmla="*/ 1778 h 4571"/>
                <a:gd name="connsiteX2" fmla="*/ 1146 w 9294"/>
                <a:gd name="connsiteY2" fmla="*/ 1143 h 4571"/>
                <a:gd name="connsiteX3" fmla="*/ 1146 w 9294"/>
                <a:gd name="connsiteY3" fmla="*/ 762 h 4571"/>
                <a:gd name="connsiteX4" fmla="*/ 1146 w 9294"/>
                <a:gd name="connsiteY4" fmla="*/ 508 h 4571"/>
                <a:gd name="connsiteX5" fmla="*/ 891 w 9294"/>
                <a:gd name="connsiteY5" fmla="*/ 508 h 4571"/>
                <a:gd name="connsiteX6" fmla="*/ 509 w 9294"/>
                <a:gd name="connsiteY6" fmla="*/ 508 h 4571"/>
                <a:gd name="connsiteX7" fmla="*/ 0 w 9294"/>
                <a:gd name="connsiteY7" fmla="*/ 508 h 4571"/>
                <a:gd name="connsiteX8" fmla="*/ 0 w 9294"/>
                <a:gd name="connsiteY8" fmla="*/ 381 h 4571"/>
                <a:gd name="connsiteX9" fmla="*/ 0 w 9294"/>
                <a:gd name="connsiteY9" fmla="*/ 254 h 4571"/>
                <a:gd name="connsiteX10" fmla="*/ 0 w 9294"/>
                <a:gd name="connsiteY10" fmla="*/ 127 h 4571"/>
                <a:gd name="connsiteX11" fmla="*/ 0 w 9294"/>
                <a:gd name="connsiteY11" fmla="*/ 0 h 4571"/>
                <a:gd name="connsiteX12" fmla="*/ 255 w 9294"/>
                <a:gd name="connsiteY12" fmla="*/ 0 h 4571"/>
                <a:gd name="connsiteX13" fmla="*/ 637 w 9294"/>
                <a:gd name="connsiteY13" fmla="*/ 0 h 4571"/>
                <a:gd name="connsiteX14" fmla="*/ 1146 w 9294"/>
                <a:gd name="connsiteY14" fmla="*/ 0 h 4571"/>
                <a:gd name="connsiteX15" fmla="*/ 2037 w 9294"/>
                <a:gd name="connsiteY15" fmla="*/ 0 h 4571"/>
                <a:gd name="connsiteX16" fmla="*/ 2546 w 9294"/>
                <a:gd name="connsiteY16" fmla="*/ 0 h 4571"/>
                <a:gd name="connsiteX17" fmla="*/ 2928 w 9294"/>
                <a:gd name="connsiteY17" fmla="*/ 0 h 4571"/>
                <a:gd name="connsiteX18" fmla="*/ 3183 w 9294"/>
                <a:gd name="connsiteY18" fmla="*/ 0 h 4571"/>
                <a:gd name="connsiteX19" fmla="*/ 3183 w 9294"/>
                <a:gd name="connsiteY19" fmla="*/ 127 h 4571"/>
                <a:gd name="connsiteX20" fmla="*/ 3183 w 9294"/>
                <a:gd name="connsiteY20" fmla="*/ 254 h 4571"/>
                <a:gd name="connsiteX21" fmla="*/ 3183 w 9294"/>
                <a:gd name="connsiteY21" fmla="*/ 381 h 4571"/>
                <a:gd name="connsiteX22" fmla="*/ 3183 w 9294"/>
                <a:gd name="connsiteY22" fmla="*/ 508 h 4571"/>
                <a:gd name="connsiteX23" fmla="*/ 2674 w 9294"/>
                <a:gd name="connsiteY23" fmla="*/ 508 h 4571"/>
                <a:gd name="connsiteX24" fmla="*/ 2292 w 9294"/>
                <a:gd name="connsiteY24" fmla="*/ 508 h 4571"/>
                <a:gd name="connsiteX25" fmla="*/ 2037 w 9294"/>
                <a:gd name="connsiteY25" fmla="*/ 508 h 4571"/>
                <a:gd name="connsiteX26" fmla="*/ 2037 w 9294"/>
                <a:gd name="connsiteY26" fmla="*/ 762 h 4571"/>
                <a:gd name="connsiteX27" fmla="*/ 2037 w 9294"/>
                <a:gd name="connsiteY27" fmla="*/ 1143 h 4571"/>
                <a:gd name="connsiteX28" fmla="*/ 2037 w 9294"/>
                <a:gd name="connsiteY28" fmla="*/ 1778 h 4571"/>
                <a:gd name="connsiteX29" fmla="*/ 2037 w 9294"/>
                <a:gd name="connsiteY29" fmla="*/ 2794 h 4571"/>
                <a:gd name="connsiteX30" fmla="*/ 2037 w 9294"/>
                <a:gd name="connsiteY30" fmla="*/ 3683 h 4571"/>
                <a:gd name="connsiteX31" fmla="*/ 2037 w 9294"/>
                <a:gd name="connsiteY31" fmla="*/ 4318 h 4571"/>
                <a:gd name="connsiteX32" fmla="*/ 1783 w 9294"/>
                <a:gd name="connsiteY32" fmla="*/ 4318 h 4571"/>
                <a:gd name="connsiteX33" fmla="*/ 1528 w 9294"/>
                <a:gd name="connsiteY33" fmla="*/ 4318 h 4571"/>
                <a:gd name="connsiteX34" fmla="*/ 1273 w 9294"/>
                <a:gd name="connsiteY34" fmla="*/ 4318 h 4571"/>
                <a:gd name="connsiteX35" fmla="*/ 1019 w 9294"/>
                <a:gd name="connsiteY35" fmla="*/ 4318 h 4571"/>
                <a:gd name="connsiteX36" fmla="*/ 1019 w 9294"/>
                <a:gd name="connsiteY36" fmla="*/ 3683 h 4571"/>
                <a:gd name="connsiteX37" fmla="*/ 1019 w 9294"/>
                <a:gd name="connsiteY37" fmla="*/ 2794 h 4571"/>
                <a:gd name="connsiteX38" fmla="*/ 5857 w 9294"/>
                <a:gd name="connsiteY38" fmla="*/ 4318 h 4571"/>
                <a:gd name="connsiteX39" fmla="*/ 5475 w 9294"/>
                <a:gd name="connsiteY39" fmla="*/ 3683 h 4571"/>
                <a:gd name="connsiteX40" fmla="*/ 5093 w 9294"/>
                <a:gd name="connsiteY40" fmla="*/ 2921 h 4571"/>
                <a:gd name="connsiteX41" fmla="*/ 4711 w 9294"/>
                <a:gd name="connsiteY41" fmla="*/ 2159 h 4571"/>
                <a:gd name="connsiteX42" fmla="*/ 4456 w 9294"/>
                <a:gd name="connsiteY42" fmla="*/ 1524 h 4571"/>
                <a:gd name="connsiteX43" fmla="*/ 4456 w 9294"/>
                <a:gd name="connsiteY43" fmla="*/ 1524 h 4571"/>
                <a:gd name="connsiteX44" fmla="*/ 4456 w 9294"/>
                <a:gd name="connsiteY44" fmla="*/ 2286 h 4571"/>
                <a:gd name="connsiteX45" fmla="*/ 4456 w 9294"/>
                <a:gd name="connsiteY45" fmla="*/ 3048 h 4571"/>
                <a:gd name="connsiteX46" fmla="*/ 4456 w 9294"/>
                <a:gd name="connsiteY46" fmla="*/ 3810 h 4571"/>
                <a:gd name="connsiteX47" fmla="*/ 4456 w 9294"/>
                <a:gd name="connsiteY47" fmla="*/ 4445 h 4571"/>
                <a:gd name="connsiteX48" fmla="*/ 4329 w 9294"/>
                <a:gd name="connsiteY48" fmla="*/ 4445 h 4571"/>
                <a:gd name="connsiteX49" fmla="*/ 4202 w 9294"/>
                <a:gd name="connsiteY49" fmla="*/ 4445 h 4571"/>
                <a:gd name="connsiteX50" fmla="*/ 4202 w 9294"/>
                <a:gd name="connsiteY50" fmla="*/ 4445 h 4571"/>
                <a:gd name="connsiteX51" fmla="*/ 4202 w 9294"/>
                <a:gd name="connsiteY51" fmla="*/ 4445 h 4571"/>
                <a:gd name="connsiteX52" fmla="*/ 4584 w 9294"/>
                <a:gd name="connsiteY52" fmla="*/ 2286 h 4571"/>
                <a:gd name="connsiteX53" fmla="*/ 4838 w 9294"/>
                <a:gd name="connsiteY53" fmla="*/ 127 h 4571"/>
                <a:gd name="connsiteX54" fmla="*/ 5093 w 9294"/>
                <a:gd name="connsiteY54" fmla="*/ 127 h 4571"/>
                <a:gd name="connsiteX55" fmla="*/ 5347 w 9294"/>
                <a:gd name="connsiteY55" fmla="*/ 127 h 4571"/>
                <a:gd name="connsiteX56" fmla="*/ 5729 w 9294"/>
                <a:gd name="connsiteY56" fmla="*/ 889 h 4571"/>
                <a:gd name="connsiteX57" fmla="*/ 6111 w 9294"/>
                <a:gd name="connsiteY57" fmla="*/ 1778 h 4571"/>
                <a:gd name="connsiteX58" fmla="*/ 6493 w 9294"/>
                <a:gd name="connsiteY58" fmla="*/ 2540 h 4571"/>
                <a:gd name="connsiteX59" fmla="*/ 6748 w 9294"/>
                <a:gd name="connsiteY59" fmla="*/ 3175 h 4571"/>
                <a:gd name="connsiteX60" fmla="*/ 7512 w 9294"/>
                <a:gd name="connsiteY60" fmla="*/ 1651 h 4571"/>
                <a:gd name="connsiteX61" fmla="*/ 8276 w 9294"/>
                <a:gd name="connsiteY61" fmla="*/ 127 h 4571"/>
                <a:gd name="connsiteX62" fmla="*/ 8530 w 9294"/>
                <a:gd name="connsiteY62" fmla="*/ 127 h 4571"/>
                <a:gd name="connsiteX63" fmla="*/ 8785 w 9294"/>
                <a:gd name="connsiteY63" fmla="*/ 127 h 4571"/>
                <a:gd name="connsiteX64" fmla="*/ 9040 w 9294"/>
                <a:gd name="connsiteY64" fmla="*/ 2286 h 4571"/>
                <a:gd name="connsiteX65" fmla="*/ 9294 w 9294"/>
                <a:gd name="connsiteY65" fmla="*/ 4445 h 4571"/>
                <a:gd name="connsiteX66" fmla="*/ 9040 w 9294"/>
                <a:gd name="connsiteY66" fmla="*/ 4445 h 4571"/>
                <a:gd name="connsiteX67" fmla="*/ 8785 w 9294"/>
                <a:gd name="connsiteY67" fmla="*/ 4445 h 4571"/>
                <a:gd name="connsiteX68" fmla="*/ 8530 w 9294"/>
                <a:gd name="connsiteY68" fmla="*/ 4445 h 4571"/>
                <a:gd name="connsiteX69" fmla="*/ 8276 w 9294"/>
                <a:gd name="connsiteY69" fmla="*/ 4445 h 4571"/>
                <a:gd name="connsiteX70" fmla="*/ 8276 w 9294"/>
                <a:gd name="connsiteY70" fmla="*/ 3048 h 4571"/>
                <a:gd name="connsiteX71" fmla="*/ 8148 w 9294"/>
                <a:gd name="connsiteY71" fmla="*/ 1651 h 4571"/>
                <a:gd name="connsiteX72" fmla="*/ 8148 w 9294"/>
                <a:gd name="connsiteY72" fmla="*/ 1651 h 4571"/>
                <a:gd name="connsiteX73" fmla="*/ 7766 w 9294"/>
                <a:gd name="connsiteY73" fmla="*/ 2413 h 4571"/>
                <a:gd name="connsiteX74" fmla="*/ 7384 w 9294"/>
                <a:gd name="connsiteY74" fmla="*/ 3302 h 4571"/>
                <a:gd name="connsiteX75" fmla="*/ 7003 w 9294"/>
                <a:gd name="connsiteY75" fmla="*/ 4064 h 4571"/>
                <a:gd name="connsiteX76" fmla="*/ 6748 w 9294"/>
                <a:gd name="connsiteY76" fmla="*/ 4572 h 4571"/>
                <a:gd name="connsiteX77" fmla="*/ 6493 w 9294"/>
                <a:gd name="connsiteY77" fmla="*/ 4572 h 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9294" h="4571">
                  <a:moveTo>
                    <a:pt x="1146" y="2794"/>
                  </a:moveTo>
                  <a:cubicBezTo>
                    <a:pt x="1146" y="2794"/>
                    <a:pt x="1146" y="2032"/>
                    <a:pt x="1146" y="1778"/>
                  </a:cubicBezTo>
                  <a:cubicBezTo>
                    <a:pt x="1146" y="1524"/>
                    <a:pt x="1146" y="1270"/>
                    <a:pt x="1146" y="1143"/>
                  </a:cubicBezTo>
                  <a:cubicBezTo>
                    <a:pt x="1146" y="1016"/>
                    <a:pt x="1146" y="762"/>
                    <a:pt x="1146" y="762"/>
                  </a:cubicBezTo>
                  <a:cubicBezTo>
                    <a:pt x="1146" y="762"/>
                    <a:pt x="1146" y="635"/>
                    <a:pt x="1146" y="508"/>
                  </a:cubicBezTo>
                  <a:lnTo>
                    <a:pt x="891" y="508"/>
                  </a:lnTo>
                  <a:cubicBezTo>
                    <a:pt x="891" y="508"/>
                    <a:pt x="637" y="508"/>
                    <a:pt x="509" y="508"/>
                  </a:cubicBezTo>
                  <a:cubicBezTo>
                    <a:pt x="382" y="508"/>
                    <a:pt x="255" y="508"/>
                    <a:pt x="0" y="508"/>
                  </a:cubicBezTo>
                  <a:cubicBezTo>
                    <a:pt x="0" y="508"/>
                    <a:pt x="0" y="508"/>
                    <a:pt x="0" y="381"/>
                  </a:cubicBezTo>
                  <a:cubicBezTo>
                    <a:pt x="0" y="381"/>
                    <a:pt x="0" y="381"/>
                    <a:pt x="0" y="254"/>
                  </a:cubicBezTo>
                  <a:cubicBezTo>
                    <a:pt x="0" y="254"/>
                    <a:pt x="0" y="254"/>
                    <a:pt x="0" y="127"/>
                  </a:cubicBezTo>
                  <a:cubicBezTo>
                    <a:pt x="0" y="127"/>
                    <a:pt x="0" y="127"/>
                    <a:pt x="0" y="0"/>
                  </a:cubicBezTo>
                  <a:cubicBezTo>
                    <a:pt x="0" y="0"/>
                    <a:pt x="127" y="0"/>
                    <a:pt x="255" y="0"/>
                  </a:cubicBezTo>
                  <a:cubicBezTo>
                    <a:pt x="382" y="0"/>
                    <a:pt x="509" y="0"/>
                    <a:pt x="637" y="0"/>
                  </a:cubicBezTo>
                  <a:cubicBezTo>
                    <a:pt x="764" y="0"/>
                    <a:pt x="891" y="0"/>
                    <a:pt x="1146" y="0"/>
                  </a:cubicBezTo>
                  <a:lnTo>
                    <a:pt x="2037" y="0"/>
                  </a:lnTo>
                  <a:cubicBezTo>
                    <a:pt x="2037" y="0"/>
                    <a:pt x="2419" y="0"/>
                    <a:pt x="2546" y="0"/>
                  </a:cubicBezTo>
                  <a:cubicBezTo>
                    <a:pt x="2674" y="0"/>
                    <a:pt x="2801" y="0"/>
                    <a:pt x="2928" y="0"/>
                  </a:cubicBezTo>
                  <a:cubicBezTo>
                    <a:pt x="3056" y="0"/>
                    <a:pt x="3183" y="0"/>
                    <a:pt x="3183" y="0"/>
                  </a:cubicBezTo>
                  <a:cubicBezTo>
                    <a:pt x="3183" y="0"/>
                    <a:pt x="3183" y="0"/>
                    <a:pt x="3183" y="127"/>
                  </a:cubicBezTo>
                  <a:cubicBezTo>
                    <a:pt x="3183" y="127"/>
                    <a:pt x="3183" y="127"/>
                    <a:pt x="3183" y="254"/>
                  </a:cubicBezTo>
                  <a:cubicBezTo>
                    <a:pt x="3183" y="254"/>
                    <a:pt x="3183" y="254"/>
                    <a:pt x="3183" y="381"/>
                  </a:cubicBezTo>
                  <a:cubicBezTo>
                    <a:pt x="3183" y="381"/>
                    <a:pt x="3183" y="381"/>
                    <a:pt x="3183" y="508"/>
                  </a:cubicBezTo>
                  <a:cubicBezTo>
                    <a:pt x="2928" y="508"/>
                    <a:pt x="2801" y="508"/>
                    <a:pt x="2674" y="508"/>
                  </a:cubicBezTo>
                  <a:cubicBezTo>
                    <a:pt x="2546" y="508"/>
                    <a:pt x="2419" y="508"/>
                    <a:pt x="2292" y="508"/>
                  </a:cubicBezTo>
                  <a:lnTo>
                    <a:pt x="2037" y="508"/>
                  </a:lnTo>
                  <a:cubicBezTo>
                    <a:pt x="2037" y="508"/>
                    <a:pt x="2037" y="635"/>
                    <a:pt x="2037" y="762"/>
                  </a:cubicBezTo>
                  <a:cubicBezTo>
                    <a:pt x="2037" y="762"/>
                    <a:pt x="2037" y="1016"/>
                    <a:pt x="2037" y="1143"/>
                  </a:cubicBezTo>
                  <a:cubicBezTo>
                    <a:pt x="2037" y="1270"/>
                    <a:pt x="2037" y="1524"/>
                    <a:pt x="2037" y="1778"/>
                  </a:cubicBezTo>
                  <a:cubicBezTo>
                    <a:pt x="2037" y="2032"/>
                    <a:pt x="2037" y="2413"/>
                    <a:pt x="2037" y="2794"/>
                  </a:cubicBezTo>
                  <a:cubicBezTo>
                    <a:pt x="2037" y="3048"/>
                    <a:pt x="2037" y="3429"/>
                    <a:pt x="2037" y="3683"/>
                  </a:cubicBezTo>
                  <a:cubicBezTo>
                    <a:pt x="2037" y="3937"/>
                    <a:pt x="2037" y="4191"/>
                    <a:pt x="2037" y="4318"/>
                  </a:cubicBezTo>
                  <a:cubicBezTo>
                    <a:pt x="2037" y="4318"/>
                    <a:pt x="1910" y="4318"/>
                    <a:pt x="1783" y="4318"/>
                  </a:cubicBezTo>
                  <a:cubicBezTo>
                    <a:pt x="1783" y="4318"/>
                    <a:pt x="1655" y="4318"/>
                    <a:pt x="1528" y="4318"/>
                  </a:cubicBezTo>
                  <a:cubicBezTo>
                    <a:pt x="1401" y="4318"/>
                    <a:pt x="1401" y="4318"/>
                    <a:pt x="1273" y="4318"/>
                  </a:cubicBezTo>
                  <a:cubicBezTo>
                    <a:pt x="1273" y="4318"/>
                    <a:pt x="1146" y="4318"/>
                    <a:pt x="1019" y="4318"/>
                  </a:cubicBezTo>
                  <a:cubicBezTo>
                    <a:pt x="1019" y="4191"/>
                    <a:pt x="1019" y="3937"/>
                    <a:pt x="1019" y="3683"/>
                  </a:cubicBezTo>
                  <a:cubicBezTo>
                    <a:pt x="1019" y="3429"/>
                    <a:pt x="1019" y="3175"/>
                    <a:pt x="1019" y="2794"/>
                  </a:cubicBezTo>
                  <a:close/>
                  <a:moveTo>
                    <a:pt x="5857" y="4318"/>
                  </a:moveTo>
                  <a:cubicBezTo>
                    <a:pt x="5857" y="4318"/>
                    <a:pt x="5729" y="3937"/>
                    <a:pt x="5475" y="3683"/>
                  </a:cubicBezTo>
                  <a:cubicBezTo>
                    <a:pt x="5475" y="3429"/>
                    <a:pt x="5220" y="3175"/>
                    <a:pt x="5093" y="2921"/>
                  </a:cubicBezTo>
                  <a:cubicBezTo>
                    <a:pt x="4965" y="2667"/>
                    <a:pt x="4838" y="2413"/>
                    <a:pt x="4711" y="2159"/>
                  </a:cubicBezTo>
                  <a:cubicBezTo>
                    <a:pt x="4711" y="1905"/>
                    <a:pt x="4456" y="1778"/>
                    <a:pt x="4456" y="1524"/>
                  </a:cubicBezTo>
                  <a:lnTo>
                    <a:pt x="4456" y="1524"/>
                  </a:lnTo>
                  <a:cubicBezTo>
                    <a:pt x="4456" y="1524"/>
                    <a:pt x="4456" y="2032"/>
                    <a:pt x="4456" y="2286"/>
                  </a:cubicBezTo>
                  <a:cubicBezTo>
                    <a:pt x="4456" y="2540"/>
                    <a:pt x="4456" y="2794"/>
                    <a:pt x="4456" y="3048"/>
                  </a:cubicBezTo>
                  <a:cubicBezTo>
                    <a:pt x="4456" y="3302"/>
                    <a:pt x="4456" y="3556"/>
                    <a:pt x="4456" y="3810"/>
                  </a:cubicBezTo>
                  <a:cubicBezTo>
                    <a:pt x="4456" y="4064"/>
                    <a:pt x="4456" y="4191"/>
                    <a:pt x="4456" y="4445"/>
                  </a:cubicBezTo>
                  <a:cubicBezTo>
                    <a:pt x="4456" y="4445"/>
                    <a:pt x="4456" y="4445"/>
                    <a:pt x="4329" y="4445"/>
                  </a:cubicBezTo>
                  <a:cubicBezTo>
                    <a:pt x="4329" y="4445"/>
                    <a:pt x="4329" y="4445"/>
                    <a:pt x="4202" y="4445"/>
                  </a:cubicBezTo>
                  <a:cubicBezTo>
                    <a:pt x="4202" y="4445"/>
                    <a:pt x="4202" y="4445"/>
                    <a:pt x="4202" y="4445"/>
                  </a:cubicBezTo>
                  <a:cubicBezTo>
                    <a:pt x="4202" y="4445"/>
                    <a:pt x="4202" y="4445"/>
                    <a:pt x="4202" y="4445"/>
                  </a:cubicBezTo>
                  <a:cubicBezTo>
                    <a:pt x="4329" y="3683"/>
                    <a:pt x="4456" y="3048"/>
                    <a:pt x="4584" y="2286"/>
                  </a:cubicBezTo>
                  <a:cubicBezTo>
                    <a:pt x="4584" y="1524"/>
                    <a:pt x="4838" y="889"/>
                    <a:pt x="4838" y="127"/>
                  </a:cubicBezTo>
                  <a:cubicBezTo>
                    <a:pt x="4838" y="127"/>
                    <a:pt x="4965" y="127"/>
                    <a:pt x="5093" y="127"/>
                  </a:cubicBezTo>
                  <a:cubicBezTo>
                    <a:pt x="5093" y="127"/>
                    <a:pt x="5347" y="127"/>
                    <a:pt x="5347" y="127"/>
                  </a:cubicBezTo>
                  <a:cubicBezTo>
                    <a:pt x="5347" y="381"/>
                    <a:pt x="5602" y="635"/>
                    <a:pt x="5729" y="889"/>
                  </a:cubicBezTo>
                  <a:cubicBezTo>
                    <a:pt x="5857" y="1143"/>
                    <a:pt x="5984" y="1524"/>
                    <a:pt x="6111" y="1778"/>
                  </a:cubicBezTo>
                  <a:cubicBezTo>
                    <a:pt x="6239" y="2032"/>
                    <a:pt x="6366" y="2286"/>
                    <a:pt x="6493" y="2540"/>
                  </a:cubicBezTo>
                  <a:cubicBezTo>
                    <a:pt x="6493" y="2794"/>
                    <a:pt x="6748" y="2921"/>
                    <a:pt x="6748" y="3175"/>
                  </a:cubicBezTo>
                  <a:cubicBezTo>
                    <a:pt x="7003" y="2667"/>
                    <a:pt x="7257" y="2159"/>
                    <a:pt x="7512" y="1651"/>
                  </a:cubicBezTo>
                  <a:cubicBezTo>
                    <a:pt x="7766" y="1143"/>
                    <a:pt x="8021" y="635"/>
                    <a:pt x="8276" y="127"/>
                  </a:cubicBezTo>
                  <a:cubicBezTo>
                    <a:pt x="8276" y="127"/>
                    <a:pt x="8403" y="127"/>
                    <a:pt x="8530" y="127"/>
                  </a:cubicBezTo>
                  <a:cubicBezTo>
                    <a:pt x="8658" y="127"/>
                    <a:pt x="8658" y="127"/>
                    <a:pt x="8785" y="127"/>
                  </a:cubicBezTo>
                  <a:cubicBezTo>
                    <a:pt x="8785" y="889"/>
                    <a:pt x="8912" y="1651"/>
                    <a:pt x="9040" y="2286"/>
                  </a:cubicBezTo>
                  <a:cubicBezTo>
                    <a:pt x="9040" y="3048"/>
                    <a:pt x="9167" y="3683"/>
                    <a:pt x="9294" y="4445"/>
                  </a:cubicBezTo>
                  <a:cubicBezTo>
                    <a:pt x="9294" y="4445"/>
                    <a:pt x="9040" y="4445"/>
                    <a:pt x="9040" y="4445"/>
                  </a:cubicBezTo>
                  <a:cubicBezTo>
                    <a:pt x="9040" y="4445"/>
                    <a:pt x="8912" y="4445"/>
                    <a:pt x="8785" y="4445"/>
                  </a:cubicBezTo>
                  <a:cubicBezTo>
                    <a:pt x="8785" y="4445"/>
                    <a:pt x="8658" y="4445"/>
                    <a:pt x="8530" y="4445"/>
                  </a:cubicBezTo>
                  <a:cubicBezTo>
                    <a:pt x="8530" y="4445"/>
                    <a:pt x="8403" y="4445"/>
                    <a:pt x="8276" y="4445"/>
                  </a:cubicBezTo>
                  <a:cubicBezTo>
                    <a:pt x="8276" y="3937"/>
                    <a:pt x="8276" y="3429"/>
                    <a:pt x="8276" y="3048"/>
                  </a:cubicBezTo>
                  <a:cubicBezTo>
                    <a:pt x="8276" y="2540"/>
                    <a:pt x="8276" y="2032"/>
                    <a:pt x="8148" y="1651"/>
                  </a:cubicBezTo>
                  <a:lnTo>
                    <a:pt x="8148" y="1651"/>
                  </a:lnTo>
                  <a:cubicBezTo>
                    <a:pt x="8148" y="1651"/>
                    <a:pt x="7894" y="2159"/>
                    <a:pt x="7766" y="2413"/>
                  </a:cubicBezTo>
                  <a:cubicBezTo>
                    <a:pt x="7639" y="2667"/>
                    <a:pt x="7512" y="3048"/>
                    <a:pt x="7384" y="3302"/>
                  </a:cubicBezTo>
                  <a:cubicBezTo>
                    <a:pt x="7257" y="3556"/>
                    <a:pt x="7130" y="3810"/>
                    <a:pt x="7003" y="4064"/>
                  </a:cubicBezTo>
                  <a:cubicBezTo>
                    <a:pt x="7003" y="4318"/>
                    <a:pt x="6875" y="4445"/>
                    <a:pt x="6748" y="4572"/>
                  </a:cubicBezTo>
                  <a:lnTo>
                    <a:pt x="6493" y="4572"/>
                  </a:lnTo>
                  <a:close/>
                </a:path>
              </a:pathLst>
            </a:custGeom>
            <a:solidFill>
              <a:srgbClr val="FFFFFF"/>
            </a:solidFill>
            <a:ln w="0" cap="flat">
              <a:noFill/>
              <a:prstDash val="solid"/>
              <a:miter/>
            </a:ln>
          </p:spPr>
          <p:txBody>
            <a:bodyPr rtlCol="0" anchor="ctr"/>
            <a:lstStyle/>
            <a:p>
              <a:endParaRPr lang="en-AD" sz="2400"/>
            </a:p>
          </p:txBody>
        </p:sp>
        <p:sp>
          <p:nvSpPr>
            <p:cNvPr id="596" name="Freeform 595">
              <a:extLst>
                <a:ext uri="{FF2B5EF4-FFF2-40B4-BE49-F238E27FC236}">
                  <a16:creationId xmlns:a16="http://schemas.microsoft.com/office/drawing/2014/main" id="{8223B66D-BC37-CE00-B714-F429C697B13A}"/>
                </a:ext>
              </a:extLst>
            </p:cNvPr>
            <p:cNvSpPr/>
            <p:nvPr/>
          </p:nvSpPr>
          <p:spPr>
            <a:xfrm>
              <a:off x="3992847" y="4820158"/>
              <a:ext cx="452220" cy="13970"/>
            </a:xfrm>
            <a:custGeom>
              <a:avLst/>
              <a:gdLst>
                <a:gd name="connsiteX0" fmla="*/ 452220 w 452220"/>
                <a:gd name="connsiteY0" fmla="*/ 0 h 13970"/>
                <a:gd name="connsiteX1" fmla="*/ 25335 w 452220"/>
                <a:gd name="connsiteY1" fmla="*/ 0 h 13970"/>
                <a:gd name="connsiteX2" fmla="*/ 0 w 452220"/>
                <a:gd name="connsiteY2" fmla="*/ 13970 h 13970"/>
                <a:gd name="connsiteX3" fmla="*/ 426758 w 452220"/>
                <a:gd name="connsiteY3" fmla="*/ 13970 h 13970"/>
                <a:gd name="connsiteX4" fmla="*/ 452220 w 452220"/>
                <a:gd name="connsiteY4" fmla="*/ 0 h 13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220" h="13970">
                  <a:moveTo>
                    <a:pt x="452220" y="0"/>
                  </a:moveTo>
                  <a:lnTo>
                    <a:pt x="25335" y="0"/>
                  </a:lnTo>
                  <a:lnTo>
                    <a:pt x="0" y="13970"/>
                  </a:lnTo>
                  <a:lnTo>
                    <a:pt x="426758" y="13970"/>
                  </a:lnTo>
                  <a:lnTo>
                    <a:pt x="452220" y="0"/>
                  </a:lnTo>
                  <a:close/>
                </a:path>
              </a:pathLst>
            </a:custGeom>
            <a:solidFill>
              <a:srgbClr val="FFFFFF"/>
            </a:solidFill>
            <a:ln w="0" cap="flat">
              <a:noFill/>
              <a:prstDash val="solid"/>
              <a:miter/>
            </a:ln>
          </p:spPr>
          <p:txBody>
            <a:bodyPr rtlCol="0" anchor="ctr"/>
            <a:lstStyle/>
            <a:p>
              <a:endParaRPr lang="en-AD" sz="2400"/>
            </a:p>
          </p:txBody>
        </p:sp>
        <p:sp>
          <p:nvSpPr>
            <p:cNvPr id="597" name="Freeform 596">
              <a:extLst>
                <a:ext uri="{FF2B5EF4-FFF2-40B4-BE49-F238E27FC236}">
                  <a16:creationId xmlns:a16="http://schemas.microsoft.com/office/drawing/2014/main" id="{084F9327-7A44-4682-AFBF-A715CE10E7C9}"/>
                </a:ext>
              </a:extLst>
            </p:cNvPr>
            <p:cNvSpPr/>
            <p:nvPr/>
          </p:nvSpPr>
          <p:spPr>
            <a:xfrm>
              <a:off x="3964328" y="4799076"/>
              <a:ext cx="25972" cy="37210"/>
            </a:xfrm>
            <a:custGeom>
              <a:avLst/>
              <a:gdLst>
                <a:gd name="connsiteX0" fmla="*/ 25972 w 25972"/>
                <a:gd name="connsiteY0" fmla="*/ 0 h 37210"/>
                <a:gd name="connsiteX1" fmla="*/ 127 w 25972"/>
                <a:gd name="connsiteY1" fmla="*/ 13462 h 37210"/>
                <a:gd name="connsiteX2" fmla="*/ 0 w 25972"/>
                <a:gd name="connsiteY2" fmla="*/ 37211 h 37210"/>
                <a:gd name="connsiteX3" fmla="*/ 25590 w 25972"/>
                <a:gd name="connsiteY3" fmla="*/ 22987 h 37210"/>
                <a:gd name="connsiteX4" fmla="*/ 25972 w 25972"/>
                <a:gd name="connsiteY4" fmla="*/ 0 h 3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2" h="37210">
                  <a:moveTo>
                    <a:pt x="25972" y="0"/>
                  </a:moveTo>
                  <a:lnTo>
                    <a:pt x="127" y="13462"/>
                  </a:lnTo>
                  <a:lnTo>
                    <a:pt x="0" y="37211"/>
                  </a:lnTo>
                  <a:lnTo>
                    <a:pt x="25590" y="22987"/>
                  </a:lnTo>
                  <a:lnTo>
                    <a:pt x="25972" y="0"/>
                  </a:lnTo>
                  <a:close/>
                </a:path>
              </a:pathLst>
            </a:custGeom>
            <a:solidFill>
              <a:srgbClr val="FFFFFF"/>
            </a:solidFill>
            <a:ln w="0" cap="flat">
              <a:noFill/>
              <a:prstDash val="solid"/>
              <a:miter/>
            </a:ln>
          </p:spPr>
          <p:txBody>
            <a:bodyPr rtlCol="0" anchor="ctr"/>
            <a:lstStyle/>
            <a:p>
              <a:endParaRPr lang="en-AD" sz="2400"/>
            </a:p>
          </p:txBody>
        </p:sp>
        <p:sp>
          <p:nvSpPr>
            <p:cNvPr id="598" name="Freeform 597">
              <a:extLst>
                <a:ext uri="{FF2B5EF4-FFF2-40B4-BE49-F238E27FC236}">
                  <a16:creationId xmlns:a16="http://schemas.microsoft.com/office/drawing/2014/main" id="{A4B5C860-2F03-7911-34C1-E235E09CB132}"/>
                </a:ext>
              </a:extLst>
            </p:cNvPr>
            <p:cNvSpPr/>
            <p:nvPr/>
          </p:nvSpPr>
          <p:spPr>
            <a:xfrm>
              <a:off x="3941284" y="4792090"/>
              <a:ext cx="20497" cy="43053"/>
            </a:xfrm>
            <a:custGeom>
              <a:avLst/>
              <a:gdLst>
                <a:gd name="connsiteX0" fmla="*/ 20498 w 20497"/>
                <a:gd name="connsiteY0" fmla="*/ 19939 h 43053"/>
                <a:gd name="connsiteX1" fmla="*/ 382 w 20497"/>
                <a:gd name="connsiteY1" fmla="*/ 0 h 43053"/>
                <a:gd name="connsiteX2" fmla="*/ 0 w 20497"/>
                <a:gd name="connsiteY2" fmla="*/ 19939 h 43053"/>
                <a:gd name="connsiteX3" fmla="*/ 20370 w 20497"/>
                <a:gd name="connsiteY3" fmla="*/ 43053 h 43053"/>
                <a:gd name="connsiteX4" fmla="*/ 20498 w 20497"/>
                <a:gd name="connsiteY4" fmla="*/ 19939 h 4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97" h="43053">
                  <a:moveTo>
                    <a:pt x="20498" y="19939"/>
                  </a:moveTo>
                  <a:lnTo>
                    <a:pt x="382" y="0"/>
                  </a:lnTo>
                  <a:lnTo>
                    <a:pt x="0" y="19939"/>
                  </a:lnTo>
                  <a:lnTo>
                    <a:pt x="20370" y="43053"/>
                  </a:lnTo>
                  <a:lnTo>
                    <a:pt x="20498" y="19939"/>
                  </a:lnTo>
                  <a:close/>
                </a:path>
              </a:pathLst>
            </a:custGeom>
            <a:solidFill>
              <a:srgbClr val="FFFFFF"/>
            </a:solidFill>
            <a:ln w="0" cap="flat">
              <a:noFill/>
              <a:prstDash val="solid"/>
              <a:miter/>
            </a:ln>
          </p:spPr>
          <p:txBody>
            <a:bodyPr rtlCol="0" anchor="ctr"/>
            <a:lstStyle/>
            <a:p>
              <a:endParaRPr lang="en-AD" sz="2400"/>
            </a:p>
          </p:txBody>
        </p:sp>
        <p:sp>
          <p:nvSpPr>
            <p:cNvPr id="599" name="Freeform 598">
              <a:extLst>
                <a:ext uri="{FF2B5EF4-FFF2-40B4-BE49-F238E27FC236}">
                  <a16:creationId xmlns:a16="http://schemas.microsoft.com/office/drawing/2014/main" id="{9AF2D248-1390-821B-1EB1-AAFD5E28215F}"/>
                </a:ext>
              </a:extLst>
            </p:cNvPr>
            <p:cNvSpPr/>
            <p:nvPr/>
          </p:nvSpPr>
          <p:spPr>
            <a:xfrm>
              <a:off x="3921805" y="4734940"/>
              <a:ext cx="43796" cy="26924"/>
            </a:xfrm>
            <a:custGeom>
              <a:avLst/>
              <a:gdLst>
                <a:gd name="connsiteX0" fmla="*/ 0 w 43796"/>
                <a:gd name="connsiteY0" fmla="*/ 9906 h 26924"/>
                <a:gd name="connsiteX1" fmla="*/ 18588 w 43796"/>
                <a:gd name="connsiteY1" fmla="*/ 26924 h 26924"/>
                <a:gd name="connsiteX2" fmla="*/ 43796 w 43796"/>
                <a:gd name="connsiteY2" fmla="*/ 15621 h 26924"/>
                <a:gd name="connsiteX3" fmla="*/ 24699 w 43796"/>
                <a:gd name="connsiteY3" fmla="*/ 0 h 26924"/>
                <a:gd name="connsiteX4" fmla="*/ 0 w 43796"/>
                <a:gd name="connsiteY4" fmla="*/ 9906 h 26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6" h="26924">
                  <a:moveTo>
                    <a:pt x="0" y="9906"/>
                  </a:moveTo>
                  <a:lnTo>
                    <a:pt x="18588" y="26924"/>
                  </a:lnTo>
                  <a:lnTo>
                    <a:pt x="43796" y="15621"/>
                  </a:lnTo>
                  <a:lnTo>
                    <a:pt x="24699" y="0"/>
                  </a:lnTo>
                  <a:lnTo>
                    <a:pt x="0" y="9906"/>
                  </a:lnTo>
                  <a:close/>
                </a:path>
              </a:pathLst>
            </a:custGeom>
            <a:solidFill>
              <a:srgbClr val="FFFFFF"/>
            </a:solidFill>
            <a:ln w="0" cap="flat">
              <a:noFill/>
              <a:prstDash val="solid"/>
              <a:miter/>
            </a:ln>
          </p:spPr>
          <p:txBody>
            <a:bodyPr rtlCol="0" anchor="ctr"/>
            <a:lstStyle/>
            <a:p>
              <a:endParaRPr lang="en-AD" sz="2400"/>
            </a:p>
          </p:txBody>
        </p:sp>
        <p:sp>
          <p:nvSpPr>
            <p:cNvPr id="600" name="Freeform 599">
              <a:extLst>
                <a:ext uri="{FF2B5EF4-FFF2-40B4-BE49-F238E27FC236}">
                  <a16:creationId xmlns:a16="http://schemas.microsoft.com/office/drawing/2014/main" id="{DF2FD7E5-5BF3-6EC9-2E89-E21F48CEA114}"/>
                </a:ext>
              </a:extLst>
            </p:cNvPr>
            <p:cNvSpPr/>
            <p:nvPr/>
          </p:nvSpPr>
          <p:spPr>
            <a:xfrm>
              <a:off x="3920405" y="4747386"/>
              <a:ext cx="18969" cy="38353"/>
            </a:xfrm>
            <a:custGeom>
              <a:avLst/>
              <a:gdLst>
                <a:gd name="connsiteX0" fmla="*/ 0 w 18969"/>
                <a:gd name="connsiteY0" fmla="*/ 19939 h 38353"/>
                <a:gd name="connsiteX1" fmla="*/ 18588 w 18969"/>
                <a:gd name="connsiteY1" fmla="*/ 38354 h 38353"/>
                <a:gd name="connsiteX2" fmla="*/ 18970 w 18969"/>
                <a:gd name="connsiteY2" fmla="*/ 17272 h 38353"/>
                <a:gd name="connsiteX3" fmla="*/ 0 w 18969"/>
                <a:gd name="connsiteY3" fmla="*/ 0 h 38353"/>
                <a:gd name="connsiteX4" fmla="*/ 0 w 18969"/>
                <a:gd name="connsiteY4" fmla="*/ 19939 h 38353"/>
                <a:gd name="connsiteX5" fmla="*/ 0 w 18969"/>
                <a:gd name="connsiteY5" fmla="*/ 19939 h 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69" h="38353">
                  <a:moveTo>
                    <a:pt x="0" y="19939"/>
                  </a:moveTo>
                  <a:lnTo>
                    <a:pt x="18588" y="38354"/>
                  </a:lnTo>
                  <a:lnTo>
                    <a:pt x="18970" y="17272"/>
                  </a:lnTo>
                  <a:lnTo>
                    <a:pt x="0" y="0"/>
                  </a:lnTo>
                  <a:lnTo>
                    <a:pt x="0" y="19939"/>
                  </a:lnTo>
                  <a:lnTo>
                    <a:pt x="0" y="19939"/>
                  </a:lnTo>
                  <a:close/>
                </a:path>
              </a:pathLst>
            </a:custGeom>
            <a:solidFill>
              <a:srgbClr val="FFFFFF"/>
            </a:solidFill>
            <a:ln w="0" cap="flat">
              <a:noFill/>
              <a:prstDash val="solid"/>
              <a:miter/>
            </a:ln>
          </p:spPr>
          <p:txBody>
            <a:bodyPr rtlCol="0" anchor="ctr"/>
            <a:lstStyle/>
            <a:p>
              <a:endParaRPr lang="en-AD" sz="2400"/>
            </a:p>
          </p:txBody>
        </p:sp>
        <p:sp>
          <p:nvSpPr>
            <p:cNvPr id="601" name="Freeform 600">
              <a:extLst>
                <a:ext uri="{FF2B5EF4-FFF2-40B4-BE49-F238E27FC236}">
                  <a16:creationId xmlns:a16="http://schemas.microsoft.com/office/drawing/2014/main" id="{1E6B3334-9BE8-299D-83F7-CF4EA3D9F0FB}"/>
                </a:ext>
              </a:extLst>
            </p:cNvPr>
            <p:cNvSpPr/>
            <p:nvPr/>
          </p:nvSpPr>
          <p:spPr>
            <a:xfrm>
              <a:off x="3941666" y="4767071"/>
              <a:ext cx="20242" cy="41148"/>
            </a:xfrm>
            <a:custGeom>
              <a:avLst/>
              <a:gdLst>
                <a:gd name="connsiteX0" fmla="*/ 0 w 20242"/>
                <a:gd name="connsiteY0" fmla="*/ 21336 h 41148"/>
                <a:gd name="connsiteX1" fmla="*/ 20116 w 20242"/>
                <a:gd name="connsiteY1" fmla="*/ 41148 h 41148"/>
                <a:gd name="connsiteX2" fmla="*/ 20243 w 20242"/>
                <a:gd name="connsiteY2" fmla="*/ 18161 h 41148"/>
                <a:gd name="connsiteX3" fmla="*/ 382 w 20242"/>
                <a:gd name="connsiteY3" fmla="*/ 0 h 41148"/>
                <a:gd name="connsiteX4" fmla="*/ 0 w 20242"/>
                <a:gd name="connsiteY4" fmla="*/ 21336 h 4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2" h="41148">
                  <a:moveTo>
                    <a:pt x="0" y="21336"/>
                  </a:moveTo>
                  <a:lnTo>
                    <a:pt x="20116" y="41148"/>
                  </a:lnTo>
                  <a:lnTo>
                    <a:pt x="20243" y="18161"/>
                  </a:lnTo>
                  <a:lnTo>
                    <a:pt x="382" y="0"/>
                  </a:lnTo>
                  <a:lnTo>
                    <a:pt x="0" y="21336"/>
                  </a:lnTo>
                  <a:close/>
                </a:path>
              </a:pathLst>
            </a:custGeom>
            <a:solidFill>
              <a:srgbClr val="FFFFFF"/>
            </a:solidFill>
            <a:ln w="0" cap="flat">
              <a:noFill/>
              <a:prstDash val="solid"/>
              <a:miter/>
            </a:ln>
          </p:spPr>
          <p:txBody>
            <a:bodyPr rtlCol="0" anchor="ctr"/>
            <a:lstStyle/>
            <a:p>
              <a:endParaRPr lang="en-AD" sz="2400"/>
            </a:p>
          </p:txBody>
        </p:sp>
        <p:sp>
          <p:nvSpPr>
            <p:cNvPr id="602" name="Freeform 601">
              <a:extLst>
                <a:ext uri="{FF2B5EF4-FFF2-40B4-BE49-F238E27FC236}">
                  <a16:creationId xmlns:a16="http://schemas.microsoft.com/office/drawing/2014/main" id="{50FA1200-32BF-6443-AF19-F367F816CFD4}"/>
                </a:ext>
              </a:extLst>
            </p:cNvPr>
            <p:cNvSpPr/>
            <p:nvPr/>
          </p:nvSpPr>
          <p:spPr>
            <a:xfrm>
              <a:off x="3964455" y="4772152"/>
              <a:ext cx="26099" cy="37338"/>
            </a:xfrm>
            <a:custGeom>
              <a:avLst/>
              <a:gdLst>
                <a:gd name="connsiteX0" fmla="*/ 0 w 26099"/>
                <a:gd name="connsiteY0" fmla="*/ 37338 h 37338"/>
                <a:gd name="connsiteX1" fmla="*/ 25845 w 26099"/>
                <a:gd name="connsiteY1" fmla="*/ 23749 h 37338"/>
                <a:gd name="connsiteX2" fmla="*/ 26099 w 26099"/>
                <a:gd name="connsiteY2" fmla="*/ 0 h 37338"/>
                <a:gd name="connsiteX3" fmla="*/ 509 w 26099"/>
                <a:gd name="connsiteY3" fmla="*/ 13208 h 37338"/>
                <a:gd name="connsiteX4" fmla="*/ 127 w 26099"/>
                <a:gd name="connsiteY4" fmla="*/ 13462 h 37338"/>
                <a:gd name="connsiteX5" fmla="*/ 0 w 26099"/>
                <a:gd name="connsiteY5" fmla="*/ 37338 h 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99" h="37338">
                  <a:moveTo>
                    <a:pt x="0" y="37338"/>
                  </a:moveTo>
                  <a:lnTo>
                    <a:pt x="25845" y="23749"/>
                  </a:lnTo>
                  <a:lnTo>
                    <a:pt x="26099" y="0"/>
                  </a:lnTo>
                  <a:lnTo>
                    <a:pt x="509" y="13208"/>
                  </a:lnTo>
                  <a:lnTo>
                    <a:pt x="127" y="13462"/>
                  </a:lnTo>
                  <a:lnTo>
                    <a:pt x="0" y="37338"/>
                  </a:lnTo>
                  <a:close/>
                </a:path>
              </a:pathLst>
            </a:custGeom>
            <a:solidFill>
              <a:srgbClr val="FFFFFF"/>
            </a:solidFill>
            <a:ln w="0" cap="flat">
              <a:noFill/>
              <a:prstDash val="solid"/>
              <a:miter/>
            </a:ln>
          </p:spPr>
          <p:txBody>
            <a:bodyPr rtlCol="0" anchor="ctr"/>
            <a:lstStyle/>
            <a:p>
              <a:endParaRPr lang="en-AD" sz="2400"/>
            </a:p>
          </p:txBody>
        </p:sp>
        <p:sp>
          <p:nvSpPr>
            <p:cNvPr id="603" name="Freeform 602">
              <a:extLst>
                <a:ext uri="{FF2B5EF4-FFF2-40B4-BE49-F238E27FC236}">
                  <a16:creationId xmlns:a16="http://schemas.microsoft.com/office/drawing/2014/main" id="{F7916F02-DC6A-4406-3E84-86CC0DA7629E}"/>
                </a:ext>
              </a:extLst>
            </p:cNvPr>
            <p:cNvSpPr/>
            <p:nvPr/>
          </p:nvSpPr>
          <p:spPr>
            <a:xfrm>
              <a:off x="3949432" y="4724146"/>
              <a:ext cx="42904" cy="25272"/>
            </a:xfrm>
            <a:custGeom>
              <a:avLst/>
              <a:gdLst>
                <a:gd name="connsiteX0" fmla="*/ 18970 w 42904"/>
                <a:gd name="connsiteY0" fmla="*/ 25273 h 25272"/>
                <a:gd name="connsiteX1" fmla="*/ 42905 w 42904"/>
                <a:gd name="connsiteY1" fmla="*/ 14478 h 25272"/>
                <a:gd name="connsiteX2" fmla="*/ 23935 w 42904"/>
                <a:gd name="connsiteY2" fmla="*/ 0 h 25272"/>
                <a:gd name="connsiteX3" fmla="*/ 0 w 42904"/>
                <a:gd name="connsiteY3" fmla="*/ 9652 h 25272"/>
                <a:gd name="connsiteX4" fmla="*/ 18970 w 42904"/>
                <a:gd name="connsiteY4" fmla="*/ 25273 h 2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04" h="25272">
                  <a:moveTo>
                    <a:pt x="18970" y="25273"/>
                  </a:moveTo>
                  <a:lnTo>
                    <a:pt x="42905" y="14478"/>
                  </a:lnTo>
                  <a:lnTo>
                    <a:pt x="23935" y="0"/>
                  </a:lnTo>
                  <a:lnTo>
                    <a:pt x="0" y="9652"/>
                  </a:lnTo>
                  <a:lnTo>
                    <a:pt x="18970" y="25273"/>
                  </a:lnTo>
                  <a:close/>
                </a:path>
              </a:pathLst>
            </a:custGeom>
            <a:solidFill>
              <a:srgbClr val="FFFFFF"/>
            </a:solidFill>
            <a:ln w="0" cap="flat">
              <a:noFill/>
              <a:prstDash val="solid"/>
              <a:miter/>
            </a:ln>
          </p:spPr>
          <p:txBody>
            <a:bodyPr rtlCol="0" anchor="ctr"/>
            <a:lstStyle/>
            <a:p>
              <a:endParaRPr lang="en-AD" sz="2400"/>
            </a:p>
          </p:txBody>
        </p:sp>
        <p:sp>
          <p:nvSpPr>
            <p:cNvPr id="604" name="Freeform 603">
              <a:extLst>
                <a:ext uri="{FF2B5EF4-FFF2-40B4-BE49-F238E27FC236}">
                  <a16:creationId xmlns:a16="http://schemas.microsoft.com/office/drawing/2014/main" id="{79BA6893-6000-2D7D-6C3F-DD81C0EA0CD3}"/>
                </a:ext>
              </a:extLst>
            </p:cNvPr>
            <p:cNvSpPr/>
            <p:nvPr/>
          </p:nvSpPr>
          <p:spPr>
            <a:xfrm>
              <a:off x="3920405" y="4771135"/>
              <a:ext cx="18587" cy="37846"/>
            </a:xfrm>
            <a:custGeom>
              <a:avLst/>
              <a:gdLst>
                <a:gd name="connsiteX0" fmla="*/ 18588 w 18587"/>
                <a:gd name="connsiteY0" fmla="*/ 18288 h 37846"/>
                <a:gd name="connsiteX1" fmla="*/ 0 w 18587"/>
                <a:gd name="connsiteY1" fmla="*/ 0 h 37846"/>
                <a:gd name="connsiteX2" fmla="*/ 0 w 18587"/>
                <a:gd name="connsiteY2" fmla="*/ 17145 h 37846"/>
                <a:gd name="connsiteX3" fmla="*/ 18206 w 18587"/>
                <a:gd name="connsiteY3" fmla="*/ 37846 h 37846"/>
                <a:gd name="connsiteX4" fmla="*/ 18588 w 18587"/>
                <a:gd name="connsiteY4" fmla="*/ 18288 h 37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7" h="37846">
                  <a:moveTo>
                    <a:pt x="18588" y="18288"/>
                  </a:moveTo>
                  <a:lnTo>
                    <a:pt x="0" y="0"/>
                  </a:lnTo>
                  <a:lnTo>
                    <a:pt x="0" y="17145"/>
                  </a:lnTo>
                  <a:lnTo>
                    <a:pt x="18206" y="37846"/>
                  </a:lnTo>
                  <a:lnTo>
                    <a:pt x="18588" y="18288"/>
                  </a:lnTo>
                  <a:close/>
                </a:path>
              </a:pathLst>
            </a:custGeom>
            <a:solidFill>
              <a:srgbClr val="FFFFFF"/>
            </a:solidFill>
            <a:ln w="0" cap="flat">
              <a:noFill/>
              <a:prstDash val="solid"/>
              <a:miter/>
            </a:ln>
          </p:spPr>
          <p:txBody>
            <a:bodyPr rtlCol="0" anchor="ctr"/>
            <a:lstStyle/>
            <a:p>
              <a:endParaRPr lang="en-AD" sz="2400"/>
            </a:p>
          </p:txBody>
        </p:sp>
        <p:sp>
          <p:nvSpPr>
            <p:cNvPr id="605" name="Freeform 604">
              <a:extLst>
                <a:ext uri="{FF2B5EF4-FFF2-40B4-BE49-F238E27FC236}">
                  <a16:creationId xmlns:a16="http://schemas.microsoft.com/office/drawing/2014/main" id="{0259C293-8EB6-72F0-1BE3-492A72867339}"/>
                </a:ext>
              </a:extLst>
            </p:cNvPr>
            <p:cNvSpPr/>
            <p:nvPr/>
          </p:nvSpPr>
          <p:spPr>
            <a:xfrm>
              <a:off x="3992719" y="4785233"/>
              <a:ext cx="23807" cy="35305"/>
            </a:xfrm>
            <a:custGeom>
              <a:avLst/>
              <a:gdLst>
                <a:gd name="connsiteX0" fmla="*/ 254 w 23807"/>
                <a:gd name="connsiteY0" fmla="*/ 12319 h 35305"/>
                <a:gd name="connsiteX1" fmla="*/ 0 w 23807"/>
                <a:gd name="connsiteY1" fmla="*/ 35306 h 35305"/>
                <a:gd name="connsiteX2" fmla="*/ 23808 w 23807"/>
                <a:gd name="connsiteY2" fmla="*/ 22098 h 35305"/>
                <a:gd name="connsiteX3" fmla="*/ 23808 w 23807"/>
                <a:gd name="connsiteY3" fmla="*/ 0 h 35305"/>
                <a:gd name="connsiteX4" fmla="*/ 254 w 23807"/>
                <a:gd name="connsiteY4" fmla="*/ 12319 h 3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7" h="35305">
                  <a:moveTo>
                    <a:pt x="254" y="12319"/>
                  </a:moveTo>
                  <a:lnTo>
                    <a:pt x="0" y="35306"/>
                  </a:lnTo>
                  <a:lnTo>
                    <a:pt x="23808" y="22098"/>
                  </a:lnTo>
                  <a:lnTo>
                    <a:pt x="23808" y="0"/>
                  </a:lnTo>
                  <a:lnTo>
                    <a:pt x="254" y="12319"/>
                  </a:lnTo>
                  <a:close/>
                </a:path>
              </a:pathLst>
            </a:custGeom>
            <a:solidFill>
              <a:srgbClr val="FFFFFF"/>
            </a:solidFill>
            <a:ln w="0" cap="flat">
              <a:noFill/>
              <a:prstDash val="solid"/>
              <a:miter/>
            </a:ln>
          </p:spPr>
          <p:txBody>
            <a:bodyPr rtlCol="0" anchor="ctr"/>
            <a:lstStyle/>
            <a:p>
              <a:endParaRPr lang="en-AD" sz="2400"/>
            </a:p>
          </p:txBody>
        </p:sp>
        <p:sp>
          <p:nvSpPr>
            <p:cNvPr id="606" name="Freeform 605">
              <a:extLst>
                <a:ext uri="{FF2B5EF4-FFF2-40B4-BE49-F238E27FC236}">
                  <a16:creationId xmlns:a16="http://schemas.microsoft.com/office/drawing/2014/main" id="{9ABAFF05-B87B-4BA7-E1AD-0F55198540DC}"/>
                </a:ext>
              </a:extLst>
            </p:cNvPr>
            <p:cNvSpPr/>
            <p:nvPr/>
          </p:nvSpPr>
          <p:spPr>
            <a:xfrm>
              <a:off x="3970694" y="4740528"/>
              <a:ext cx="44687" cy="27940"/>
            </a:xfrm>
            <a:custGeom>
              <a:avLst/>
              <a:gdLst>
                <a:gd name="connsiteX0" fmla="*/ 24063 w 44687"/>
                <a:gd name="connsiteY0" fmla="*/ 0 h 27940"/>
                <a:gd name="connsiteX1" fmla="*/ 0 w 44687"/>
                <a:gd name="connsiteY1" fmla="*/ 10795 h 27940"/>
                <a:gd name="connsiteX2" fmla="*/ 21007 w 44687"/>
                <a:gd name="connsiteY2" fmla="*/ 27940 h 27940"/>
                <a:gd name="connsiteX3" fmla="*/ 44687 w 44687"/>
                <a:gd name="connsiteY3" fmla="*/ 15875 h 27940"/>
                <a:gd name="connsiteX4" fmla="*/ 24063 w 44687"/>
                <a:gd name="connsiteY4" fmla="*/ 0 h 2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7" h="27940">
                  <a:moveTo>
                    <a:pt x="24063" y="0"/>
                  </a:moveTo>
                  <a:lnTo>
                    <a:pt x="0" y="10795"/>
                  </a:lnTo>
                  <a:lnTo>
                    <a:pt x="21007" y="27940"/>
                  </a:lnTo>
                  <a:lnTo>
                    <a:pt x="44687" y="15875"/>
                  </a:lnTo>
                  <a:lnTo>
                    <a:pt x="24063" y="0"/>
                  </a:lnTo>
                  <a:close/>
                </a:path>
              </a:pathLst>
            </a:custGeom>
            <a:solidFill>
              <a:srgbClr val="FFFFFF"/>
            </a:solidFill>
            <a:ln w="0" cap="flat">
              <a:noFill/>
              <a:prstDash val="solid"/>
              <a:miter/>
            </a:ln>
          </p:spPr>
          <p:txBody>
            <a:bodyPr rtlCol="0" anchor="ctr"/>
            <a:lstStyle/>
            <a:p>
              <a:endParaRPr lang="en-AD" sz="2400"/>
            </a:p>
          </p:txBody>
        </p:sp>
        <p:sp>
          <p:nvSpPr>
            <p:cNvPr id="607" name="Freeform 606">
              <a:extLst>
                <a:ext uri="{FF2B5EF4-FFF2-40B4-BE49-F238E27FC236}">
                  <a16:creationId xmlns:a16="http://schemas.microsoft.com/office/drawing/2014/main" id="{9583831F-5B28-1E59-DA6A-8B611CBD7315}"/>
                </a:ext>
              </a:extLst>
            </p:cNvPr>
            <p:cNvSpPr/>
            <p:nvPr/>
          </p:nvSpPr>
          <p:spPr>
            <a:xfrm>
              <a:off x="3992974" y="4758816"/>
              <a:ext cx="23553" cy="35686"/>
            </a:xfrm>
            <a:custGeom>
              <a:avLst/>
              <a:gdLst>
                <a:gd name="connsiteX0" fmla="*/ 23553 w 23553"/>
                <a:gd name="connsiteY0" fmla="*/ 0 h 35686"/>
                <a:gd name="connsiteX1" fmla="*/ 382 w 23553"/>
                <a:gd name="connsiteY1" fmla="*/ 11938 h 35686"/>
                <a:gd name="connsiteX2" fmla="*/ 0 w 23553"/>
                <a:gd name="connsiteY2" fmla="*/ 35687 h 35686"/>
                <a:gd name="connsiteX3" fmla="*/ 23553 w 23553"/>
                <a:gd name="connsiteY3" fmla="*/ 23241 h 35686"/>
                <a:gd name="connsiteX4" fmla="*/ 23553 w 23553"/>
                <a:gd name="connsiteY4" fmla="*/ 0 h 35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53" h="35686">
                  <a:moveTo>
                    <a:pt x="23553" y="0"/>
                  </a:moveTo>
                  <a:lnTo>
                    <a:pt x="382" y="11938"/>
                  </a:lnTo>
                  <a:lnTo>
                    <a:pt x="0" y="35687"/>
                  </a:lnTo>
                  <a:lnTo>
                    <a:pt x="23553" y="23241"/>
                  </a:lnTo>
                  <a:lnTo>
                    <a:pt x="23553" y="0"/>
                  </a:lnTo>
                  <a:close/>
                </a:path>
              </a:pathLst>
            </a:custGeom>
            <a:solidFill>
              <a:srgbClr val="FFFFFF"/>
            </a:solidFill>
            <a:ln w="0" cap="flat">
              <a:noFill/>
              <a:prstDash val="solid"/>
              <a:miter/>
            </a:ln>
          </p:spPr>
          <p:txBody>
            <a:bodyPr rtlCol="0" anchor="ctr"/>
            <a:lstStyle/>
            <a:p>
              <a:endParaRPr lang="en-AD" sz="2400"/>
            </a:p>
          </p:txBody>
        </p:sp>
        <p:sp>
          <p:nvSpPr>
            <p:cNvPr id="608" name="Freeform 607">
              <a:extLst>
                <a:ext uri="{FF2B5EF4-FFF2-40B4-BE49-F238E27FC236}">
                  <a16:creationId xmlns:a16="http://schemas.microsoft.com/office/drawing/2014/main" id="{9FE7D442-602E-46E1-9847-6352E411A1E9}"/>
                </a:ext>
              </a:extLst>
            </p:cNvPr>
            <p:cNvSpPr/>
            <p:nvPr/>
          </p:nvSpPr>
          <p:spPr>
            <a:xfrm>
              <a:off x="4016527" y="4757292"/>
              <a:ext cx="12731" cy="12700"/>
            </a:xfrm>
            <a:custGeom>
              <a:avLst/>
              <a:gdLst>
                <a:gd name="connsiteX0" fmla="*/ 0 w 12731"/>
                <a:gd name="connsiteY0" fmla="*/ 0 h 12700"/>
                <a:gd name="connsiteX1" fmla="*/ 0 w 12731"/>
                <a:gd name="connsiteY1" fmla="*/ 0 h 12700"/>
                <a:gd name="connsiteX2" fmla="*/ 0 w 12731"/>
                <a:gd name="connsiteY2" fmla="*/ 0 h 12700"/>
                <a:gd name="connsiteX3" fmla="*/ 0 w 12731"/>
                <a:gd name="connsiteY3" fmla="*/ 0 h 12700"/>
              </a:gdLst>
              <a:ahLst/>
              <a:cxnLst>
                <a:cxn ang="0">
                  <a:pos x="connsiteX0" y="connsiteY0"/>
                </a:cxn>
                <a:cxn ang="0">
                  <a:pos x="connsiteX1" y="connsiteY1"/>
                </a:cxn>
                <a:cxn ang="0">
                  <a:pos x="connsiteX2" y="connsiteY2"/>
                </a:cxn>
                <a:cxn ang="0">
                  <a:pos x="connsiteX3" y="connsiteY3"/>
                </a:cxn>
              </a:cxnLst>
              <a:rect l="l" t="t" r="r" b="b"/>
              <a:pathLst>
                <a:path w="12731" h="12700">
                  <a:moveTo>
                    <a:pt x="0" y="0"/>
                  </a:moveTo>
                  <a:lnTo>
                    <a:pt x="0" y="0"/>
                  </a:lnTo>
                  <a:lnTo>
                    <a:pt x="0" y="0"/>
                  </a:lnTo>
                  <a:lnTo>
                    <a:pt x="0" y="0"/>
                  </a:lnTo>
                  <a:close/>
                </a:path>
              </a:pathLst>
            </a:custGeom>
            <a:solidFill>
              <a:srgbClr val="FFFFFF"/>
            </a:solidFill>
            <a:ln w="0" cap="flat">
              <a:noFill/>
              <a:prstDash val="solid"/>
              <a:miter/>
            </a:ln>
          </p:spPr>
          <p:txBody>
            <a:bodyPr rtlCol="0" anchor="ctr"/>
            <a:lstStyle/>
            <a:p>
              <a:endParaRPr lang="en-AD" sz="2400"/>
            </a:p>
          </p:txBody>
        </p:sp>
      </p:grpSp>
      <p:sp>
        <p:nvSpPr>
          <p:cNvPr id="2" name="Title 1"/>
          <p:cNvSpPr>
            <a:spLocks noGrp="1"/>
          </p:cNvSpPr>
          <p:nvPr userDrawn="1">
            <p:ph type="ctrTitle" hasCustomPrompt="1"/>
          </p:nvPr>
        </p:nvSpPr>
        <p:spPr>
          <a:xfrm>
            <a:off x="2770211" y="2447712"/>
            <a:ext cx="8849279" cy="1165427"/>
          </a:xfrm>
        </p:spPr>
        <p:txBody>
          <a:bodyPr anchor="b" anchorCtr="0">
            <a:normAutofit/>
          </a:bodyPr>
          <a:lstStyle>
            <a:lvl1pPr algn="l" fontAlgn="base">
              <a:defRPr sz="3733">
                <a:solidFill>
                  <a:schemeClr val="tx1"/>
                </a:solidFill>
              </a:defRPr>
            </a:lvl1pPr>
          </a:lstStyle>
          <a:p>
            <a:r>
              <a:rPr lang="en-GB"/>
              <a:t>Click to edit Presentation title</a:t>
            </a:r>
            <a:endParaRPr lang="en-US"/>
          </a:p>
        </p:txBody>
      </p:sp>
      <p:sp>
        <p:nvSpPr>
          <p:cNvPr id="3" name="Subtitle 2"/>
          <p:cNvSpPr>
            <a:spLocks noGrp="1"/>
          </p:cNvSpPr>
          <p:nvPr userDrawn="1">
            <p:ph type="subTitle" idx="1" hasCustomPrompt="1"/>
          </p:nvPr>
        </p:nvSpPr>
        <p:spPr>
          <a:xfrm>
            <a:off x="2762401" y="3835057"/>
            <a:ext cx="8849279" cy="1326843"/>
          </a:xfrm>
          <a:prstGeom prst="rect">
            <a:avLst/>
          </a:prstGeom>
        </p:spPr>
        <p:txBody>
          <a:bodyPr>
            <a:normAutofit/>
          </a:bodyPr>
          <a:lstStyle>
            <a:lvl1pPr marL="0" indent="0" algn="l">
              <a:buNone/>
              <a:defRPr sz="2133">
                <a:solidFill>
                  <a:schemeClr val="accent4"/>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Presentation subtitle</a:t>
            </a:r>
            <a:endParaRPr lang="en-US"/>
          </a:p>
        </p:txBody>
      </p:sp>
      <p:sp>
        <p:nvSpPr>
          <p:cNvPr id="10" name="TextBox 9">
            <a:extLst>
              <a:ext uri="{FF2B5EF4-FFF2-40B4-BE49-F238E27FC236}">
                <a16:creationId xmlns:a16="http://schemas.microsoft.com/office/drawing/2014/main" id="{00B32663-0535-EC43-8487-0DC5A6ABF8DA}"/>
              </a:ext>
            </a:extLst>
          </p:cNvPr>
          <p:cNvSpPr txBox="1"/>
          <p:nvPr userDrawn="1"/>
        </p:nvSpPr>
        <p:spPr>
          <a:xfrm>
            <a:off x="8146275" y="6066223"/>
            <a:ext cx="3553967" cy="599651"/>
          </a:xfrm>
          <a:prstGeom prst="rect">
            <a:avLst/>
          </a:prstGeom>
          <a:noFill/>
        </p:spPr>
        <p:txBody>
          <a:bodyPr wrap="square" lIns="0" tIns="0" rIns="0" bIns="0" rtlCol="0">
            <a:spAutoFit/>
          </a:bodyPr>
          <a:lstStyle/>
          <a:p>
            <a:pPr>
              <a:lnSpc>
                <a:spcPts val="1200"/>
              </a:lnSpc>
            </a:pPr>
            <a:r>
              <a:rPr lang="en-AD" sz="667"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 The JU receives support from the European Union’s Horizon Europe research and innovation programme and COCIR, EFPIA, Europa Bío, MedTech Europe, and Vaccines Europe and Instem Scientific Limited.</a:t>
            </a:r>
          </a:p>
        </p:txBody>
      </p:sp>
      <p:grpSp>
        <p:nvGrpSpPr>
          <p:cNvPr id="638" name="Group 637">
            <a:extLst>
              <a:ext uri="{FF2B5EF4-FFF2-40B4-BE49-F238E27FC236}">
                <a16:creationId xmlns:a16="http://schemas.microsoft.com/office/drawing/2014/main" id="{141C27D4-C447-86C3-9217-F83FC83FFBE1}"/>
              </a:ext>
            </a:extLst>
          </p:cNvPr>
          <p:cNvGrpSpPr/>
          <p:nvPr userDrawn="1"/>
        </p:nvGrpSpPr>
        <p:grpSpPr>
          <a:xfrm>
            <a:off x="2762401" y="1976119"/>
            <a:ext cx="2643895" cy="239944"/>
            <a:chOff x="2071800" y="1482089"/>
            <a:chExt cx="1982921" cy="179958"/>
          </a:xfrm>
        </p:grpSpPr>
        <p:sp>
          <p:nvSpPr>
            <p:cNvPr id="330" name="Freeform 329">
              <a:extLst>
                <a:ext uri="{FF2B5EF4-FFF2-40B4-BE49-F238E27FC236}">
                  <a16:creationId xmlns:a16="http://schemas.microsoft.com/office/drawing/2014/main" id="{370EF5D5-5E08-EBDB-20E5-98B7B88C6035}"/>
                </a:ext>
              </a:extLst>
            </p:cNvPr>
            <p:cNvSpPr/>
            <p:nvPr/>
          </p:nvSpPr>
          <p:spPr>
            <a:xfrm>
              <a:off x="2077657" y="1485264"/>
              <a:ext cx="51562" cy="59182"/>
            </a:xfrm>
            <a:custGeom>
              <a:avLst/>
              <a:gdLst>
                <a:gd name="connsiteX0" fmla="*/ 0 w 51562"/>
                <a:gd name="connsiteY0" fmla="*/ 59182 h 59182"/>
                <a:gd name="connsiteX1" fmla="*/ 0 w 51562"/>
                <a:gd name="connsiteY1" fmla="*/ 0 h 59182"/>
                <a:gd name="connsiteX2" fmla="*/ 22153 w 51562"/>
                <a:gd name="connsiteY2" fmla="*/ 0 h 59182"/>
                <a:gd name="connsiteX3" fmla="*/ 38067 w 51562"/>
                <a:gd name="connsiteY3" fmla="*/ 3048 h 59182"/>
                <a:gd name="connsiteX4" fmla="*/ 48125 w 51562"/>
                <a:gd name="connsiteY4" fmla="*/ 12700 h 59182"/>
                <a:gd name="connsiteX5" fmla="*/ 51562 w 51562"/>
                <a:gd name="connsiteY5" fmla="*/ 29591 h 59182"/>
                <a:gd name="connsiteX6" fmla="*/ 48125 w 51562"/>
                <a:gd name="connsiteY6" fmla="*/ 46355 h 59182"/>
                <a:gd name="connsiteX7" fmla="*/ 38067 w 51562"/>
                <a:gd name="connsiteY7" fmla="*/ 56007 h 59182"/>
                <a:gd name="connsiteX8" fmla="*/ 22153 w 51562"/>
                <a:gd name="connsiteY8" fmla="*/ 59182 h 59182"/>
                <a:gd name="connsiteX9" fmla="*/ 0 w 51562"/>
                <a:gd name="connsiteY9" fmla="*/ 59182 h 59182"/>
                <a:gd name="connsiteX10" fmla="*/ 8148 w 51562"/>
                <a:gd name="connsiteY10" fmla="*/ 52070 h 59182"/>
                <a:gd name="connsiteX11" fmla="*/ 21898 w 51562"/>
                <a:gd name="connsiteY11" fmla="*/ 52070 h 59182"/>
                <a:gd name="connsiteX12" fmla="*/ 30683 w 51562"/>
                <a:gd name="connsiteY12" fmla="*/ 50800 h 59182"/>
                <a:gd name="connsiteX13" fmla="*/ 37303 w 51562"/>
                <a:gd name="connsiteY13" fmla="*/ 46990 h 59182"/>
                <a:gd name="connsiteX14" fmla="*/ 41504 w 51562"/>
                <a:gd name="connsiteY14" fmla="*/ 40259 h 59182"/>
                <a:gd name="connsiteX15" fmla="*/ 42905 w 51562"/>
                <a:gd name="connsiteY15" fmla="*/ 30480 h 59182"/>
                <a:gd name="connsiteX16" fmla="*/ 42905 w 51562"/>
                <a:gd name="connsiteY16" fmla="*/ 28702 h 59182"/>
                <a:gd name="connsiteX17" fmla="*/ 41504 w 51562"/>
                <a:gd name="connsiteY17" fmla="*/ 18796 h 59182"/>
                <a:gd name="connsiteX18" fmla="*/ 37303 w 51562"/>
                <a:gd name="connsiteY18" fmla="*/ 12065 h 59182"/>
                <a:gd name="connsiteX19" fmla="*/ 30683 w 51562"/>
                <a:gd name="connsiteY19" fmla="*/ 8255 h 59182"/>
                <a:gd name="connsiteX20" fmla="*/ 21771 w 51562"/>
                <a:gd name="connsiteY20" fmla="*/ 6985 h 59182"/>
                <a:gd name="connsiteX21" fmla="*/ 8021 w 51562"/>
                <a:gd name="connsiteY21" fmla="*/ 6985 h 59182"/>
                <a:gd name="connsiteX22" fmla="*/ 8021 w 51562"/>
                <a:gd name="connsiteY22" fmla="*/ 51943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62" h="59182">
                  <a:moveTo>
                    <a:pt x="0" y="59182"/>
                  </a:moveTo>
                  <a:lnTo>
                    <a:pt x="0" y="0"/>
                  </a:lnTo>
                  <a:lnTo>
                    <a:pt x="22153" y="0"/>
                  </a:lnTo>
                  <a:cubicBezTo>
                    <a:pt x="28391" y="0"/>
                    <a:pt x="33611" y="1016"/>
                    <a:pt x="38067" y="3048"/>
                  </a:cubicBezTo>
                  <a:cubicBezTo>
                    <a:pt x="42396" y="5080"/>
                    <a:pt x="45833" y="8382"/>
                    <a:pt x="48125" y="12700"/>
                  </a:cubicBezTo>
                  <a:cubicBezTo>
                    <a:pt x="50416" y="17018"/>
                    <a:pt x="51562" y="22606"/>
                    <a:pt x="51562" y="29591"/>
                  </a:cubicBezTo>
                  <a:cubicBezTo>
                    <a:pt x="51562" y="36576"/>
                    <a:pt x="50416" y="41910"/>
                    <a:pt x="48125" y="46355"/>
                  </a:cubicBezTo>
                  <a:cubicBezTo>
                    <a:pt x="45833" y="50673"/>
                    <a:pt x="42396" y="53975"/>
                    <a:pt x="38067" y="56007"/>
                  </a:cubicBezTo>
                  <a:cubicBezTo>
                    <a:pt x="33738" y="58166"/>
                    <a:pt x="28391" y="59182"/>
                    <a:pt x="22153" y="59182"/>
                  </a:cubicBezTo>
                  <a:lnTo>
                    <a:pt x="0" y="59182"/>
                  </a:lnTo>
                  <a:close/>
                  <a:moveTo>
                    <a:pt x="8148" y="52070"/>
                  </a:moveTo>
                  <a:lnTo>
                    <a:pt x="21898" y="52070"/>
                  </a:lnTo>
                  <a:cubicBezTo>
                    <a:pt x="25208" y="52070"/>
                    <a:pt x="28136" y="51689"/>
                    <a:pt x="30683" y="50800"/>
                  </a:cubicBezTo>
                  <a:cubicBezTo>
                    <a:pt x="33229" y="49911"/>
                    <a:pt x="35521" y="48641"/>
                    <a:pt x="37303" y="46990"/>
                  </a:cubicBezTo>
                  <a:cubicBezTo>
                    <a:pt x="39085" y="45212"/>
                    <a:pt x="40486" y="43053"/>
                    <a:pt x="41504" y="40259"/>
                  </a:cubicBezTo>
                  <a:cubicBezTo>
                    <a:pt x="42396" y="37592"/>
                    <a:pt x="42905" y="34290"/>
                    <a:pt x="42905" y="30480"/>
                  </a:cubicBezTo>
                  <a:lnTo>
                    <a:pt x="42905" y="28702"/>
                  </a:lnTo>
                  <a:cubicBezTo>
                    <a:pt x="42905" y="24765"/>
                    <a:pt x="42396" y="21463"/>
                    <a:pt x="41504" y="18796"/>
                  </a:cubicBezTo>
                  <a:cubicBezTo>
                    <a:pt x="40613" y="16129"/>
                    <a:pt x="39213" y="13843"/>
                    <a:pt x="37303" y="12065"/>
                  </a:cubicBezTo>
                  <a:cubicBezTo>
                    <a:pt x="35521" y="10287"/>
                    <a:pt x="33229" y="9017"/>
                    <a:pt x="30683" y="8255"/>
                  </a:cubicBezTo>
                  <a:cubicBezTo>
                    <a:pt x="28136" y="7366"/>
                    <a:pt x="25081" y="6985"/>
                    <a:pt x="21771" y="6985"/>
                  </a:cubicBezTo>
                  <a:lnTo>
                    <a:pt x="8021" y="6985"/>
                  </a:lnTo>
                  <a:lnTo>
                    <a:pt x="8021" y="51943"/>
                  </a:lnTo>
                  <a:close/>
                </a:path>
              </a:pathLst>
            </a:custGeom>
            <a:solidFill>
              <a:srgbClr val="1D4966"/>
            </a:solidFill>
            <a:ln w="0" cap="flat">
              <a:noFill/>
              <a:prstDash val="solid"/>
              <a:miter/>
            </a:ln>
          </p:spPr>
          <p:txBody>
            <a:bodyPr rtlCol="0" anchor="ctr"/>
            <a:lstStyle/>
            <a:p>
              <a:endParaRPr lang="en-AD" sz="2400"/>
            </a:p>
          </p:txBody>
        </p:sp>
        <p:sp>
          <p:nvSpPr>
            <p:cNvPr id="331" name="Freeform 330">
              <a:extLst>
                <a:ext uri="{FF2B5EF4-FFF2-40B4-BE49-F238E27FC236}">
                  <a16:creationId xmlns:a16="http://schemas.microsoft.com/office/drawing/2014/main" id="{81720270-23FE-CE9C-ABCF-8203A9F2F1CC}"/>
                </a:ext>
              </a:extLst>
            </p:cNvPr>
            <p:cNvSpPr/>
            <p:nvPr/>
          </p:nvSpPr>
          <p:spPr>
            <a:xfrm>
              <a:off x="213673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5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5"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32" name="Freeform 331">
              <a:extLst>
                <a:ext uri="{FF2B5EF4-FFF2-40B4-BE49-F238E27FC236}">
                  <a16:creationId xmlns:a16="http://schemas.microsoft.com/office/drawing/2014/main" id="{3070F1F8-4723-FFCD-88F3-84E1686D7315}"/>
                </a:ext>
              </a:extLst>
            </p:cNvPr>
            <p:cNvSpPr/>
            <p:nvPr/>
          </p:nvSpPr>
          <p:spPr>
            <a:xfrm>
              <a:off x="2180399" y="1499108"/>
              <a:ext cx="41249" cy="45338"/>
            </a:xfrm>
            <a:custGeom>
              <a:avLst/>
              <a:gdLst>
                <a:gd name="connsiteX0" fmla="*/ 16806 w 41249"/>
                <a:gd name="connsiteY0" fmla="*/ 45339 h 45338"/>
                <a:gd name="connsiteX1" fmla="*/ 0 w 41249"/>
                <a:gd name="connsiteY1" fmla="*/ 0 h 45338"/>
                <a:gd name="connsiteX2" fmla="*/ 7894 w 41249"/>
                <a:gd name="connsiteY2" fmla="*/ 0 h 45338"/>
                <a:gd name="connsiteX3" fmla="*/ 16169 w 41249"/>
                <a:gd name="connsiteY3" fmla="*/ 22733 h 45338"/>
                <a:gd name="connsiteX4" fmla="*/ 17569 w 41249"/>
                <a:gd name="connsiteY4" fmla="*/ 26797 h 45338"/>
                <a:gd name="connsiteX5" fmla="*/ 19225 w 41249"/>
                <a:gd name="connsiteY5" fmla="*/ 31750 h 45338"/>
                <a:gd name="connsiteX6" fmla="*/ 20625 w 41249"/>
                <a:gd name="connsiteY6" fmla="*/ 36322 h 45338"/>
                <a:gd name="connsiteX7" fmla="*/ 21007 w 41249"/>
                <a:gd name="connsiteY7" fmla="*/ 36322 h 45338"/>
                <a:gd name="connsiteX8" fmla="*/ 22407 w 41249"/>
                <a:gd name="connsiteY8" fmla="*/ 31877 h 45338"/>
                <a:gd name="connsiteX9" fmla="*/ 24062 w 41249"/>
                <a:gd name="connsiteY9" fmla="*/ 26924 h 45338"/>
                <a:gd name="connsiteX10" fmla="*/ 25463 w 41249"/>
                <a:gd name="connsiteY10" fmla="*/ 22733 h 45338"/>
                <a:gd name="connsiteX11" fmla="*/ 33611 w 41249"/>
                <a:gd name="connsiteY11" fmla="*/ 0 h 45338"/>
                <a:gd name="connsiteX12" fmla="*/ 41250 w 41249"/>
                <a:gd name="connsiteY12" fmla="*/ 0 h 45338"/>
                <a:gd name="connsiteX13" fmla="*/ 24445 w 41249"/>
                <a:gd name="connsiteY13" fmla="*/ 45339 h 45338"/>
                <a:gd name="connsiteX14" fmla="*/ 16806 w 41249"/>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49" h="45338">
                  <a:moveTo>
                    <a:pt x="16806" y="45339"/>
                  </a:moveTo>
                  <a:lnTo>
                    <a:pt x="0" y="0"/>
                  </a:lnTo>
                  <a:lnTo>
                    <a:pt x="7894" y="0"/>
                  </a:lnTo>
                  <a:lnTo>
                    <a:pt x="16169" y="22733"/>
                  </a:lnTo>
                  <a:cubicBezTo>
                    <a:pt x="16551" y="23876"/>
                    <a:pt x="17060" y="25146"/>
                    <a:pt x="17569" y="26797"/>
                  </a:cubicBezTo>
                  <a:cubicBezTo>
                    <a:pt x="18079" y="28448"/>
                    <a:pt x="18588" y="30099"/>
                    <a:pt x="19225" y="31750"/>
                  </a:cubicBezTo>
                  <a:cubicBezTo>
                    <a:pt x="19734" y="33401"/>
                    <a:pt x="20243" y="34925"/>
                    <a:pt x="20625" y="36322"/>
                  </a:cubicBezTo>
                  <a:lnTo>
                    <a:pt x="21007" y="36322"/>
                  </a:lnTo>
                  <a:cubicBezTo>
                    <a:pt x="21389" y="35052"/>
                    <a:pt x="21898" y="33528"/>
                    <a:pt x="22407" y="31877"/>
                  </a:cubicBezTo>
                  <a:cubicBezTo>
                    <a:pt x="22917" y="30226"/>
                    <a:pt x="23426" y="28575"/>
                    <a:pt x="24062" y="26924"/>
                  </a:cubicBezTo>
                  <a:cubicBezTo>
                    <a:pt x="24572" y="25273"/>
                    <a:pt x="25081" y="23876"/>
                    <a:pt x="25463" y="22733"/>
                  </a:cubicBezTo>
                  <a:lnTo>
                    <a:pt x="33611" y="0"/>
                  </a:lnTo>
                  <a:lnTo>
                    <a:pt x="41250" y="0"/>
                  </a:lnTo>
                  <a:lnTo>
                    <a:pt x="24445" y="45339"/>
                  </a:lnTo>
                  <a:lnTo>
                    <a:pt x="16806" y="45339"/>
                  </a:lnTo>
                  <a:close/>
                </a:path>
              </a:pathLst>
            </a:custGeom>
            <a:solidFill>
              <a:srgbClr val="1D4966"/>
            </a:solidFill>
            <a:ln w="0" cap="flat">
              <a:noFill/>
              <a:prstDash val="solid"/>
              <a:miter/>
            </a:ln>
          </p:spPr>
          <p:txBody>
            <a:bodyPr rtlCol="0" anchor="ctr"/>
            <a:lstStyle/>
            <a:p>
              <a:endParaRPr lang="en-AD" sz="2400"/>
            </a:p>
          </p:txBody>
        </p:sp>
        <p:sp>
          <p:nvSpPr>
            <p:cNvPr id="333" name="Freeform 332">
              <a:extLst>
                <a:ext uri="{FF2B5EF4-FFF2-40B4-BE49-F238E27FC236}">
                  <a16:creationId xmlns:a16="http://schemas.microsoft.com/office/drawing/2014/main" id="{CB7C2314-DB86-A362-C8E1-7E4180EACD61}"/>
                </a:ext>
              </a:extLst>
            </p:cNvPr>
            <p:cNvSpPr/>
            <p:nvPr/>
          </p:nvSpPr>
          <p:spPr>
            <a:xfrm>
              <a:off x="2224450"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34" name="Freeform 333">
              <a:extLst>
                <a:ext uri="{FF2B5EF4-FFF2-40B4-BE49-F238E27FC236}">
                  <a16:creationId xmlns:a16="http://schemas.microsoft.com/office/drawing/2014/main" id="{2FB57CE8-DFB7-D119-DA15-71565705D9A5}"/>
                </a:ext>
              </a:extLst>
            </p:cNvPr>
            <p:cNvSpPr/>
            <p:nvPr/>
          </p:nvSpPr>
          <p:spPr>
            <a:xfrm>
              <a:off x="2273975"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5" name="Freeform 334">
              <a:extLst>
                <a:ext uri="{FF2B5EF4-FFF2-40B4-BE49-F238E27FC236}">
                  <a16:creationId xmlns:a16="http://schemas.microsoft.com/office/drawing/2014/main" id="{F9567A0C-10A4-CD95-0FD9-0892B3364009}"/>
                </a:ext>
              </a:extLst>
            </p:cNvPr>
            <p:cNvSpPr/>
            <p:nvPr/>
          </p:nvSpPr>
          <p:spPr>
            <a:xfrm>
              <a:off x="2290272"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36" name="Freeform 335">
              <a:extLst>
                <a:ext uri="{FF2B5EF4-FFF2-40B4-BE49-F238E27FC236}">
                  <a16:creationId xmlns:a16="http://schemas.microsoft.com/office/drawing/2014/main" id="{A8C1548D-73ED-E2CE-FAD4-4F29436AD8E7}"/>
                </a:ext>
              </a:extLst>
            </p:cNvPr>
            <p:cNvSpPr/>
            <p:nvPr/>
          </p:nvSpPr>
          <p:spPr>
            <a:xfrm>
              <a:off x="2341070"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8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8"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37" name="Freeform 336">
              <a:extLst>
                <a:ext uri="{FF2B5EF4-FFF2-40B4-BE49-F238E27FC236}">
                  <a16:creationId xmlns:a16="http://schemas.microsoft.com/office/drawing/2014/main" id="{0CD92699-E656-CB9F-B6D1-5AB7190EA08E}"/>
                </a:ext>
              </a:extLst>
            </p:cNvPr>
            <p:cNvSpPr/>
            <p:nvPr/>
          </p:nvSpPr>
          <p:spPr>
            <a:xfrm>
              <a:off x="2389577"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38" name="Freeform 337">
              <a:extLst>
                <a:ext uri="{FF2B5EF4-FFF2-40B4-BE49-F238E27FC236}">
                  <a16:creationId xmlns:a16="http://schemas.microsoft.com/office/drawing/2014/main" id="{DC79AEE8-25C4-3920-6EC1-B8013A4F3390}"/>
                </a:ext>
              </a:extLst>
            </p:cNvPr>
            <p:cNvSpPr/>
            <p:nvPr/>
          </p:nvSpPr>
          <p:spPr>
            <a:xfrm>
              <a:off x="2407528"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7"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7"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39" name="Freeform 338">
              <a:extLst>
                <a:ext uri="{FF2B5EF4-FFF2-40B4-BE49-F238E27FC236}">
                  <a16:creationId xmlns:a16="http://schemas.microsoft.com/office/drawing/2014/main" id="{F8F5FE41-8571-C645-8083-670B7129E1BC}"/>
                </a:ext>
              </a:extLst>
            </p:cNvPr>
            <p:cNvSpPr/>
            <p:nvPr/>
          </p:nvSpPr>
          <p:spPr>
            <a:xfrm>
              <a:off x="2451070"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3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6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6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3"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865"/>
                  </a:moveTo>
                  <a:lnTo>
                    <a:pt x="30683" y="62865"/>
                  </a:lnTo>
                  <a:cubicBezTo>
                    <a:pt x="31956" y="62865"/>
                    <a:pt x="33229" y="62611"/>
                    <a:pt x="34375" y="62103"/>
                  </a:cubicBezTo>
                  <a:cubicBezTo>
                    <a:pt x="35521" y="61595"/>
                    <a:pt x="36284"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5" y="53340"/>
                    <a:pt x="7639" y="54864"/>
                    <a:pt x="7639" y="56642"/>
                  </a:cubicBezTo>
                  <a:cubicBezTo>
                    <a:pt x="7639" y="58547"/>
                    <a:pt x="8275"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40" name="Freeform 339">
              <a:extLst>
                <a:ext uri="{FF2B5EF4-FFF2-40B4-BE49-F238E27FC236}">
                  <a16:creationId xmlns:a16="http://schemas.microsoft.com/office/drawing/2014/main" id="{0A43B855-37C4-0F6D-CD26-C44E9FB7D298}"/>
                </a:ext>
              </a:extLst>
            </p:cNvPr>
            <p:cNvSpPr/>
            <p:nvPr/>
          </p:nvSpPr>
          <p:spPr>
            <a:xfrm>
              <a:off x="2519310" y="1497964"/>
              <a:ext cx="43668" cy="47498"/>
            </a:xfrm>
            <a:custGeom>
              <a:avLst/>
              <a:gdLst>
                <a:gd name="connsiteX0" fmla="*/ 14386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4 w 43668"/>
                <a:gd name="connsiteY17" fmla="*/ 14478 h 47498"/>
                <a:gd name="connsiteX18" fmla="*/ 2164 w 43668"/>
                <a:gd name="connsiteY18" fmla="*/ 13589 h 47498"/>
                <a:gd name="connsiteX19" fmla="*/ 2164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6 w 43668"/>
                <a:gd name="connsiteY39" fmla="*/ 47371 h 47498"/>
                <a:gd name="connsiteX40" fmla="*/ 16296 w 43668"/>
                <a:gd name="connsiteY40" fmla="*/ 41148 h 47498"/>
                <a:gd name="connsiteX41" fmla="*/ 21516 w 43668"/>
                <a:gd name="connsiteY41" fmla="*/ 40259 h 47498"/>
                <a:gd name="connsiteX42" fmla="*/ 25845 w 43668"/>
                <a:gd name="connsiteY42" fmla="*/ 37846 h 47498"/>
                <a:gd name="connsiteX43" fmla="*/ 28900 w 43668"/>
                <a:gd name="connsiteY43" fmla="*/ 34036 h 47498"/>
                <a:gd name="connsiteX44" fmla="*/ 30046 w 43668"/>
                <a:gd name="connsiteY44" fmla="*/ 29083 h 47498"/>
                <a:gd name="connsiteX45" fmla="*/ 30046 w 43668"/>
                <a:gd name="connsiteY45" fmla="*/ 25273 h 47498"/>
                <a:gd name="connsiteX46" fmla="*/ 18079 w 43668"/>
                <a:gd name="connsiteY46" fmla="*/ 26035 h 47498"/>
                <a:gd name="connsiteX47" fmla="*/ 10567 w 43668"/>
                <a:gd name="connsiteY47" fmla="*/ 28829 h 47498"/>
                <a:gd name="connsiteX48" fmla="*/ 7893 w 43668"/>
                <a:gd name="connsiteY48" fmla="*/ 34417 h 47498"/>
                <a:gd name="connsiteX49" fmla="*/ 8912 w 43668"/>
                <a:gd name="connsiteY49" fmla="*/ 38227 h 47498"/>
                <a:gd name="connsiteX50" fmla="*/ 11840 w 43668"/>
                <a:gd name="connsiteY50" fmla="*/ 40386 h 47498"/>
                <a:gd name="connsiteX51" fmla="*/ 16296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6"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6"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7"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8"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2" y="47117"/>
                    <a:pt x="16678" y="47371"/>
                    <a:pt x="14386" y="47371"/>
                  </a:cubicBezTo>
                  <a:close/>
                  <a:moveTo>
                    <a:pt x="16296" y="41148"/>
                  </a:moveTo>
                  <a:cubicBezTo>
                    <a:pt x="18079"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9" y="26035"/>
                  </a:cubicBezTo>
                  <a:cubicBezTo>
                    <a:pt x="14768"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41" name="Freeform 340">
              <a:extLst>
                <a:ext uri="{FF2B5EF4-FFF2-40B4-BE49-F238E27FC236}">
                  <a16:creationId xmlns:a16="http://schemas.microsoft.com/office/drawing/2014/main" id="{4547883F-A57F-5822-132C-AA193B2FA8C6}"/>
                </a:ext>
              </a:extLst>
            </p:cNvPr>
            <p:cNvSpPr/>
            <p:nvPr/>
          </p:nvSpPr>
          <p:spPr>
            <a:xfrm>
              <a:off x="2568835"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2" name="Freeform 341">
              <a:extLst>
                <a:ext uri="{FF2B5EF4-FFF2-40B4-BE49-F238E27FC236}">
                  <a16:creationId xmlns:a16="http://schemas.microsoft.com/office/drawing/2014/main" id="{D719BE82-6B7A-B269-A874-B7D3DCC4C3CA}"/>
                </a:ext>
              </a:extLst>
            </p:cNvPr>
            <p:cNvSpPr/>
            <p:nvPr/>
          </p:nvSpPr>
          <p:spPr>
            <a:xfrm>
              <a:off x="2614668" y="1482089"/>
              <a:ext cx="39722" cy="63373"/>
            </a:xfrm>
            <a:custGeom>
              <a:avLst/>
              <a:gdLst>
                <a:gd name="connsiteX0" fmla="*/ 18079 w 39722"/>
                <a:gd name="connsiteY0" fmla="*/ 63373 h 63373"/>
                <a:gd name="connsiteX1" fmla="*/ 8403 w 39722"/>
                <a:gd name="connsiteY1" fmla="*/ 60833 h 63373"/>
                <a:gd name="connsiteX2" fmla="*/ 2164 w 39722"/>
                <a:gd name="connsiteY2" fmla="*/ 53086 h 63373"/>
                <a:gd name="connsiteX3" fmla="*/ 0 w 39722"/>
                <a:gd name="connsiteY3" fmla="*/ 39370 h 63373"/>
                <a:gd name="connsiteX4" fmla="*/ 2292 w 39722"/>
                <a:gd name="connsiteY4" fmla="*/ 26162 h 63373"/>
                <a:gd name="connsiteX5" fmla="*/ 8530 w 39722"/>
                <a:gd name="connsiteY5" fmla="*/ 18542 h 63373"/>
                <a:gd name="connsiteX6" fmla="*/ 17824 w 39722"/>
                <a:gd name="connsiteY6" fmla="*/ 16002 h 63373"/>
                <a:gd name="connsiteX7" fmla="*/ 23426 w 39722"/>
                <a:gd name="connsiteY7" fmla="*/ 16637 h 63373"/>
                <a:gd name="connsiteX8" fmla="*/ 28009 w 39722"/>
                <a:gd name="connsiteY8" fmla="*/ 18796 h 63373"/>
                <a:gd name="connsiteX9" fmla="*/ 31574 w 39722"/>
                <a:gd name="connsiteY9" fmla="*/ 22733 h 63373"/>
                <a:gd name="connsiteX10" fmla="*/ 32083 w 39722"/>
                <a:gd name="connsiteY10" fmla="*/ 22733 h 63373"/>
                <a:gd name="connsiteX11" fmla="*/ 32083 w 39722"/>
                <a:gd name="connsiteY11" fmla="*/ 0 h 63373"/>
                <a:gd name="connsiteX12" fmla="*/ 39722 w 39722"/>
                <a:gd name="connsiteY12" fmla="*/ 0 h 63373"/>
                <a:gd name="connsiteX13" fmla="*/ 39722 w 39722"/>
                <a:gd name="connsiteY13" fmla="*/ 62357 h 63373"/>
                <a:gd name="connsiteX14" fmla="*/ 33611 w 39722"/>
                <a:gd name="connsiteY14" fmla="*/ 62357 h 63373"/>
                <a:gd name="connsiteX15" fmla="*/ 32975 w 39722"/>
                <a:gd name="connsiteY15" fmla="*/ 55880 h 63373"/>
                <a:gd name="connsiteX16" fmla="*/ 32338 w 39722"/>
                <a:gd name="connsiteY16" fmla="*/ 55880 h 63373"/>
                <a:gd name="connsiteX17" fmla="*/ 26227 w 39722"/>
                <a:gd name="connsiteY17" fmla="*/ 61468 h 63373"/>
                <a:gd name="connsiteX18" fmla="*/ 18079 w 39722"/>
                <a:gd name="connsiteY18" fmla="*/ 63373 h 63373"/>
                <a:gd name="connsiteX19" fmla="*/ 19861 w 39722"/>
                <a:gd name="connsiteY19" fmla="*/ 56769 h 63373"/>
                <a:gd name="connsiteX20" fmla="*/ 26863 w 39722"/>
                <a:gd name="connsiteY20" fmla="*/ 54864 h 63373"/>
                <a:gd name="connsiteX21" fmla="*/ 30810 w 39722"/>
                <a:gd name="connsiteY21" fmla="*/ 49403 h 63373"/>
                <a:gd name="connsiteX22" fmla="*/ 32083 w 39722"/>
                <a:gd name="connsiteY22" fmla="*/ 40386 h 63373"/>
                <a:gd name="connsiteX23" fmla="*/ 32083 w 39722"/>
                <a:gd name="connsiteY23" fmla="*/ 38989 h 63373"/>
                <a:gd name="connsiteX24" fmla="*/ 31192 w 39722"/>
                <a:gd name="connsiteY24" fmla="*/ 31115 h 63373"/>
                <a:gd name="connsiteX25" fmla="*/ 28646 w 39722"/>
                <a:gd name="connsiteY25" fmla="*/ 26035 h 63373"/>
                <a:gd name="connsiteX26" fmla="*/ 24826 w 39722"/>
                <a:gd name="connsiteY26" fmla="*/ 23368 h 63373"/>
                <a:gd name="connsiteX27" fmla="*/ 20243 w 39722"/>
                <a:gd name="connsiteY27" fmla="*/ 22606 h 63373"/>
                <a:gd name="connsiteX28" fmla="*/ 13368 w 39722"/>
                <a:gd name="connsiteY28" fmla="*/ 24257 h 63373"/>
                <a:gd name="connsiteX29" fmla="*/ 9421 w 39722"/>
                <a:gd name="connsiteY29" fmla="*/ 29464 h 63373"/>
                <a:gd name="connsiteX30" fmla="*/ 8148 w 39722"/>
                <a:gd name="connsiteY30" fmla="*/ 38735 h 63373"/>
                <a:gd name="connsiteX31" fmla="*/ 8148 w 39722"/>
                <a:gd name="connsiteY31" fmla="*/ 40513 h 63373"/>
                <a:gd name="connsiteX32" fmla="*/ 9549 w 39722"/>
                <a:gd name="connsiteY32" fmla="*/ 49911 h 63373"/>
                <a:gd name="connsiteX33" fmla="*/ 13623 w 39722"/>
                <a:gd name="connsiteY33" fmla="*/ 54991 h 63373"/>
                <a:gd name="connsiteX34" fmla="*/ 20116 w 39722"/>
                <a:gd name="connsiteY34" fmla="*/ 56515 h 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3">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3"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43" name="Freeform 342">
              <a:extLst>
                <a:ext uri="{FF2B5EF4-FFF2-40B4-BE49-F238E27FC236}">
                  <a16:creationId xmlns:a16="http://schemas.microsoft.com/office/drawing/2014/main" id="{125D106E-7BC6-3A89-BB9A-D9F92343D6B7}"/>
                </a:ext>
              </a:extLst>
            </p:cNvPr>
            <p:cNvSpPr/>
            <p:nvPr/>
          </p:nvSpPr>
          <p:spPr>
            <a:xfrm>
              <a:off x="2684819"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4" name="Freeform 343">
              <a:extLst>
                <a:ext uri="{FF2B5EF4-FFF2-40B4-BE49-F238E27FC236}">
                  <a16:creationId xmlns:a16="http://schemas.microsoft.com/office/drawing/2014/main" id="{41693861-2BF5-249D-08C8-E4820BBAB89E}"/>
                </a:ext>
              </a:extLst>
            </p:cNvPr>
            <p:cNvSpPr/>
            <p:nvPr/>
          </p:nvSpPr>
          <p:spPr>
            <a:xfrm>
              <a:off x="2703152" y="1498219"/>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5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6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6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6" y="1270"/>
                    <a:pt x="16042" y="762"/>
                  </a:cubicBezTo>
                  <a:cubicBezTo>
                    <a:pt x="17824" y="254"/>
                    <a:pt x="19606" y="0"/>
                    <a:pt x="21643" y="0"/>
                  </a:cubicBezTo>
                  <a:cubicBezTo>
                    <a:pt x="24572" y="0"/>
                    <a:pt x="27118" y="635"/>
                    <a:pt x="29282" y="1778"/>
                  </a:cubicBezTo>
                  <a:cubicBezTo>
                    <a:pt x="31446"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5"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8" y="7366"/>
                    <a:pt x="49780" y="7112"/>
                  </a:cubicBezTo>
                  <a:cubicBezTo>
                    <a:pt x="48761" y="6858"/>
                    <a:pt x="47615" y="6731"/>
                    <a:pt x="46342" y="6731"/>
                  </a:cubicBezTo>
                  <a:cubicBezTo>
                    <a:pt x="44305" y="6731"/>
                    <a:pt x="42523" y="7239"/>
                    <a:pt x="40741" y="8255"/>
                  </a:cubicBezTo>
                  <a:cubicBezTo>
                    <a:pt x="39085" y="9271"/>
                    <a:pt x="37685" y="10795"/>
                    <a:pt x="36666"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5" y="9271"/>
                    <a:pt x="10185" y="10795"/>
                    <a:pt x="9166"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5" name="Freeform 344">
              <a:extLst>
                <a:ext uri="{FF2B5EF4-FFF2-40B4-BE49-F238E27FC236}">
                  <a16:creationId xmlns:a16="http://schemas.microsoft.com/office/drawing/2014/main" id="{521F23C8-5A3B-F276-3DDF-9120A14374E8}"/>
                </a:ext>
              </a:extLst>
            </p:cNvPr>
            <p:cNvSpPr/>
            <p:nvPr/>
          </p:nvSpPr>
          <p:spPr>
            <a:xfrm>
              <a:off x="2776485"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6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2"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6"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6"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7"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46" name="Freeform 345">
              <a:extLst>
                <a:ext uri="{FF2B5EF4-FFF2-40B4-BE49-F238E27FC236}">
                  <a16:creationId xmlns:a16="http://schemas.microsoft.com/office/drawing/2014/main" id="{FB5958B2-14D8-BF4F-D9C0-837E5ECE316B}"/>
                </a:ext>
              </a:extLst>
            </p:cNvPr>
            <p:cNvSpPr/>
            <p:nvPr/>
          </p:nvSpPr>
          <p:spPr>
            <a:xfrm>
              <a:off x="2824992"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47" name="Freeform 346">
              <a:extLst>
                <a:ext uri="{FF2B5EF4-FFF2-40B4-BE49-F238E27FC236}">
                  <a16:creationId xmlns:a16="http://schemas.microsoft.com/office/drawing/2014/main" id="{7B8DA1AD-947C-2B55-87BB-0FFCDCE3B2E8}"/>
                </a:ext>
              </a:extLst>
            </p:cNvPr>
            <p:cNvSpPr/>
            <p:nvPr/>
          </p:nvSpPr>
          <p:spPr>
            <a:xfrm>
              <a:off x="2841161"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021 w 40485"/>
                <a:gd name="connsiteY24" fmla="*/ 19812 h 47371"/>
                <a:gd name="connsiteX25" fmla="*/ 32592 w 40485"/>
                <a:gd name="connsiteY25" fmla="*/ 19812 h 47371"/>
                <a:gd name="connsiteX26" fmla="*/ 31701 w 40485"/>
                <a:gd name="connsiteY26" fmla="*/ 13462 h 47371"/>
                <a:gd name="connsiteX27" fmla="*/ 29282 w 40485"/>
                <a:gd name="connsiteY27" fmla="*/ 9271 h 47371"/>
                <a:gd name="connsiteX28" fmla="*/ 25590 w 40485"/>
                <a:gd name="connsiteY28" fmla="*/ 6858 h 47371"/>
                <a:gd name="connsiteX29" fmla="*/ 20752 w 40485"/>
                <a:gd name="connsiteY29" fmla="*/ 6096 h 47371"/>
                <a:gd name="connsiteX30" fmla="*/ 14004 w 40485"/>
                <a:gd name="connsiteY30" fmla="*/ 7620 h 47371"/>
                <a:gd name="connsiteX31" fmla="*/ 9803 w 40485"/>
                <a:gd name="connsiteY31" fmla="*/ 12065 h 47371"/>
                <a:gd name="connsiteX32" fmla="*/ 8021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812"/>
                  </a:moveTo>
                  <a:lnTo>
                    <a:pt x="32592" y="19812"/>
                  </a:lnTo>
                  <a:cubicBezTo>
                    <a:pt x="32592" y="17272"/>
                    <a:pt x="32338" y="15113"/>
                    <a:pt x="31701" y="13462"/>
                  </a:cubicBezTo>
                  <a:cubicBezTo>
                    <a:pt x="31065" y="11684"/>
                    <a:pt x="30301" y="10287"/>
                    <a:pt x="29282" y="9271"/>
                  </a:cubicBezTo>
                  <a:cubicBezTo>
                    <a:pt x="28264" y="8128"/>
                    <a:pt x="26991" y="7366"/>
                    <a:pt x="25590" y="6858"/>
                  </a:cubicBezTo>
                  <a:cubicBezTo>
                    <a:pt x="24190" y="6350"/>
                    <a:pt x="22535" y="6096"/>
                    <a:pt x="20752" y="6096"/>
                  </a:cubicBezTo>
                  <a:cubicBezTo>
                    <a:pt x="18079" y="6096"/>
                    <a:pt x="15914" y="6604"/>
                    <a:pt x="14004" y="7620"/>
                  </a:cubicBezTo>
                  <a:cubicBezTo>
                    <a:pt x="12222" y="8636"/>
                    <a:pt x="10694" y="10033"/>
                    <a:pt x="9803" y="12065"/>
                  </a:cubicBezTo>
                  <a:cubicBezTo>
                    <a:pt x="8785" y="14097"/>
                    <a:pt x="8275" y="16637"/>
                    <a:pt x="8021" y="19812"/>
                  </a:cubicBezTo>
                  <a:close/>
                </a:path>
              </a:pathLst>
            </a:custGeom>
            <a:solidFill>
              <a:srgbClr val="1D4966"/>
            </a:solidFill>
            <a:ln w="0" cap="flat">
              <a:noFill/>
              <a:prstDash val="solid"/>
              <a:miter/>
            </a:ln>
          </p:spPr>
          <p:txBody>
            <a:bodyPr rtlCol="0" anchor="ctr"/>
            <a:lstStyle/>
            <a:p>
              <a:endParaRPr lang="en-AD" sz="2400"/>
            </a:p>
          </p:txBody>
        </p:sp>
        <p:sp>
          <p:nvSpPr>
            <p:cNvPr id="348" name="Freeform 347">
              <a:extLst>
                <a:ext uri="{FF2B5EF4-FFF2-40B4-BE49-F238E27FC236}">
                  <a16:creationId xmlns:a16="http://schemas.microsoft.com/office/drawing/2014/main" id="{FE22F075-112C-992D-D791-006CC0BEB2AD}"/>
                </a:ext>
              </a:extLst>
            </p:cNvPr>
            <p:cNvSpPr/>
            <p:nvPr/>
          </p:nvSpPr>
          <p:spPr>
            <a:xfrm>
              <a:off x="2890559" y="1498219"/>
              <a:ext cx="62766" cy="46355"/>
            </a:xfrm>
            <a:custGeom>
              <a:avLst/>
              <a:gdLst>
                <a:gd name="connsiteX0" fmla="*/ 0 w 62766"/>
                <a:gd name="connsiteY0" fmla="*/ 46228 h 46355"/>
                <a:gd name="connsiteX1" fmla="*/ 0 w 62766"/>
                <a:gd name="connsiteY1" fmla="*/ 889 h 46355"/>
                <a:gd name="connsiteX2" fmla="*/ 6111 w 62766"/>
                <a:gd name="connsiteY2" fmla="*/ 889 h 46355"/>
                <a:gd name="connsiteX3" fmla="*/ 6748 w 62766"/>
                <a:gd name="connsiteY3" fmla="*/ 7747 h 46355"/>
                <a:gd name="connsiteX4" fmla="*/ 7384 w 62766"/>
                <a:gd name="connsiteY4" fmla="*/ 7747 h 46355"/>
                <a:gd name="connsiteX5" fmla="*/ 11331 w 62766"/>
                <a:gd name="connsiteY5" fmla="*/ 3302 h 46355"/>
                <a:gd name="connsiteX6" fmla="*/ 16042 w 62766"/>
                <a:gd name="connsiteY6" fmla="*/ 762 h 46355"/>
                <a:gd name="connsiteX7" fmla="*/ 21644 w 62766"/>
                <a:gd name="connsiteY7" fmla="*/ 0 h 46355"/>
                <a:gd name="connsiteX8" fmla="*/ 29282 w 62766"/>
                <a:gd name="connsiteY8" fmla="*/ 1778 h 46355"/>
                <a:gd name="connsiteX9" fmla="*/ 33993 w 62766"/>
                <a:gd name="connsiteY9" fmla="*/ 7874 h 46355"/>
                <a:gd name="connsiteX10" fmla="*/ 34502 w 62766"/>
                <a:gd name="connsiteY10" fmla="*/ 7874 h 46355"/>
                <a:gd name="connsiteX11" fmla="*/ 38322 w 62766"/>
                <a:gd name="connsiteY11" fmla="*/ 3429 h 46355"/>
                <a:gd name="connsiteX12" fmla="*/ 43160 w 62766"/>
                <a:gd name="connsiteY12" fmla="*/ 889 h 46355"/>
                <a:gd name="connsiteX13" fmla="*/ 48889 w 62766"/>
                <a:gd name="connsiteY13" fmla="*/ 0 h 46355"/>
                <a:gd name="connsiteX14" fmla="*/ 56146 w 62766"/>
                <a:gd name="connsiteY14" fmla="*/ 1397 h 46355"/>
                <a:gd name="connsiteX15" fmla="*/ 60984 w 62766"/>
                <a:gd name="connsiteY15" fmla="*/ 6096 h 46355"/>
                <a:gd name="connsiteX16" fmla="*/ 62766 w 62766"/>
                <a:gd name="connsiteY16" fmla="*/ 14732 h 46355"/>
                <a:gd name="connsiteX17" fmla="*/ 62766 w 62766"/>
                <a:gd name="connsiteY17" fmla="*/ 46355 h 46355"/>
                <a:gd name="connsiteX18" fmla="*/ 55127 w 62766"/>
                <a:gd name="connsiteY18" fmla="*/ 46355 h 46355"/>
                <a:gd name="connsiteX19" fmla="*/ 55127 w 62766"/>
                <a:gd name="connsiteY19" fmla="*/ 15875 h 46355"/>
                <a:gd name="connsiteX20" fmla="*/ 54491 w 62766"/>
                <a:gd name="connsiteY20" fmla="*/ 11303 h 46355"/>
                <a:gd name="connsiteX21" fmla="*/ 52581 w 62766"/>
                <a:gd name="connsiteY21" fmla="*/ 8509 h 46355"/>
                <a:gd name="connsiteX22" fmla="*/ 49780 w 62766"/>
                <a:gd name="connsiteY22" fmla="*/ 7112 h 46355"/>
                <a:gd name="connsiteX23" fmla="*/ 46343 w 62766"/>
                <a:gd name="connsiteY23" fmla="*/ 6731 h 46355"/>
                <a:gd name="connsiteX24" fmla="*/ 40741 w 62766"/>
                <a:gd name="connsiteY24" fmla="*/ 8255 h 46355"/>
                <a:gd name="connsiteX25" fmla="*/ 36667 w 62766"/>
                <a:gd name="connsiteY25" fmla="*/ 12700 h 46355"/>
                <a:gd name="connsiteX26" fmla="*/ 35139 w 62766"/>
                <a:gd name="connsiteY26" fmla="*/ 19685 h 46355"/>
                <a:gd name="connsiteX27" fmla="*/ 35139 w 62766"/>
                <a:gd name="connsiteY27" fmla="*/ 46355 h 46355"/>
                <a:gd name="connsiteX28" fmla="*/ 27500 w 62766"/>
                <a:gd name="connsiteY28" fmla="*/ 46355 h 46355"/>
                <a:gd name="connsiteX29" fmla="*/ 27500 w 62766"/>
                <a:gd name="connsiteY29" fmla="*/ 15875 h 46355"/>
                <a:gd name="connsiteX30" fmla="*/ 26863 w 62766"/>
                <a:gd name="connsiteY30" fmla="*/ 11303 h 46355"/>
                <a:gd name="connsiteX31" fmla="*/ 25081 w 62766"/>
                <a:gd name="connsiteY31" fmla="*/ 8509 h 46355"/>
                <a:gd name="connsiteX32" fmla="*/ 22407 w 62766"/>
                <a:gd name="connsiteY32" fmla="*/ 7112 h 46355"/>
                <a:gd name="connsiteX33" fmla="*/ 19097 w 62766"/>
                <a:gd name="connsiteY33" fmla="*/ 6731 h 46355"/>
                <a:gd name="connsiteX34" fmla="*/ 13368 w 62766"/>
                <a:gd name="connsiteY34" fmla="*/ 8255 h 46355"/>
                <a:gd name="connsiteX35" fmla="*/ 9167 w 62766"/>
                <a:gd name="connsiteY35" fmla="*/ 12700 h 46355"/>
                <a:gd name="connsiteX36" fmla="*/ 7639 w 62766"/>
                <a:gd name="connsiteY36" fmla="*/ 19685 h 46355"/>
                <a:gd name="connsiteX37" fmla="*/ 7639 w 62766"/>
                <a:gd name="connsiteY37" fmla="*/ 46355 h 46355"/>
                <a:gd name="connsiteX38" fmla="*/ 0 w 62766"/>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6"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7" y="0"/>
                    <a:pt x="21644" y="0"/>
                  </a:cubicBezTo>
                  <a:cubicBezTo>
                    <a:pt x="24572" y="0"/>
                    <a:pt x="27118" y="635"/>
                    <a:pt x="29282" y="1778"/>
                  </a:cubicBezTo>
                  <a:cubicBezTo>
                    <a:pt x="31447" y="2921"/>
                    <a:pt x="32975"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4" y="6096"/>
                  </a:cubicBezTo>
                  <a:cubicBezTo>
                    <a:pt x="62129" y="8255"/>
                    <a:pt x="62766" y="11176"/>
                    <a:pt x="62766" y="14732"/>
                  </a:cubicBezTo>
                  <a:lnTo>
                    <a:pt x="62766" y="46355"/>
                  </a:lnTo>
                  <a:lnTo>
                    <a:pt x="55127" y="46355"/>
                  </a:lnTo>
                  <a:lnTo>
                    <a:pt x="55127" y="15875"/>
                  </a:lnTo>
                  <a:cubicBezTo>
                    <a:pt x="55127" y="14097"/>
                    <a:pt x="54873" y="12573"/>
                    <a:pt x="54491" y="11303"/>
                  </a:cubicBezTo>
                  <a:cubicBezTo>
                    <a:pt x="54109" y="10033"/>
                    <a:pt x="53472" y="9144"/>
                    <a:pt x="52581" y="8509"/>
                  </a:cubicBezTo>
                  <a:cubicBezTo>
                    <a:pt x="51817" y="7874"/>
                    <a:pt x="50799" y="7366"/>
                    <a:pt x="49780" y="7112"/>
                  </a:cubicBezTo>
                  <a:cubicBezTo>
                    <a:pt x="48761" y="6858"/>
                    <a:pt x="47616" y="6731"/>
                    <a:pt x="46343" y="6731"/>
                  </a:cubicBezTo>
                  <a:cubicBezTo>
                    <a:pt x="44306"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49" name="Freeform 348">
              <a:extLst>
                <a:ext uri="{FF2B5EF4-FFF2-40B4-BE49-F238E27FC236}">
                  <a16:creationId xmlns:a16="http://schemas.microsoft.com/office/drawing/2014/main" id="{E42BA946-8ECF-774F-E262-20A0FE34C4EE}"/>
                </a:ext>
              </a:extLst>
            </p:cNvPr>
            <p:cNvSpPr/>
            <p:nvPr/>
          </p:nvSpPr>
          <p:spPr>
            <a:xfrm>
              <a:off x="2961473" y="1498091"/>
              <a:ext cx="40485" cy="47371"/>
            </a:xfrm>
            <a:custGeom>
              <a:avLst/>
              <a:gdLst>
                <a:gd name="connsiteX0" fmla="*/ 20752 w 40485"/>
                <a:gd name="connsiteY0" fmla="*/ 47371 h 47371"/>
                <a:gd name="connsiteX1" fmla="*/ 9421 w 40485"/>
                <a:gd name="connsiteY1" fmla="*/ 44831 h 47371"/>
                <a:gd name="connsiteX2" fmla="*/ 2419 w 40485"/>
                <a:gd name="connsiteY2" fmla="*/ 37084 h 47371"/>
                <a:gd name="connsiteX3" fmla="*/ 0 w 40485"/>
                <a:gd name="connsiteY3" fmla="*/ 23749 h 47371"/>
                <a:gd name="connsiteX4" fmla="*/ 2419 w 40485"/>
                <a:gd name="connsiteY4" fmla="*/ 10287 h 47371"/>
                <a:gd name="connsiteX5" fmla="*/ 9421 w 40485"/>
                <a:gd name="connsiteY5" fmla="*/ 2540 h 47371"/>
                <a:gd name="connsiteX6" fmla="*/ 21134 w 40485"/>
                <a:gd name="connsiteY6" fmla="*/ 0 h 47371"/>
                <a:gd name="connsiteX7" fmla="*/ 31829 w 40485"/>
                <a:gd name="connsiteY7" fmla="*/ 2413 h 47371"/>
                <a:gd name="connsiteX8" fmla="*/ 38322 w 40485"/>
                <a:gd name="connsiteY8" fmla="*/ 9779 h 47371"/>
                <a:gd name="connsiteX9" fmla="*/ 40486 w 40485"/>
                <a:gd name="connsiteY9" fmla="*/ 21971 h 47371"/>
                <a:gd name="connsiteX10" fmla="*/ 40486 w 40485"/>
                <a:gd name="connsiteY10" fmla="*/ 25654 h 47371"/>
                <a:gd name="connsiteX11" fmla="*/ 7766 w 40485"/>
                <a:gd name="connsiteY11" fmla="*/ 25654 h 47371"/>
                <a:gd name="connsiteX12" fmla="*/ 9421 w 40485"/>
                <a:gd name="connsiteY12" fmla="*/ 34544 h 47371"/>
                <a:gd name="connsiteX13" fmla="*/ 13750 w 40485"/>
                <a:gd name="connsiteY13" fmla="*/ 39624 h 47371"/>
                <a:gd name="connsiteX14" fmla="*/ 20880 w 40485"/>
                <a:gd name="connsiteY14" fmla="*/ 41275 h 47371"/>
                <a:gd name="connsiteX15" fmla="*/ 25972 w 40485"/>
                <a:gd name="connsiteY15" fmla="*/ 40513 h 47371"/>
                <a:gd name="connsiteX16" fmla="*/ 29664 w 40485"/>
                <a:gd name="connsiteY16" fmla="*/ 38354 h 47371"/>
                <a:gd name="connsiteX17" fmla="*/ 31956 w 40485"/>
                <a:gd name="connsiteY17" fmla="*/ 35052 h 47371"/>
                <a:gd name="connsiteX18" fmla="*/ 32847 w 40485"/>
                <a:gd name="connsiteY18" fmla="*/ 30861 h 47371"/>
                <a:gd name="connsiteX19" fmla="*/ 40231 w 40485"/>
                <a:gd name="connsiteY19" fmla="*/ 30861 h 47371"/>
                <a:gd name="connsiteX20" fmla="*/ 38831 w 40485"/>
                <a:gd name="connsiteY20" fmla="*/ 37592 h 47371"/>
                <a:gd name="connsiteX21" fmla="*/ 35011 w 40485"/>
                <a:gd name="connsiteY21" fmla="*/ 42799 h 47371"/>
                <a:gd name="connsiteX22" fmla="*/ 28900 w 40485"/>
                <a:gd name="connsiteY22" fmla="*/ 46101 h 47371"/>
                <a:gd name="connsiteX23" fmla="*/ 20625 w 40485"/>
                <a:gd name="connsiteY23" fmla="*/ 47371 h 47371"/>
                <a:gd name="connsiteX24" fmla="*/ 8148 w 40485"/>
                <a:gd name="connsiteY24" fmla="*/ 19812 h 47371"/>
                <a:gd name="connsiteX25" fmla="*/ 32720 w 40485"/>
                <a:gd name="connsiteY25" fmla="*/ 19812 h 47371"/>
                <a:gd name="connsiteX26" fmla="*/ 31829 w 40485"/>
                <a:gd name="connsiteY26" fmla="*/ 13462 h 47371"/>
                <a:gd name="connsiteX27" fmla="*/ 29410 w 40485"/>
                <a:gd name="connsiteY27" fmla="*/ 9271 h 47371"/>
                <a:gd name="connsiteX28" fmla="*/ 25718 w 40485"/>
                <a:gd name="connsiteY28" fmla="*/ 6858 h 47371"/>
                <a:gd name="connsiteX29" fmla="*/ 20880 w 40485"/>
                <a:gd name="connsiteY29" fmla="*/ 6096 h 47371"/>
                <a:gd name="connsiteX30" fmla="*/ 14132 w 40485"/>
                <a:gd name="connsiteY30" fmla="*/ 7620 h 47371"/>
                <a:gd name="connsiteX31" fmla="*/ 9931 w 40485"/>
                <a:gd name="connsiteY31" fmla="*/ 12065 h 47371"/>
                <a:gd name="connsiteX32" fmla="*/ 8148 w 40485"/>
                <a:gd name="connsiteY32" fmla="*/ 19812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1">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148" y="19812"/>
                  </a:moveTo>
                  <a:lnTo>
                    <a:pt x="32720" y="19812"/>
                  </a:lnTo>
                  <a:cubicBezTo>
                    <a:pt x="32720" y="17272"/>
                    <a:pt x="32465" y="15113"/>
                    <a:pt x="31829" y="13462"/>
                  </a:cubicBezTo>
                  <a:cubicBezTo>
                    <a:pt x="31192" y="11684"/>
                    <a:pt x="30428" y="10287"/>
                    <a:pt x="29410" y="9271"/>
                  </a:cubicBezTo>
                  <a:cubicBezTo>
                    <a:pt x="28391" y="8128"/>
                    <a:pt x="27118" y="7366"/>
                    <a:pt x="25718" y="6858"/>
                  </a:cubicBezTo>
                  <a:cubicBezTo>
                    <a:pt x="24317" y="6350"/>
                    <a:pt x="22662" y="6096"/>
                    <a:pt x="20880" y="6096"/>
                  </a:cubicBezTo>
                  <a:cubicBezTo>
                    <a:pt x="18206" y="6096"/>
                    <a:pt x="16042" y="6604"/>
                    <a:pt x="14132" y="7620"/>
                  </a:cubicBezTo>
                  <a:cubicBezTo>
                    <a:pt x="12350" y="8636"/>
                    <a:pt x="10822" y="10033"/>
                    <a:pt x="9931" y="12065"/>
                  </a:cubicBezTo>
                  <a:cubicBezTo>
                    <a:pt x="8912" y="14097"/>
                    <a:pt x="8403" y="16637"/>
                    <a:pt x="8148" y="19812"/>
                  </a:cubicBezTo>
                  <a:close/>
                </a:path>
              </a:pathLst>
            </a:custGeom>
            <a:solidFill>
              <a:srgbClr val="1D4966"/>
            </a:solidFill>
            <a:ln w="0" cap="flat">
              <a:noFill/>
              <a:prstDash val="solid"/>
              <a:miter/>
            </a:ln>
          </p:spPr>
          <p:txBody>
            <a:bodyPr rtlCol="0" anchor="ctr"/>
            <a:lstStyle/>
            <a:p>
              <a:endParaRPr lang="en-AD" sz="2400"/>
            </a:p>
          </p:txBody>
        </p:sp>
        <p:sp>
          <p:nvSpPr>
            <p:cNvPr id="350" name="Freeform 349">
              <a:extLst>
                <a:ext uri="{FF2B5EF4-FFF2-40B4-BE49-F238E27FC236}">
                  <a16:creationId xmlns:a16="http://schemas.microsoft.com/office/drawing/2014/main" id="{85259F3C-5ED0-EEB9-9DD0-59356D9E3927}"/>
                </a:ext>
              </a:extLst>
            </p:cNvPr>
            <p:cNvSpPr/>
            <p:nvPr/>
          </p:nvSpPr>
          <p:spPr>
            <a:xfrm>
              <a:off x="3010616"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1" name="Freeform 350">
              <a:extLst>
                <a:ext uri="{FF2B5EF4-FFF2-40B4-BE49-F238E27FC236}">
                  <a16:creationId xmlns:a16="http://schemas.microsoft.com/office/drawing/2014/main" id="{A8A916EC-EF07-E270-88B0-FE0140DDE130}"/>
                </a:ext>
              </a:extLst>
            </p:cNvPr>
            <p:cNvSpPr/>
            <p:nvPr/>
          </p:nvSpPr>
          <p:spPr>
            <a:xfrm>
              <a:off x="3054667"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6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7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6" y="51562"/>
                  </a:cubicBezTo>
                  <a:cubicBezTo>
                    <a:pt x="14896" y="52324"/>
                    <a:pt x="15914" y="52578"/>
                    <a:pt x="17315" y="52578"/>
                  </a:cubicBezTo>
                  <a:lnTo>
                    <a:pt x="22153" y="52578"/>
                  </a:lnTo>
                  <a:lnTo>
                    <a:pt x="22153" y="57531"/>
                  </a:lnTo>
                  <a:cubicBezTo>
                    <a:pt x="22153" y="57531"/>
                    <a:pt x="20880" y="58039"/>
                    <a:pt x="20115" y="58166"/>
                  </a:cubicBezTo>
                  <a:cubicBezTo>
                    <a:pt x="19352" y="58293"/>
                    <a:pt x="18461" y="58547"/>
                    <a:pt x="17697" y="58674"/>
                  </a:cubicBezTo>
                  <a:cubicBezTo>
                    <a:pt x="16805"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2" name="Freeform 351">
              <a:extLst>
                <a:ext uri="{FF2B5EF4-FFF2-40B4-BE49-F238E27FC236}">
                  <a16:creationId xmlns:a16="http://schemas.microsoft.com/office/drawing/2014/main" id="{5ABDEA47-3AA1-F00E-769A-68790429305B}"/>
                </a:ext>
              </a:extLst>
            </p:cNvPr>
            <p:cNvSpPr/>
            <p:nvPr/>
          </p:nvSpPr>
          <p:spPr>
            <a:xfrm>
              <a:off x="3084331"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3" name="Freeform 352">
              <a:extLst>
                <a:ext uri="{FF2B5EF4-FFF2-40B4-BE49-F238E27FC236}">
                  <a16:creationId xmlns:a16="http://schemas.microsoft.com/office/drawing/2014/main" id="{9C896356-8647-67A6-A79D-B56FD68FA3E8}"/>
                </a:ext>
              </a:extLst>
            </p:cNvPr>
            <p:cNvSpPr/>
            <p:nvPr/>
          </p:nvSpPr>
          <p:spPr>
            <a:xfrm>
              <a:off x="3102282"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54" name="Freeform 353">
              <a:extLst>
                <a:ext uri="{FF2B5EF4-FFF2-40B4-BE49-F238E27FC236}">
                  <a16:creationId xmlns:a16="http://schemas.microsoft.com/office/drawing/2014/main" id="{EAAAFA38-A7B9-1E25-832C-4C1992624E34}"/>
                </a:ext>
              </a:extLst>
            </p:cNvPr>
            <p:cNvSpPr/>
            <p:nvPr/>
          </p:nvSpPr>
          <p:spPr>
            <a:xfrm>
              <a:off x="3145824" y="1491488"/>
              <a:ext cx="45960" cy="68579"/>
            </a:xfrm>
            <a:custGeom>
              <a:avLst/>
              <a:gdLst>
                <a:gd name="connsiteX0" fmla="*/ 12222 w 45960"/>
                <a:gd name="connsiteY0" fmla="*/ 68580 h 68579"/>
                <a:gd name="connsiteX1" fmla="*/ 6111 w 45960"/>
                <a:gd name="connsiteY1" fmla="*/ 67183 h 68579"/>
                <a:gd name="connsiteX2" fmla="*/ 1655 w 45960"/>
                <a:gd name="connsiteY2" fmla="*/ 63373 h 68579"/>
                <a:gd name="connsiteX3" fmla="*/ 0 w 45960"/>
                <a:gd name="connsiteY3" fmla="*/ 57404 h 68579"/>
                <a:gd name="connsiteX4" fmla="*/ 2164 w 45960"/>
                <a:gd name="connsiteY4" fmla="*/ 51054 h 68579"/>
                <a:gd name="connsiteX5" fmla="*/ 7257 w 45960"/>
                <a:gd name="connsiteY5" fmla="*/ 47371 h 68579"/>
                <a:gd name="connsiteX6" fmla="*/ 3947 w 45960"/>
                <a:gd name="connsiteY6" fmla="*/ 44450 h 68579"/>
                <a:gd name="connsiteX7" fmla="*/ 2674 w 45960"/>
                <a:gd name="connsiteY7" fmla="*/ 40386 h 68579"/>
                <a:gd name="connsiteX8" fmla="*/ 4838 w 45960"/>
                <a:gd name="connsiteY8" fmla="*/ 35306 h 68579"/>
                <a:gd name="connsiteX9" fmla="*/ 10185 w 45960"/>
                <a:gd name="connsiteY9" fmla="*/ 32512 h 68579"/>
                <a:gd name="connsiteX10" fmla="*/ 5602 w 45960"/>
                <a:gd name="connsiteY10" fmla="*/ 27686 h 68579"/>
                <a:gd name="connsiteX11" fmla="*/ 3947 w 45960"/>
                <a:gd name="connsiteY11" fmla="*/ 21082 h 68579"/>
                <a:gd name="connsiteX12" fmla="*/ 5984 w 45960"/>
                <a:gd name="connsiteY12" fmla="*/ 13462 h 68579"/>
                <a:gd name="connsiteX13" fmla="*/ 12222 w 45960"/>
                <a:gd name="connsiteY13" fmla="*/ 8255 h 68579"/>
                <a:gd name="connsiteX14" fmla="*/ 22407 w 45960"/>
                <a:gd name="connsiteY14" fmla="*/ 6350 h 68579"/>
                <a:gd name="connsiteX15" fmla="*/ 27627 w 45960"/>
                <a:gd name="connsiteY15" fmla="*/ 6731 h 68579"/>
                <a:gd name="connsiteX16" fmla="*/ 31956 w 45960"/>
                <a:gd name="connsiteY16" fmla="*/ 8001 h 68579"/>
                <a:gd name="connsiteX17" fmla="*/ 36539 w 45960"/>
                <a:gd name="connsiteY17" fmla="*/ 4445 h 68579"/>
                <a:gd name="connsiteX18" fmla="*/ 38449 w 45960"/>
                <a:gd name="connsiteY18" fmla="*/ 0 h 68579"/>
                <a:gd name="connsiteX19" fmla="*/ 45960 w 45960"/>
                <a:gd name="connsiteY19" fmla="*/ 0 h 68579"/>
                <a:gd name="connsiteX20" fmla="*/ 44815 w 45960"/>
                <a:gd name="connsiteY20" fmla="*/ 4826 h 68579"/>
                <a:gd name="connsiteX21" fmla="*/ 41632 w 45960"/>
                <a:gd name="connsiteY21" fmla="*/ 8636 h 68579"/>
                <a:gd name="connsiteX22" fmla="*/ 36794 w 45960"/>
                <a:gd name="connsiteY22" fmla="*/ 10668 h 68579"/>
                <a:gd name="connsiteX23" fmla="*/ 39977 w 45960"/>
                <a:gd name="connsiteY23" fmla="*/ 15367 h 68579"/>
                <a:gd name="connsiteX24" fmla="*/ 40995 w 45960"/>
                <a:gd name="connsiteY24" fmla="*/ 20955 h 68579"/>
                <a:gd name="connsiteX25" fmla="*/ 38958 w 45960"/>
                <a:gd name="connsiteY25" fmla="*/ 28575 h 68579"/>
                <a:gd name="connsiteX26" fmla="*/ 32847 w 45960"/>
                <a:gd name="connsiteY26" fmla="*/ 33782 h 68579"/>
                <a:gd name="connsiteX27" fmla="*/ 22662 w 45960"/>
                <a:gd name="connsiteY27" fmla="*/ 35687 h 68579"/>
                <a:gd name="connsiteX28" fmla="*/ 15532 w 45960"/>
                <a:gd name="connsiteY28" fmla="*/ 35687 h 68579"/>
                <a:gd name="connsiteX29" fmla="*/ 11713 w 45960"/>
                <a:gd name="connsiteY29" fmla="*/ 36576 h 68579"/>
                <a:gd name="connsiteX30" fmla="*/ 10185 w 45960"/>
                <a:gd name="connsiteY30" fmla="*/ 39497 h 68579"/>
                <a:gd name="connsiteX31" fmla="*/ 11713 w 45960"/>
                <a:gd name="connsiteY31" fmla="*/ 42291 h 68579"/>
                <a:gd name="connsiteX32" fmla="*/ 15532 w 45960"/>
                <a:gd name="connsiteY32" fmla="*/ 43307 h 68579"/>
                <a:gd name="connsiteX33" fmla="*/ 33993 w 45960"/>
                <a:gd name="connsiteY33" fmla="*/ 43307 h 68579"/>
                <a:gd name="connsiteX34" fmla="*/ 42141 w 45960"/>
                <a:gd name="connsiteY34" fmla="*/ 46609 h 68579"/>
                <a:gd name="connsiteX35" fmla="*/ 45324 w 45960"/>
                <a:gd name="connsiteY35" fmla="*/ 55118 h 68579"/>
                <a:gd name="connsiteX36" fmla="*/ 43414 w 45960"/>
                <a:gd name="connsiteY36" fmla="*/ 61849 h 68579"/>
                <a:gd name="connsiteX37" fmla="*/ 38194 w 45960"/>
                <a:gd name="connsiteY37" fmla="*/ 66548 h 68579"/>
                <a:gd name="connsiteX38" fmla="*/ 30428 w 45960"/>
                <a:gd name="connsiteY38" fmla="*/ 68326 h 68579"/>
                <a:gd name="connsiteX39" fmla="*/ 11840 w 45960"/>
                <a:gd name="connsiteY39" fmla="*/ 68326 h 68579"/>
                <a:gd name="connsiteX40" fmla="*/ 14387 w 45960"/>
                <a:gd name="connsiteY40" fmla="*/ 62865 h 68579"/>
                <a:gd name="connsiteX41" fmla="*/ 30683 w 45960"/>
                <a:gd name="connsiteY41" fmla="*/ 62865 h 68579"/>
                <a:gd name="connsiteX42" fmla="*/ 34375 w 45960"/>
                <a:gd name="connsiteY42" fmla="*/ 62103 h 68579"/>
                <a:gd name="connsiteX43" fmla="*/ 36921 w 45960"/>
                <a:gd name="connsiteY43" fmla="*/ 59817 h 68579"/>
                <a:gd name="connsiteX44" fmla="*/ 37812 w 45960"/>
                <a:gd name="connsiteY44" fmla="*/ 56642 h 68579"/>
                <a:gd name="connsiteX45" fmla="*/ 36030 w 45960"/>
                <a:gd name="connsiteY45" fmla="*/ 51943 h 68579"/>
                <a:gd name="connsiteX46" fmla="*/ 31701 w 45960"/>
                <a:gd name="connsiteY46" fmla="*/ 50165 h 68579"/>
                <a:gd name="connsiteX47" fmla="*/ 14259 w 45960"/>
                <a:gd name="connsiteY47" fmla="*/ 50165 h 68579"/>
                <a:gd name="connsiteX48" fmla="*/ 9549 w 45960"/>
                <a:gd name="connsiteY48" fmla="*/ 52070 h 68579"/>
                <a:gd name="connsiteX49" fmla="*/ 7639 w 45960"/>
                <a:gd name="connsiteY49" fmla="*/ 56642 h 68579"/>
                <a:gd name="connsiteX50" fmla="*/ 9549 w 45960"/>
                <a:gd name="connsiteY50" fmla="*/ 61214 h 68579"/>
                <a:gd name="connsiteX51" fmla="*/ 14259 w 45960"/>
                <a:gd name="connsiteY51" fmla="*/ 62992 h 68579"/>
                <a:gd name="connsiteX52" fmla="*/ 22662 w 45960"/>
                <a:gd name="connsiteY52" fmla="*/ 30226 h 68579"/>
                <a:gd name="connsiteX53" fmla="*/ 30810 w 45960"/>
                <a:gd name="connsiteY53" fmla="*/ 27813 h 68579"/>
                <a:gd name="connsiteX54" fmla="*/ 33484 w 45960"/>
                <a:gd name="connsiteY54" fmla="*/ 21209 h 68579"/>
                <a:gd name="connsiteX55" fmla="*/ 30810 w 45960"/>
                <a:gd name="connsiteY55" fmla="*/ 14605 h 68579"/>
                <a:gd name="connsiteX56" fmla="*/ 22662 w 45960"/>
                <a:gd name="connsiteY56" fmla="*/ 12192 h 68579"/>
                <a:gd name="connsiteX57" fmla="*/ 14387 w 45960"/>
                <a:gd name="connsiteY57" fmla="*/ 14605 h 68579"/>
                <a:gd name="connsiteX58" fmla="*/ 11713 w 45960"/>
                <a:gd name="connsiteY58" fmla="*/ 21209 h 68579"/>
                <a:gd name="connsiteX59" fmla="*/ 12986 w 45960"/>
                <a:gd name="connsiteY59" fmla="*/ 25908 h 68579"/>
                <a:gd name="connsiteX60" fmla="*/ 16678 w 45960"/>
                <a:gd name="connsiteY60" fmla="*/ 29083 h 68579"/>
                <a:gd name="connsiteX61" fmla="*/ 22789 w 45960"/>
                <a:gd name="connsiteY61" fmla="*/ 30226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79">
                  <a:moveTo>
                    <a:pt x="12222" y="68580"/>
                  </a:moveTo>
                  <a:cubicBezTo>
                    <a:pt x="10058" y="68580"/>
                    <a:pt x="8021"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7" y="46736"/>
                    <a:pt x="4711" y="45720"/>
                    <a:pt x="3947" y="44450"/>
                  </a:cubicBezTo>
                  <a:cubicBezTo>
                    <a:pt x="3183" y="43180"/>
                    <a:pt x="2674" y="41910"/>
                    <a:pt x="2674" y="40386"/>
                  </a:cubicBezTo>
                  <a:cubicBezTo>
                    <a:pt x="2674" y="38354"/>
                    <a:pt x="3438" y="36703"/>
                    <a:pt x="4838" y="35306"/>
                  </a:cubicBezTo>
                  <a:cubicBezTo>
                    <a:pt x="6366" y="33909"/>
                    <a:pt x="8148" y="33020"/>
                    <a:pt x="10185" y="32512"/>
                  </a:cubicBezTo>
                  <a:cubicBezTo>
                    <a:pt x="8276"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1" y="6350"/>
                    <a:pt x="22407" y="6350"/>
                  </a:cubicBezTo>
                  <a:cubicBezTo>
                    <a:pt x="24190" y="6350"/>
                    <a:pt x="25972" y="6477"/>
                    <a:pt x="27627" y="6731"/>
                  </a:cubicBezTo>
                  <a:cubicBezTo>
                    <a:pt x="29282" y="6985"/>
                    <a:pt x="30683" y="7366"/>
                    <a:pt x="31956" y="8001"/>
                  </a:cubicBezTo>
                  <a:cubicBezTo>
                    <a:pt x="33993" y="7112"/>
                    <a:pt x="35521" y="5842"/>
                    <a:pt x="36539" y="4445"/>
                  </a:cubicBezTo>
                  <a:cubicBezTo>
                    <a:pt x="37558" y="3048"/>
                    <a:pt x="38194" y="1524"/>
                    <a:pt x="38449" y="0"/>
                  </a:cubicBezTo>
                  <a:lnTo>
                    <a:pt x="45960" y="0"/>
                  </a:lnTo>
                  <a:cubicBezTo>
                    <a:pt x="45960" y="1778"/>
                    <a:pt x="45579" y="3302"/>
                    <a:pt x="44815" y="4826"/>
                  </a:cubicBezTo>
                  <a:cubicBezTo>
                    <a:pt x="44051" y="6350"/>
                    <a:pt x="43032" y="7620"/>
                    <a:pt x="41632" y="8636"/>
                  </a:cubicBezTo>
                  <a:cubicBezTo>
                    <a:pt x="40359" y="9652"/>
                    <a:pt x="38704" y="10287"/>
                    <a:pt x="36794" y="10668"/>
                  </a:cubicBezTo>
                  <a:cubicBezTo>
                    <a:pt x="38194" y="12065"/>
                    <a:pt x="39340" y="13589"/>
                    <a:pt x="39977" y="15367"/>
                  </a:cubicBezTo>
                  <a:cubicBezTo>
                    <a:pt x="40741" y="17145"/>
                    <a:pt x="40995" y="18923"/>
                    <a:pt x="40995" y="20955"/>
                  </a:cubicBezTo>
                  <a:cubicBezTo>
                    <a:pt x="40995" y="23876"/>
                    <a:pt x="40359" y="26416"/>
                    <a:pt x="38958" y="28575"/>
                  </a:cubicBezTo>
                  <a:cubicBezTo>
                    <a:pt x="37558" y="30734"/>
                    <a:pt x="35521" y="32512"/>
                    <a:pt x="32847" y="33782"/>
                  </a:cubicBezTo>
                  <a:cubicBezTo>
                    <a:pt x="30174" y="35052"/>
                    <a:pt x="26736" y="35687"/>
                    <a:pt x="22662" y="35687"/>
                  </a:cubicBezTo>
                  <a:lnTo>
                    <a:pt x="15532" y="35687"/>
                  </a:lnTo>
                  <a:cubicBezTo>
                    <a:pt x="14005" y="35687"/>
                    <a:pt x="12731" y="35941"/>
                    <a:pt x="11713" y="36576"/>
                  </a:cubicBezTo>
                  <a:cubicBezTo>
                    <a:pt x="10695" y="37211"/>
                    <a:pt x="10185" y="38100"/>
                    <a:pt x="10185" y="39497"/>
                  </a:cubicBezTo>
                  <a:cubicBezTo>
                    <a:pt x="10185" y="40640"/>
                    <a:pt x="10695" y="41529"/>
                    <a:pt x="11713" y="42291"/>
                  </a:cubicBezTo>
                  <a:cubicBezTo>
                    <a:pt x="12731" y="43053"/>
                    <a:pt x="14005" y="43307"/>
                    <a:pt x="15532" y="43307"/>
                  </a:cubicBezTo>
                  <a:lnTo>
                    <a:pt x="33993" y="43307"/>
                  </a:lnTo>
                  <a:cubicBezTo>
                    <a:pt x="37303" y="43307"/>
                    <a:pt x="40104" y="44450"/>
                    <a:pt x="42141" y="46609"/>
                  </a:cubicBezTo>
                  <a:cubicBezTo>
                    <a:pt x="44306"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7" y="62865"/>
                  </a:moveTo>
                  <a:lnTo>
                    <a:pt x="30683" y="62865"/>
                  </a:lnTo>
                  <a:cubicBezTo>
                    <a:pt x="31956" y="62865"/>
                    <a:pt x="33229" y="62611"/>
                    <a:pt x="34375" y="62103"/>
                  </a:cubicBezTo>
                  <a:cubicBezTo>
                    <a:pt x="35521" y="61595"/>
                    <a:pt x="36285" y="60833"/>
                    <a:pt x="36921" y="59817"/>
                  </a:cubicBezTo>
                  <a:cubicBezTo>
                    <a:pt x="37558" y="58801"/>
                    <a:pt x="37812" y="57785"/>
                    <a:pt x="37812" y="56642"/>
                  </a:cubicBezTo>
                  <a:cubicBezTo>
                    <a:pt x="37812" y="54737"/>
                    <a:pt x="37176" y="53086"/>
                    <a:pt x="36030" y="51943"/>
                  </a:cubicBezTo>
                  <a:cubicBezTo>
                    <a:pt x="34884" y="50800"/>
                    <a:pt x="33484" y="50165"/>
                    <a:pt x="31701" y="50165"/>
                  </a:cubicBezTo>
                  <a:lnTo>
                    <a:pt x="14259" y="50165"/>
                  </a:lnTo>
                  <a:cubicBezTo>
                    <a:pt x="12477" y="50165"/>
                    <a:pt x="10822" y="50800"/>
                    <a:pt x="9549" y="52070"/>
                  </a:cubicBezTo>
                  <a:cubicBezTo>
                    <a:pt x="8276" y="53340"/>
                    <a:pt x="7639" y="54864"/>
                    <a:pt x="7639" y="56642"/>
                  </a:cubicBezTo>
                  <a:cubicBezTo>
                    <a:pt x="7639" y="58547"/>
                    <a:pt x="8276" y="60071"/>
                    <a:pt x="9549" y="61214"/>
                  </a:cubicBezTo>
                  <a:cubicBezTo>
                    <a:pt x="10822" y="62357"/>
                    <a:pt x="12350" y="62992"/>
                    <a:pt x="14259" y="62992"/>
                  </a:cubicBezTo>
                  <a:close/>
                  <a:moveTo>
                    <a:pt x="22662" y="30226"/>
                  </a:moveTo>
                  <a:cubicBezTo>
                    <a:pt x="26354" y="30226"/>
                    <a:pt x="29028" y="29464"/>
                    <a:pt x="30810" y="27813"/>
                  </a:cubicBezTo>
                  <a:cubicBezTo>
                    <a:pt x="32592" y="26162"/>
                    <a:pt x="33484" y="24003"/>
                    <a:pt x="33484" y="21209"/>
                  </a:cubicBezTo>
                  <a:cubicBezTo>
                    <a:pt x="33484" y="18415"/>
                    <a:pt x="32592" y="16256"/>
                    <a:pt x="30810" y="14605"/>
                  </a:cubicBezTo>
                  <a:cubicBezTo>
                    <a:pt x="29028" y="12954"/>
                    <a:pt x="26227" y="12192"/>
                    <a:pt x="22662" y="12192"/>
                  </a:cubicBezTo>
                  <a:cubicBezTo>
                    <a:pt x="19097" y="12192"/>
                    <a:pt x="16169" y="12954"/>
                    <a:pt x="14387"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355" name="Freeform 354">
              <a:extLst>
                <a:ext uri="{FF2B5EF4-FFF2-40B4-BE49-F238E27FC236}">
                  <a16:creationId xmlns:a16="http://schemas.microsoft.com/office/drawing/2014/main" id="{C7AFFC1F-A8F7-EAB0-1DF3-1AD746A9BBD9}"/>
                </a:ext>
              </a:extLst>
            </p:cNvPr>
            <p:cNvSpPr/>
            <p:nvPr/>
          </p:nvSpPr>
          <p:spPr>
            <a:xfrm>
              <a:off x="3211900" y="1485264"/>
              <a:ext cx="54108" cy="59182"/>
            </a:xfrm>
            <a:custGeom>
              <a:avLst/>
              <a:gdLst>
                <a:gd name="connsiteX0" fmla="*/ 22153 w 54108"/>
                <a:gd name="connsiteY0" fmla="*/ 59182 h 59182"/>
                <a:gd name="connsiteX1" fmla="*/ 0 w 54108"/>
                <a:gd name="connsiteY1" fmla="*/ 0 h 59182"/>
                <a:gd name="connsiteX2" fmla="*/ 8912 w 54108"/>
                <a:gd name="connsiteY2" fmla="*/ 0 h 59182"/>
                <a:gd name="connsiteX3" fmla="*/ 24062 w 54108"/>
                <a:gd name="connsiteY3" fmla="*/ 41910 h 59182"/>
                <a:gd name="connsiteX4" fmla="*/ 25081 w 54108"/>
                <a:gd name="connsiteY4" fmla="*/ 44704 h 59182"/>
                <a:gd name="connsiteX5" fmla="*/ 26099 w 54108"/>
                <a:gd name="connsiteY5" fmla="*/ 47752 h 59182"/>
                <a:gd name="connsiteX6" fmla="*/ 26991 w 54108"/>
                <a:gd name="connsiteY6" fmla="*/ 50292 h 59182"/>
                <a:gd name="connsiteX7" fmla="*/ 27500 w 54108"/>
                <a:gd name="connsiteY7" fmla="*/ 50292 h 59182"/>
                <a:gd name="connsiteX8" fmla="*/ 28391 w 54108"/>
                <a:gd name="connsiteY8" fmla="*/ 47752 h 59182"/>
                <a:gd name="connsiteX9" fmla="*/ 29410 w 54108"/>
                <a:gd name="connsiteY9" fmla="*/ 44831 h 59182"/>
                <a:gd name="connsiteX10" fmla="*/ 30428 w 54108"/>
                <a:gd name="connsiteY10" fmla="*/ 41910 h 59182"/>
                <a:gd name="connsiteX11" fmla="*/ 45451 w 54108"/>
                <a:gd name="connsiteY11" fmla="*/ 0 h 59182"/>
                <a:gd name="connsiteX12" fmla="*/ 54109 w 54108"/>
                <a:gd name="connsiteY12" fmla="*/ 0 h 59182"/>
                <a:gd name="connsiteX13" fmla="*/ 31956 w 54108"/>
                <a:gd name="connsiteY13" fmla="*/ 59182 h 59182"/>
                <a:gd name="connsiteX14" fmla="*/ 22025 w 54108"/>
                <a:gd name="connsiteY14" fmla="*/ 59182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108" h="59182">
                  <a:moveTo>
                    <a:pt x="22153" y="59182"/>
                  </a:moveTo>
                  <a:lnTo>
                    <a:pt x="0" y="0"/>
                  </a:lnTo>
                  <a:lnTo>
                    <a:pt x="8912" y="0"/>
                  </a:lnTo>
                  <a:lnTo>
                    <a:pt x="24062" y="41910"/>
                  </a:lnTo>
                  <a:cubicBezTo>
                    <a:pt x="24444" y="42672"/>
                    <a:pt x="24699" y="43688"/>
                    <a:pt x="25081" y="44704"/>
                  </a:cubicBezTo>
                  <a:cubicBezTo>
                    <a:pt x="25463" y="45720"/>
                    <a:pt x="25718" y="46736"/>
                    <a:pt x="26099" y="47752"/>
                  </a:cubicBezTo>
                  <a:cubicBezTo>
                    <a:pt x="26481" y="48768"/>
                    <a:pt x="26736" y="49530"/>
                    <a:pt x="26991" y="50292"/>
                  </a:cubicBezTo>
                  <a:lnTo>
                    <a:pt x="27500" y="50292"/>
                  </a:lnTo>
                  <a:cubicBezTo>
                    <a:pt x="27755" y="49657"/>
                    <a:pt x="28009" y="48768"/>
                    <a:pt x="28391" y="47752"/>
                  </a:cubicBezTo>
                  <a:cubicBezTo>
                    <a:pt x="28773" y="46736"/>
                    <a:pt x="29028" y="45847"/>
                    <a:pt x="29410" y="44831"/>
                  </a:cubicBezTo>
                  <a:cubicBezTo>
                    <a:pt x="29792" y="43815"/>
                    <a:pt x="30046" y="42926"/>
                    <a:pt x="30428" y="41910"/>
                  </a:cubicBezTo>
                  <a:lnTo>
                    <a:pt x="45451" y="0"/>
                  </a:lnTo>
                  <a:lnTo>
                    <a:pt x="54109" y="0"/>
                  </a:lnTo>
                  <a:lnTo>
                    <a:pt x="31956" y="59182"/>
                  </a:lnTo>
                  <a:lnTo>
                    <a:pt x="22025" y="59182"/>
                  </a:lnTo>
                  <a:close/>
                </a:path>
              </a:pathLst>
            </a:custGeom>
            <a:solidFill>
              <a:srgbClr val="1D4966"/>
            </a:solidFill>
            <a:ln w="0" cap="flat">
              <a:noFill/>
              <a:prstDash val="solid"/>
              <a:miter/>
            </a:ln>
          </p:spPr>
          <p:txBody>
            <a:bodyPr rtlCol="0" anchor="ctr"/>
            <a:lstStyle/>
            <a:p>
              <a:endParaRPr lang="en-AD" sz="2400"/>
            </a:p>
          </p:txBody>
        </p:sp>
        <p:sp>
          <p:nvSpPr>
            <p:cNvPr id="356" name="Freeform 355">
              <a:extLst>
                <a:ext uri="{FF2B5EF4-FFF2-40B4-BE49-F238E27FC236}">
                  <a16:creationId xmlns:a16="http://schemas.microsoft.com/office/drawing/2014/main" id="{D6524127-6464-1E91-E1DA-B80D84C58771}"/>
                </a:ext>
              </a:extLst>
            </p:cNvPr>
            <p:cNvSpPr/>
            <p:nvPr/>
          </p:nvSpPr>
          <p:spPr>
            <a:xfrm>
              <a:off x="3272884" y="1482089"/>
              <a:ext cx="7638" cy="62357"/>
            </a:xfrm>
            <a:custGeom>
              <a:avLst/>
              <a:gdLst>
                <a:gd name="connsiteX0" fmla="*/ 0 w 7638"/>
                <a:gd name="connsiteY0" fmla="*/ 8509 h 62357"/>
                <a:gd name="connsiteX1" fmla="*/ 0 w 7638"/>
                <a:gd name="connsiteY1" fmla="*/ 0 h 62357"/>
                <a:gd name="connsiteX2" fmla="*/ 7639 w 7638"/>
                <a:gd name="connsiteY2" fmla="*/ 0 h 62357"/>
                <a:gd name="connsiteX3" fmla="*/ 7639 w 7638"/>
                <a:gd name="connsiteY3" fmla="*/ 8509 h 62357"/>
                <a:gd name="connsiteX4" fmla="*/ 0 w 7638"/>
                <a:gd name="connsiteY4" fmla="*/ 8509 h 62357"/>
                <a:gd name="connsiteX5" fmla="*/ 0 w 7638"/>
                <a:gd name="connsiteY5" fmla="*/ 62357 h 62357"/>
                <a:gd name="connsiteX6" fmla="*/ 0 w 7638"/>
                <a:gd name="connsiteY6" fmla="*/ 17018 h 62357"/>
                <a:gd name="connsiteX7" fmla="*/ 7639 w 7638"/>
                <a:gd name="connsiteY7" fmla="*/ 17018 h 62357"/>
                <a:gd name="connsiteX8" fmla="*/ 7639 w 7638"/>
                <a:gd name="connsiteY8" fmla="*/ 62357 h 62357"/>
                <a:gd name="connsiteX9" fmla="*/ 0 w 7638"/>
                <a:gd name="connsiteY9" fmla="*/ 62357 h 6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7">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57" name="Freeform 356">
              <a:extLst>
                <a:ext uri="{FF2B5EF4-FFF2-40B4-BE49-F238E27FC236}">
                  <a16:creationId xmlns:a16="http://schemas.microsoft.com/office/drawing/2014/main" id="{35BD3DF8-65B0-7DEC-F91E-D1133BA9DFA9}"/>
                </a:ext>
              </a:extLst>
            </p:cNvPr>
            <p:cNvSpPr/>
            <p:nvPr/>
          </p:nvSpPr>
          <p:spPr>
            <a:xfrm>
              <a:off x="3291217"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58" name="Freeform 357">
              <a:extLst>
                <a:ext uri="{FF2B5EF4-FFF2-40B4-BE49-F238E27FC236}">
                  <a16:creationId xmlns:a16="http://schemas.microsoft.com/office/drawing/2014/main" id="{D172E70B-BCC3-14EE-2777-3A3CD03941C0}"/>
                </a:ext>
              </a:extLst>
            </p:cNvPr>
            <p:cNvSpPr/>
            <p:nvPr/>
          </p:nvSpPr>
          <p:spPr>
            <a:xfrm>
              <a:off x="3317571"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8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1" y="58547"/>
                    <a:pt x="17696"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59" name="Freeform 358">
              <a:extLst>
                <a:ext uri="{FF2B5EF4-FFF2-40B4-BE49-F238E27FC236}">
                  <a16:creationId xmlns:a16="http://schemas.microsoft.com/office/drawing/2014/main" id="{ECB0BB03-50B6-B47E-A499-23D3DF93DBDC}"/>
                </a:ext>
              </a:extLst>
            </p:cNvPr>
            <p:cNvSpPr/>
            <p:nvPr/>
          </p:nvSpPr>
          <p:spPr>
            <a:xfrm>
              <a:off x="3346344"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7 w 37303"/>
                <a:gd name="connsiteY9" fmla="*/ 39751 h 46355"/>
                <a:gd name="connsiteX10" fmla="*/ 23298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3" y="38481"/>
                    <a:pt x="12222" y="38989"/>
                    <a:pt x="13368" y="39370"/>
                  </a:cubicBezTo>
                  <a:cubicBezTo>
                    <a:pt x="14514" y="39624"/>
                    <a:pt x="15787" y="39751"/>
                    <a:pt x="17187" y="39751"/>
                  </a:cubicBezTo>
                  <a:cubicBezTo>
                    <a:pt x="19352" y="39751"/>
                    <a:pt x="21389" y="39243"/>
                    <a:pt x="23298"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60" name="Freeform 359">
              <a:extLst>
                <a:ext uri="{FF2B5EF4-FFF2-40B4-BE49-F238E27FC236}">
                  <a16:creationId xmlns:a16="http://schemas.microsoft.com/office/drawing/2014/main" id="{58C67394-478D-853E-BFFA-CF3D6E010EAA}"/>
                </a:ext>
              </a:extLst>
            </p:cNvPr>
            <p:cNvSpPr/>
            <p:nvPr/>
          </p:nvSpPr>
          <p:spPr>
            <a:xfrm>
              <a:off x="3391541" y="1497964"/>
              <a:ext cx="43668" cy="47498"/>
            </a:xfrm>
            <a:custGeom>
              <a:avLst/>
              <a:gdLst>
                <a:gd name="connsiteX0" fmla="*/ 14387 w 43668"/>
                <a:gd name="connsiteY0" fmla="*/ 47498 h 47498"/>
                <a:gd name="connsiteX1" fmla="*/ 9421 w 43668"/>
                <a:gd name="connsiteY1" fmla="*/ 46863 h 47498"/>
                <a:gd name="connsiteX2" fmla="*/ 4711 w 43668"/>
                <a:gd name="connsiteY2" fmla="*/ 44831 h 47498"/>
                <a:gd name="connsiteX3" fmla="*/ 1273 w 43668"/>
                <a:gd name="connsiteY3" fmla="*/ 41021 h 47498"/>
                <a:gd name="connsiteX4" fmla="*/ 0 w 43668"/>
                <a:gd name="connsiteY4" fmla="*/ 34798 h 47498"/>
                <a:gd name="connsiteX5" fmla="*/ 2292 w 43668"/>
                <a:gd name="connsiteY5" fmla="*/ 27178 h 47498"/>
                <a:gd name="connsiteX6" fmla="*/ 8530 w 43668"/>
                <a:gd name="connsiteY6" fmla="*/ 22479 h 47498"/>
                <a:gd name="connsiteX7" fmla="*/ 18079 w 43668"/>
                <a:gd name="connsiteY7" fmla="*/ 20193 h 47498"/>
                <a:gd name="connsiteX8" fmla="*/ 30046 w 43668"/>
                <a:gd name="connsiteY8" fmla="*/ 19558 h 47498"/>
                <a:gd name="connsiteX9" fmla="*/ 30046 w 43668"/>
                <a:gd name="connsiteY9" fmla="*/ 14351 h 47498"/>
                <a:gd name="connsiteX10" fmla="*/ 29155 w 43668"/>
                <a:gd name="connsiteY10" fmla="*/ 10033 h 47498"/>
                <a:gd name="connsiteX11" fmla="*/ 26099 w 43668"/>
                <a:gd name="connsiteY11" fmla="*/ 7239 h 47498"/>
                <a:gd name="connsiteX12" fmla="*/ 19861 w 43668"/>
                <a:gd name="connsiteY12" fmla="*/ 6223 h 47498"/>
                <a:gd name="connsiteX13" fmla="*/ 13623 w 43668"/>
                <a:gd name="connsiteY13" fmla="*/ 7239 h 47498"/>
                <a:gd name="connsiteX14" fmla="*/ 10440 w 43668"/>
                <a:gd name="connsiteY14" fmla="*/ 9779 h 47498"/>
                <a:gd name="connsiteX15" fmla="*/ 9549 w 43668"/>
                <a:gd name="connsiteY15" fmla="*/ 13208 h 47498"/>
                <a:gd name="connsiteX16" fmla="*/ 9549 w 43668"/>
                <a:gd name="connsiteY16" fmla="*/ 14478 h 47498"/>
                <a:gd name="connsiteX17" fmla="*/ 2165 w 43668"/>
                <a:gd name="connsiteY17" fmla="*/ 14478 h 47498"/>
                <a:gd name="connsiteX18" fmla="*/ 2165 w 43668"/>
                <a:gd name="connsiteY18" fmla="*/ 13589 h 47498"/>
                <a:gd name="connsiteX19" fmla="*/ 2165 w 43668"/>
                <a:gd name="connsiteY19" fmla="*/ 12573 h 47498"/>
                <a:gd name="connsiteX20" fmla="*/ 4456 w 43668"/>
                <a:gd name="connsiteY20" fmla="*/ 5588 h 47498"/>
                <a:gd name="connsiteX21" fmla="*/ 10949 w 43668"/>
                <a:gd name="connsiteY21" fmla="*/ 1397 h 47498"/>
                <a:gd name="connsiteX22" fmla="*/ 20498 w 43668"/>
                <a:gd name="connsiteY22" fmla="*/ 0 h 47498"/>
                <a:gd name="connsiteX23" fmla="*/ 30046 w 43668"/>
                <a:gd name="connsiteY23" fmla="*/ 1651 h 47498"/>
                <a:gd name="connsiteX24" fmla="*/ 35775 w 43668"/>
                <a:gd name="connsiteY24" fmla="*/ 6350 h 47498"/>
                <a:gd name="connsiteX25" fmla="*/ 37685 w 43668"/>
                <a:gd name="connsiteY25" fmla="*/ 13589 h 47498"/>
                <a:gd name="connsiteX26" fmla="*/ 37685 w 43668"/>
                <a:gd name="connsiteY26" fmla="*/ 38100 h 47498"/>
                <a:gd name="connsiteX27" fmla="*/ 38449 w 43668"/>
                <a:gd name="connsiteY27" fmla="*/ 40386 h 47498"/>
                <a:gd name="connsiteX28" fmla="*/ 40359 w 43668"/>
                <a:gd name="connsiteY28" fmla="*/ 41021 h 47498"/>
                <a:gd name="connsiteX29" fmla="*/ 43669 w 43668"/>
                <a:gd name="connsiteY29" fmla="*/ 41021 h 47498"/>
                <a:gd name="connsiteX30" fmla="*/ 43669 w 43668"/>
                <a:gd name="connsiteY30" fmla="*/ 45974 h 47498"/>
                <a:gd name="connsiteX31" fmla="*/ 40995 w 43668"/>
                <a:gd name="connsiteY31" fmla="*/ 46863 h 47498"/>
                <a:gd name="connsiteX32" fmla="*/ 37685 w 43668"/>
                <a:gd name="connsiteY32" fmla="*/ 47244 h 47498"/>
                <a:gd name="connsiteX33" fmla="*/ 33993 w 43668"/>
                <a:gd name="connsiteY33" fmla="*/ 46355 h 47498"/>
                <a:gd name="connsiteX34" fmla="*/ 31701 w 43668"/>
                <a:gd name="connsiteY34" fmla="*/ 43815 h 47498"/>
                <a:gd name="connsiteX35" fmla="*/ 30683 w 43668"/>
                <a:gd name="connsiteY35" fmla="*/ 40259 h 47498"/>
                <a:gd name="connsiteX36" fmla="*/ 30046 w 43668"/>
                <a:gd name="connsiteY36" fmla="*/ 40259 h 47498"/>
                <a:gd name="connsiteX37" fmla="*/ 26099 w 43668"/>
                <a:gd name="connsiteY37" fmla="*/ 44069 h 47498"/>
                <a:gd name="connsiteX38" fmla="*/ 20752 w 43668"/>
                <a:gd name="connsiteY38" fmla="*/ 46482 h 47498"/>
                <a:gd name="connsiteX39" fmla="*/ 14387 w 43668"/>
                <a:gd name="connsiteY39" fmla="*/ 47371 h 47498"/>
                <a:gd name="connsiteX40" fmla="*/ 16169 w 43668"/>
                <a:gd name="connsiteY40" fmla="*/ 41148 h 47498"/>
                <a:gd name="connsiteX41" fmla="*/ 21389 w 43668"/>
                <a:gd name="connsiteY41" fmla="*/ 40259 h 47498"/>
                <a:gd name="connsiteX42" fmla="*/ 25717 w 43668"/>
                <a:gd name="connsiteY42" fmla="*/ 37846 h 47498"/>
                <a:gd name="connsiteX43" fmla="*/ 28773 w 43668"/>
                <a:gd name="connsiteY43" fmla="*/ 34036 h 47498"/>
                <a:gd name="connsiteX44" fmla="*/ 29919 w 43668"/>
                <a:gd name="connsiteY44" fmla="*/ 29083 h 47498"/>
                <a:gd name="connsiteX45" fmla="*/ 29919 w 43668"/>
                <a:gd name="connsiteY45" fmla="*/ 25273 h 47498"/>
                <a:gd name="connsiteX46" fmla="*/ 17951 w 43668"/>
                <a:gd name="connsiteY46" fmla="*/ 26035 h 47498"/>
                <a:gd name="connsiteX47" fmla="*/ 10440 w 43668"/>
                <a:gd name="connsiteY47" fmla="*/ 28829 h 47498"/>
                <a:gd name="connsiteX48" fmla="*/ 7766 w 43668"/>
                <a:gd name="connsiteY48" fmla="*/ 34417 h 47498"/>
                <a:gd name="connsiteX49" fmla="*/ 8785 w 43668"/>
                <a:gd name="connsiteY49" fmla="*/ 38227 h 47498"/>
                <a:gd name="connsiteX50" fmla="*/ 11713 w 43668"/>
                <a:gd name="connsiteY50" fmla="*/ 40386 h 47498"/>
                <a:gd name="connsiteX51" fmla="*/ 16169 w 43668"/>
                <a:gd name="connsiteY51" fmla="*/ 41148 h 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8">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9"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169" y="41148"/>
                  </a:moveTo>
                  <a:cubicBezTo>
                    <a:pt x="17951" y="41148"/>
                    <a:pt x="19734" y="40894"/>
                    <a:pt x="21389" y="40259"/>
                  </a:cubicBezTo>
                  <a:cubicBezTo>
                    <a:pt x="23044" y="39624"/>
                    <a:pt x="24445" y="38862"/>
                    <a:pt x="25717" y="37846"/>
                  </a:cubicBezTo>
                  <a:cubicBezTo>
                    <a:pt x="26991" y="36830"/>
                    <a:pt x="28009" y="35560"/>
                    <a:pt x="28773" y="34036"/>
                  </a:cubicBezTo>
                  <a:cubicBezTo>
                    <a:pt x="29537" y="32512"/>
                    <a:pt x="29919" y="30861"/>
                    <a:pt x="29919" y="29083"/>
                  </a:cubicBezTo>
                  <a:lnTo>
                    <a:pt x="29919" y="25273"/>
                  </a:lnTo>
                  <a:cubicBezTo>
                    <a:pt x="25208" y="25273"/>
                    <a:pt x="21262" y="25527"/>
                    <a:pt x="17951" y="26035"/>
                  </a:cubicBezTo>
                  <a:cubicBezTo>
                    <a:pt x="14641" y="26543"/>
                    <a:pt x="12095" y="27432"/>
                    <a:pt x="10440" y="28829"/>
                  </a:cubicBezTo>
                  <a:cubicBezTo>
                    <a:pt x="8657" y="30099"/>
                    <a:pt x="7766" y="32004"/>
                    <a:pt x="7766" y="34417"/>
                  </a:cubicBezTo>
                  <a:cubicBezTo>
                    <a:pt x="7766" y="35941"/>
                    <a:pt x="8148" y="37211"/>
                    <a:pt x="8785" y="38227"/>
                  </a:cubicBezTo>
                  <a:cubicBezTo>
                    <a:pt x="9421" y="39243"/>
                    <a:pt x="10440" y="39878"/>
                    <a:pt x="11713" y="40386"/>
                  </a:cubicBezTo>
                  <a:cubicBezTo>
                    <a:pt x="12986" y="40894"/>
                    <a:pt x="14387" y="41148"/>
                    <a:pt x="16169" y="41148"/>
                  </a:cubicBezTo>
                  <a:close/>
                </a:path>
              </a:pathLst>
            </a:custGeom>
            <a:solidFill>
              <a:srgbClr val="1D4966"/>
            </a:solidFill>
            <a:ln w="0" cap="flat">
              <a:noFill/>
              <a:prstDash val="solid"/>
              <a:miter/>
            </a:ln>
          </p:spPr>
          <p:txBody>
            <a:bodyPr rtlCol="0" anchor="ctr"/>
            <a:lstStyle/>
            <a:p>
              <a:endParaRPr lang="en-AD" sz="2400"/>
            </a:p>
          </p:txBody>
        </p:sp>
        <p:sp>
          <p:nvSpPr>
            <p:cNvPr id="361" name="Freeform 360">
              <a:extLst>
                <a:ext uri="{FF2B5EF4-FFF2-40B4-BE49-F238E27FC236}">
                  <a16:creationId xmlns:a16="http://schemas.microsoft.com/office/drawing/2014/main" id="{5D54F685-B630-D69D-2BF8-E8813AE3F6E3}"/>
                </a:ext>
              </a:extLst>
            </p:cNvPr>
            <p:cNvSpPr/>
            <p:nvPr/>
          </p:nvSpPr>
          <p:spPr>
            <a:xfrm>
              <a:off x="3441448"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2" name="Freeform 361">
              <a:extLst>
                <a:ext uri="{FF2B5EF4-FFF2-40B4-BE49-F238E27FC236}">
                  <a16:creationId xmlns:a16="http://schemas.microsoft.com/office/drawing/2014/main" id="{96CA9B3F-8E44-150F-1862-6AC0DDA4AE93}"/>
                </a:ext>
              </a:extLst>
            </p:cNvPr>
            <p:cNvSpPr/>
            <p:nvPr/>
          </p:nvSpPr>
          <p:spPr>
            <a:xfrm>
              <a:off x="3477860" y="1484375"/>
              <a:ext cx="54363" cy="61087"/>
            </a:xfrm>
            <a:custGeom>
              <a:avLst/>
              <a:gdLst>
                <a:gd name="connsiteX0" fmla="*/ 28391 w 54363"/>
                <a:gd name="connsiteY0" fmla="*/ 61087 h 61087"/>
                <a:gd name="connsiteX1" fmla="*/ 12986 w 54363"/>
                <a:gd name="connsiteY1" fmla="*/ 57785 h 61087"/>
                <a:gd name="connsiteX2" fmla="*/ 3310 w 54363"/>
                <a:gd name="connsiteY2" fmla="*/ 47752 h 61087"/>
                <a:gd name="connsiteX3" fmla="*/ 0 w 54363"/>
                <a:gd name="connsiteY3" fmla="*/ 30607 h 61087"/>
                <a:gd name="connsiteX4" fmla="*/ 7512 w 54363"/>
                <a:gd name="connsiteY4" fmla="*/ 7620 h 61087"/>
                <a:gd name="connsiteX5" fmla="*/ 28391 w 54363"/>
                <a:gd name="connsiteY5" fmla="*/ 0 h 61087"/>
                <a:gd name="connsiteX6" fmla="*/ 41887 w 54363"/>
                <a:gd name="connsiteY6" fmla="*/ 2413 h 61087"/>
                <a:gd name="connsiteX7" fmla="*/ 51053 w 54363"/>
                <a:gd name="connsiteY7" fmla="*/ 9779 h 61087"/>
                <a:gd name="connsiteX8" fmla="*/ 54363 w 54363"/>
                <a:gd name="connsiteY8" fmla="*/ 22225 h 61087"/>
                <a:gd name="connsiteX9" fmla="*/ 46088 w 54363"/>
                <a:gd name="connsiteY9" fmla="*/ 22225 h 61087"/>
                <a:gd name="connsiteX10" fmla="*/ 43924 w 54363"/>
                <a:gd name="connsiteY10" fmla="*/ 13716 h 61087"/>
                <a:gd name="connsiteX11" fmla="*/ 37685 w 54363"/>
                <a:gd name="connsiteY11" fmla="*/ 8636 h 61087"/>
                <a:gd name="connsiteX12" fmla="*/ 28391 w 54363"/>
                <a:gd name="connsiteY12" fmla="*/ 6985 h 61087"/>
                <a:gd name="connsiteX13" fmla="*/ 17697 w 54363"/>
                <a:gd name="connsiteY13" fmla="*/ 9398 h 61087"/>
                <a:gd name="connsiteX14" fmla="*/ 10822 w 54363"/>
                <a:gd name="connsiteY14" fmla="*/ 16891 h 61087"/>
                <a:gd name="connsiteX15" fmla="*/ 8530 w 54363"/>
                <a:gd name="connsiteY15" fmla="*/ 29845 h 61087"/>
                <a:gd name="connsiteX16" fmla="*/ 8530 w 54363"/>
                <a:gd name="connsiteY16" fmla="*/ 31623 h 61087"/>
                <a:gd name="connsiteX17" fmla="*/ 10822 w 54363"/>
                <a:gd name="connsiteY17" fmla="*/ 44450 h 61087"/>
                <a:gd name="connsiteX18" fmla="*/ 17569 w 54363"/>
                <a:gd name="connsiteY18" fmla="*/ 51689 h 61087"/>
                <a:gd name="connsiteX19" fmla="*/ 28391 w 54363"/>
                <a:gd name="connsiteY19" fmla="*/ 53975 h 61087"/>
                <a:gd name="connsiteX20" fmla="*/ 37940 w 54363"/>
                <a:gd name="connsiteY20" fmla="*/ 52324 h 61087"/>
                <a:gd name="connsiteX21" fmla="*/ 44178 w 54363"/>
                <a:gd name="connsiteY21" fmla="*/ 47244 h 61087"/>
                <a:gd name="connsiteX22" fmla="*/ 46343 w 54363"/>
                <a:gd name="connsiteY22" fmla="*/ 38608 h 61087"/>
                <a:gd name="connsiteX23" fmla="*/ 54363 w 54363"/>
                <a:gd name="connsiteY23" fmla="*/ 38608 h 61087"/>
                <a:gd name="connsiteX24" fmla="*/ 50926 w 54363"/>
                <a:gd name="connsiteY24" fmla="*/ 51181 h 61087"/>
                <a:gd name="connsiteX25" fmla="*/ 41632 w 54363"/>
                <a:gd name="connsiteY25" fmla="*/ 58547 h 61087"/>
                <a:gd name="connsiteX26" fmla="*/ 28264 w 54363"/>
                <a:gd name="connsiteY26" fmla="*/ 60960 h 6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63" h="61087">
                  <a:moveTo>
                    <a:pt x="28391" y="61087"/>
                  </a:moveTo>
                  <a:cubicBezTo>
                    <a:pt x="22280" y="61087"/>
                    <a:pt x="17188" y="59944"/>
                    <a:pt x="12986" y="57785"/>
                  </a:cubicBezTo>
                  <a:cubicBezTo>
                    <a:pt x="8785" y="55626"/>
                    <a:pt x="5602" y="52197"/>
                    <a:pt x="3310" y="47752"/>
                  </a:cubicBezTo>
                  <a:cubicBezTo>
                    <a:pt x="1146" y="43180"/>
                    <a:pt x="0" y="37465"/>
                    <a:pt x="0" y="30607"/>
                  </a:cubicBezTo>
                  <a:cubicBezTo>
                    <a:pt x="0" y="20320"/>
                    <a:pt x="2546" y="12700"/>
                    <a:pt x="7512" y="7620"/>
                  </a:cubicBezTo>
                  <a:cubicBezTo>
                    <a:pt x="12477" y="2540"/>
                    <a:pt x="19479" y="0"/>
                    <a:pt x="28391" y="0"/>
                  </a:cubicBezTo>
                  <a:cubicBezTo>
                    <a:pt x="33484" y="0"/>
                    <a:pt x="37940" y="762"/>
                    <a:pt x="41887" y="2413"/>
                  </a:cubicBezTo>
                  <a:cubicBezTo>
                    <a:pt x="45833" y="4064"/>
                    <a:pt x="48889" y="6477"/>
                    <a:pt x="51053" y="9779"/>
                  </a:cubicBezTo>
                  <a:cubicBezTo>
                    <a:pt x="53217" y="13081"/>
                    <a:pt x="54363" y="17272"/>
                    <a:pt x="54363" y="22225"/>
                  </a:cubicBezTo>
                  <a:lnTo>
                    <a:pt x="46088" y="22225"/>
                  </a:lnTo>
                  <a:cubicBezTo>
                    <a:pt x="46088" y="18796"/>
                    <a:pt x="45324" y="15875"/>
                    <a:pt x="43924" y="13716"/>
                  </a:cubicBezTo>
                  <a:cubicBezTo>
                    <a:pt x="42396" y="11430"/>
                    <a:pt x="40359" y="9779"/>
                    <a:pt x="37685" y="8636"/>
                  </a:cubicBezTo>
                  <a:cubicBezTo>
                    <a:pt x="35011" y="7493"/>
                    <a:pt x="31956" y="6985"/>
                    <a:pt x="28391" y="6985"/>
                  </a:cubicBezTo>
                  <a:cubicBezTo>
                    <a:pt x="24190" y="6985"/>
                    <a:pt x="20625" y="7747"/>
                    <a:pt x="17697" y="9398"/>
                  </a:cubicBezTo>
                  <a:cubicBezTo>
                    <a:pt x="14641" y="11049"/>
                    <a:pt x="12477" y="13462"/>
                    <a:pt x="10822" y="16891"/>
                  </a:cubicBezTo>
                  <a:cubicBezTo>
                    <a:pt x="9294" y="20193"/>
                    <a:pt x="8530" y="24638"/>
                    <a:pt x="8530" y="29845"/>
                  </a:cubicBezTo>
                  <a:lnTo>
                    <a:pt x="8530" y="31623"/>
                  </a:lnTo>
                  <a:cubicBezTo>
                    <a:pt x="8530" y="36830"/>
                    <a:pt x="9294" y="41148"/>
                    <a:pt x="10822" y="44450"/>
                  </a:cubicBezTo>
                  <a:cubicBezTo>
                    <a:pt x="12350" y="47752"/>
                    <a:pt x="14641" y="50165"/>
                    <a:pt x="17569" y="51689"/>
                  </a:cubicBezTo>
                  <a:cubicBezTo>
                    <a:pt x="20498" y="53213"/>
                    <a:pt x="24063" y="53975"/>
                    <a:pt x="28391" y="53975"/>
                  </a:cubicBezTo>
                  <a:cubicBezTo>
                    <a:pt x="32083" y="53975"/>
                    <a:pt x="35266" y="53467"/>
                    <a:pt x="37940" y="52324"/>
                  </a:cubicBezTo>
                  <a:cubicBezTo>
                    <a:pt x="40613" y="51181"/>
                    <a:pt x="42650" y="49530"/>
                    <a:pt x="44178" y="47244"/>
                  </a:cubicBezTo>
                  <a:cubicBezTo>
                    <a:pt x="45706" y="44958"/>
                    <a:pt x="46343" y="42164"/>
                    <a:pt x="46343" y="38608"/>
                  </a:cubicBezTo>
                  <a:lnTo>
                    <a:pt x="54363" y="38608"/>
                  </a:lnTo>
                  <a:cubicBezTo>
                    <a:pt x="54363" y="43688"/>
                    <a:pt x="53217" y="47879"/>
                    <a:pt x="50926" y="51181"/>
                  </a:cubicBezTo>
                  <a:cubicBezTo>
                    <a:pt x="48634" y="54483"/>
                    <a:pt x="45579" y="56896"/>
                    <a:pt x="41632" y="58547"/>
                  </a:cubicBezTo>
                  <a:cubicBezTo>
                    <a:pt x="37685" y="60198"/>
                    <a:pt x="33229" y="60960"/>
                    <a:pt x="28264" y="60960"/>
                  </a:cubicBezTo>
                  <a:close/>
                </a:path>
              </a:pathLst>
            </a:custGeom>
            <a:solidFill>
              <a:srgbClr val="1D4966"/>
            </a:solidFill>
            <a:ln w="0" cap="flat">
              <a:noFill/>
              <a:prstDash val="solid"/>
              <a:miter/>
            </a:ln>
          </p:spPr>
          <p:txBody>
            <a:bodyPr rtlCol="0" anchor="ctr"/>
            <a:lstStyle/>
            <a:p>
              <a:endParaRPr lang="en-AD" sz="2400"/>
            </a:p>
          </p:txBody>
        </p:sp>
        <p:sp>
          <p:nvSpPr>
            <p:cNvPr id="363" name="Freeform 362">
              <a:extLst>
                <a:ext uri="{FF2B5EF4-FFF2-40B4-BE49-F238E27FC236}">
                  <a16:creationId xmlns:a16="http://schemas.microsoft.com/office/drawing/2014/main" id="{47D36965-E16B-F98D-955D-CDB7A5D84668}"/>
                </a:ext>
              </a:extLst>
            </p:cNvPr>
            <p:cNvSpPr/>
            <p:nvPr/>
          </p:nvSpPr>
          <p:spPr>
            <a:xfrm>
              <a:off x="3539607"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4" name="Freeform 363">
              <a:extLst>
                <a:ext uri="{FF2B5EF4-FFF2-40B4-BE49-F238E27FC236}">
                  <a16:creationId xmlns:a16="http://schemas.microsoft.com/office/drawing/2014/main" id="{A7F92252-E08B-4EBB-78F8-AB56A6992939}"/>
                </a:ext>
              </a:extLst>
            </p:cNvPr>
            <p:cNvSpPr/>
            <p:nvPr/>
          </p:nvSpPr>
          <p:spPr>
            <a:xfrm>
              <a:off x="3590151" y="1498219"/>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6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6"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65" name="Freeform 364">
              <a:extLst>
                <a:ext uri="{FF2B5EF4-FFF2-40B4-BE49-F238E27FC236}">
                  <a16:creationId xmlns:a16="http://schemas.microsoft.com/office/drawing/2014/main" id="{3CD47F60-914B-24AC-5819-6D64E22E2D8C}"/>
                </a:ext>
              </a:extLst>
            </p:cNvPr>
            <p:cNvSpPr/>
            <p:nvPr/>
          </p:nvSpPr>
          <p:spPr>
            <a:xfrm>
              <a:off x="3634329" y="1486280"/>
              <a:ext cx="22152" cy="59182"/>
            </a:xfrm>
            <a:custGeom>
              <a:avLst/>
              <a:gdLst>
                <a:gd name="connsiteX0" fmla="*/ 15023 w 22152"/>
                <a:gd name="connsiteY0" fmla="*/ 59182 h 59182"/>
                <a:gd name="connsiteX1" fmla="*/ 9549 w 22152"/>
                <a:gd name="connsiteY1" fmla="*/ 57785 h 59182"/>
                <a:gd name="connsiteX2" fmla="*/ 6748 w 22152"/>
                <a:gd name="connsiteY2" fmla="*/ 54229 h 59182"/>
                <a:gd name="connsiteX3" fmla="*/ 5856 w 22152"/>
                <a:gd name="connsiteY3" fmla="*/ 49530 h 59182"/>
                <a:gd name="connsiteX4" fmla="*/ 5856 w 22152"/>
                <a:gd name="connsiteY4" fmla="*/ 19050 h 59182"/>
                <a:gd name="connsiteX5" fmla="*/ 0 w 22152"/>
                <a:gd name="connsiteY5" fmla="*/ 19050 h 59182"/>
                <a:gd name="connsiteX6" fmla="*/ 0 w 22152"/>
                <a:gd name="connsiteY6" fmla="*/ 12700 h 59182"/>
                <a:gd name="connsiteX7" fmla="*/ 6111 w 22152"/>
                <a:gd name="connsiteY7" fmla="*/ 12700 h 59182"/>
                <a:gd name="connsiteX8" fmla="*/ 7512 w 22152"/>
                <a:gd name="connsiteY8" fmla="*/ 0 h 59182"/>
                <a:gd name="connsiteX9" fmla="*/ 13623 w 22152"/>
                <a:gd name="connsiteY9" fmla="*/ 0 h 59182"/>
                <a:gd name="connsiteX10" fmla="*/ 13623 w 22152"/>
                <a:gd name="connsiteY10" fmla="*/ 12700 h 59182"/>
                <a:gd name="connsiteX11" fmla="*/ 22153 w 22152"/>
                <a:gd name="connsiteY11" fmla="*/ 12700 h 59182"/>
                <a:gd name="connsiteX12" fmla="*/ 22153 w 22152"/>
                <a:gd name="connsiteY12" fmla="*/ 19050 h 59182"/>
                <a:gd name="connsiteX13" fmla="*/ 13623 w 22152"/>
                <a:gd name="connsiteY13" fmla="*/ 19050 h 59182"/>
                <a:gd name="connsiteX14" fmla="*/ 13623 w 22152"/>
                <a:gd name="connsiteY14" fmla="*/ 48387 h 59182"/>
                <a:gd name="connsiteX15" fmla="*/ 14387 w 22152"/>
                <a:gd name="connsiteY15" fmla="*/ 51562 h 59182"/>
                <a:gd name="connsiteX16" fmla="*/ 17315 w 22152"/>
                <a:gd name="connsiteY16" fmla="*/ 52578 h 59182"/>
                <a:gd name="connsiteX17" fmla="*/ 22153 w 22152"/>
                <a:gd name="connsiteY17" fmla="*/ 52578 h 59182"/>
                <a:gd name="connsiteX18" fmla="*/ 22153 w 22152"/>
                <a:gd name="connsiteY18" fmla="*/ 57531 h 59182"/>
                <a:gd name="connsiteX19" fmla="*/ 20115 w 22152"/>
                <a:gd name="connsiteY19" fmla="*/ 58166 h 59182"/>
                <a:gd name="connsiteX20" fmla="*/ 17696 w 22152"/>
                <a:gd name="connsiteY20" fmla="*/ 58674 h 59182"/>
                <a:gd name="connsiteX21" fmla="*/ 15277 w 22152"/>
                <a:gd name="connsiteY21" fmla="*/ 58928 h 5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2">
                  <a:moveTo>
                    <a:pt x="15023" y="59182"/>
                  </a:moveTo>
                  <a:cubicBezTo>
                    <a:pt x="12604" y="59182"/>
                    <a:pt x="10822" y="58674"/>
                    <a:pt x="9549" y="57785"/>
                  </a:cubicBezTo>
                  <a:cubicBezTo>
                    <a:pt x="8275" y="56896"/>
                    <a:pt x="7257" y="55753"/>
                    <a:pt x="6748" y="54229"/>
                  </a:cubicBezTo>
                  <a:cubicBezTo>
                    <a:pt x="6111" y="52705"/>
                    <a:pt x="5856" y="51181"/>
                    <a:pt x="5856" y="49530"/>
                  </a:cubicBezTo>
                  <a:lnTo>
                    <a:pt x="5856"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79" y="58039"/>
                    <a:pt x="20115" y="58166"/>
                  </a:cubicBezTo>
                  <a:cubicBezTo>
                    <a:pt x="19352" y="58293"/>
                    <a:pt x="18460" y="58547"/>
                    <a:pt x="17696" y="58674"/>
                  </a:cubicBezTo>
                  <a:cubicBezTo>
                    <a:pt x="16806" y="58801"/>
                    <a:pt x="16041" y="58928"/>
                    <a:pt x="15277" y="58928"/>
                  </a:cubicBezTo>
                  <a:close/>
                </a:path>
              </a:pathLst>
            </a:custGeom>
            <a:solidFill>
              <a:srgbClr val="1D4966"/>
            </a:solidFill>
            <a:ln w="0" cap="flat">
              <a:noFill/>
              <a:prstDash val="solid"/>
              <a:miter/>
            </a:ln>
          </p:spPr>
          <p:txBody>
            <a:bodyPr rtlCol="0" anchor="ctr"/>
            <a:lstStyle/>
            <a:p>
              <a:endParaRPr lang="en-AD" sz="2400"/>
            </a:p>
          </p:txBody>
        </p:sp>
        <p:sp>
          <p:nvSpPr>
            <p:cNvPr id="366" name="Freeform 365">
              <a:extLst>
                <a:ext uri="{FF2B5EF4-FFF2-40B4-BE49-F238E27FC236}">
                  <a16:creationId xmlns:a16="http://schemas.microsoft.com/office/drawing/2014/main" id="{FA75F968-719F-78C6-CDE6-54336E50A406}"/>
                </a:ext>
              </a:extLst>
            </p:cNvPr>
            <p:cNvSpPr/>
            <p:nvPr/>
          </p:nvSpPr>
          <p:spPr>
            <a:xfrm>
              <a:off x="366373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60"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67" name="Freeform 366">
              <a:extLst>
                <a:ext uri="{FF2B5EF4-FFF2-40B4-BE49-F238E27FC236}">
                  <a16:creationId xmlns:a16="http://schemas.microsoft.com/office/drawing/2014/main" id="{CD6C5082-4DE4-C7BD-FE10-19A74C8BCC54}"/>
                </a:ext>
              </a:extLst>
            </p:cNvPr>
            <p:cNvSpPr/>
            <p:nvPr/>
          </p:nvSpPr>
          <p:spPr>
            <a:xfrm>
              <a:off x="368983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9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9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9"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9"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68" name="Freeform 367">
              <a:extLst>
                <a:ext uri="{FF2B5EF4-FFF2-40B4-BE49-F238E27FC236}">
                  <a16:creationId xmlns:a16="http://schemas.microsoft.com/office/drawing/2014/main" id="{35B34987-F17C-7A71-3CAB-0D57895034C5}"/>
                </a:ext>
              </a:extLst>
            </p:cNvPr>
            <p:cNvSpPr/>
            <p:nvPr/>
          </p:nvSpPr>
          <p:spPr>
            <a:xfrm>
              <a:off x="3740891" y="1482089"/>
              <a:ext cx="7638" cy="62357"/>
            </a:xfrm>
            <a:custGeom>
              <a:avLst/>
              <a:gdLst>
                <a:gd name="connsiteX0" fmla="*/ 0 w 7638"/>
                <a:gd name="connsiteY0" fmla="*/ 62357 h 62357"/>
                <a:gd name="connsiteX1" fmla="*/ 0 w 7638"/>
                <a:gd name="connsiteY1" fmla="*/ 0 h 62357"/>
                <a:gd name="connsiteX2" fmla="*/ 7639 w 7638"/>
                <a:gd name="connsiteY2" fmla="*/ 0 h 62357"/>
                <a:gd name="connsiteX3" fmla="*/ 7639 w 7638"/>
                <a:gd name="connsiteY3" fmla="*/ 62357 h 62357"/>
                <a:gd name="connsiteX4" fmla="*/ 0 w 7638"/>
                <a:gd name="connsiteY4" fmla="*/ 62357 h 62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7">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69" name="Freeform 368">
              <a:extLst>
                <a:ext uri="{FF2B5EF4-FFF2-40B4-BE49-F238E27FC236}">
                  <a16:creationId xmlns:a16="http://schemas.microsoft.com/office/drawing/2014/main" id="{D3B4D5F9-19E6-73E4-C1A1-B3ADF768F5AC}"/>
                </a:ext>
              </a:extLst>
            </p:cNvPr>
            <p:cNvSpPr/>
            <p:nvPr/>
          </p:nvSpPr>
          <p:spPr>
            <a:xfrm>
              <a:off x="3777812" y="1484249"/>
              <a:ext cx="56909" cy="61340"/>
            </a:xfrm>
            <a:custGeom>
              <a:avLst/>
              <a:gdLst>
                <a:gd name="connsiteX0" fmla="*/ 29283 w 56909"/>
                <a:gd name="connsiteY0" fmla="*/ 61214 h 61340"/>
                <a:gd name="connsiteX1" fmla="*/ 7512 w 56909"/>
                <a:gd name="connsiteY1" fmla="*/ 53721 h 61340"/>
                <a:gd name="connsiteX2" fmla="*/ 0 w 56909"/>
                <a:gd name="connsiteY2" fmla="*/ 30607 h 61340"/>
                <a:gd name="connsiteX3" fmla="*/ 3438 w 56909"/>
                <a:gd name="connsiteY3" fmla="*/ 13589 h 61340"/>
                <a:gd name="connsiteX4" fmla="*/ 13623 w 56909"/>
                <a:gd name="connsiteY4" fmla="*/ 3429 h 61340"/>
                <a:gd name="connsiteX5" fmla="*/ 30046 w 56909"/>
                <a:gd name="connsiteY5" fmla="*/ 0 h 61340"/>
                <a:gd name="connsiteX6" fmla="*/ 40995 w 56909"/>
                <a:gd name="connsiteY6" fmla="*/ 1270 h 61340"/>
                <a:gd name="connsiteX7" fmla="*/ 49525 w 56909"/>
                <a:gd name="connsiteY7" fmla="*/ 5207 h 61340"/>
                <a:gd name="connsiteX8" fmla="*/ 55000 w 56909"/>
                <a:gd name="connsiteY8" fmla="*/ 11811 h 61340"/>
                <a:gd name="connsiteX9" fmla="*/ 56910 w 56909"/>
                <a:gd name="connsiteY9" fmla="*/ 21209 h 61340"/>
                <a:gd name="connsiteX10" fmla="*/ 48507 w 56909"/>
                <a:gd name="connsiteY10" fmla="*/ 21209 h 61340"/>
                <a:gd name="connsiteX11" fmla="*/ 47106 w 56909"/>
                <a:gd name="connsiteY11" fmla="*/ 14732 h 61340"/>
                <a:gd name="connsiteX12" fmla="*/ 43160 w 56909"/>
                <a:gd name="connsiteY12" fmla="*/ 10287 h 61340"/>
                <a:gd name="connsiteX13" fmla="*/ 37303 w 56909"/>
                <a:gd name="connsiteY13" fmla="*/ 7874 h 61340"/>
                <a:gd name="connsiteX14" fmla="*/ 30173 w 56909"/>
                <a:gd name="connsiteY14" fmla="*/ 7112 h 61340"/>
                <a:gd name="connsiteX15" fmla="*/ 20880 w 56909"/>
                <a:gd name="connsiteY15" fmla="*/ 8382 h 61340"/>
                <a:gd name="connsiteX16" fmla="*/ 14005 w 56909"/>
                <a:gd name="connsiteY16" fmla="*/ 12446 h 61340"/>
                <a:gd name="connsiteX17" fmla="*/ 9803 w 56909"/>
                <a:gd name="connsiteY17" fmla="*/ 19558 h 61340"/>
                <a:gd name="connsiteX18" fmla="*/ 8275 w 56909"/>
                <a:gd name="connsiteY18" fmla="*/ 29845 h 61340"/>
                <a:gd name="connsiteX19" fmla="*/ 8275 w 56909"/>
                <a:gd name="connsiteY19" fmla="*/ 31623 h 61340"/>
                <a:gd name="connsiteX20" fmla="*/ 10694 w 56909"/>
                <a:gd name="connsiteY20" fmla="*/ 44577 h 61340"/>
                <a:gd name="connsiteX21" fmla="*/ 17824 w 56909"/>
                <a:gd name="connsiteY21" fmla="*/ 51816 h 61340"/>
                <a:gd name="connsiteX22" fmla="*/ 29028 w 56909"/>
                <a:gd name="connsiteY22" fmla="*/ 54102 h 61340"/>
                <a:gd name="connsiteX23" fmla="*/ 39977 w 56909"/>
                <a:gd name="connsiteY23" fmla="*/ 52197 h 61340"/>
                <a:gd name="connsiteX24" fmla="*/ 46470 w 56909"/>
                <a:gd name="connsiteY24" fmla="*/ 46609 h 61340"/>
                <a:gd name="connsiteX25" fmla="*/ 48634 w 56909"/>
                <a:gd name="connsiteY25" fmla="*/ 37084 h 61340"/>
                <a:gd name="connsiteX26" fmla="*/ 48634 w 56909"/>
                <a:gd name="connsiteY26" fmla="*/ 36068 h 61340"/>
                <a:gd name="connsiteX27" fmla="*/ 27754 w 56909"/>
                <a:gd name="connsiteY27" fmla="*/ 36068 h 61340"/>
                <a:gd name="connsiteX28" fmla="*/ 27754 w 56909"/>
                <a:gd name="connsiteY28" fmla="*/ 29083 h 61340"/>
                <a:gd name="connsiteX29" fmla="*/ 56910 w 56909"/>
                <a:gd name="connsiteY29" fmla="*/ 29083 h 61340"/>
                <a:gd name="connsiteX30" fmla="*/ 56910 w 56909"/>
                <a:gd name="connsiteY30" fmla="*/ 60198 h 61340"/>
                <a:gd name="connsiteX31" fmla="*/ 50671 w 56909"/>
                <a:gd name="connsiteY31" fmla="*/ 60198 h 61340"/>
                <a:gd name="connsiteX32" fmla="*/ 49780 w 56909"/>
                <a:gd name="connsiteY32" fmla="*/ 52705 h 61340"/>
                <a:gd name="connsiteX33" fmla="*/ 44306 w 56909"/>
                <a:gd name="connsiteY33" fmla="*/ 57658 h 61340"/>
                <a:gd name="connsiteX34" fmla="*/ 37303 w 56909"/>
                <a:gd name="connsiteY34" fmla="*/ 60452 h 61340"/>
                <a:gd name="connsiteX35" fmla="*/ 29155 w 56909"/>
                <a:gd name="connsiteY35" fmla="*/ 61341 h 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909" h="61340">
                  <a:moveTo>
                    <a:pt x="29283" y="61214"/>
                  </a:moveTo>
                  <a:cubicBezTo>
                    <a:pt x="19734" y="61214"/>
                    <a:pt x="12477" y="58674"/>
                    <a:pt x="7512" y="53721"/>
                  </a:cubicBezTo>
                  <a:cubicBezTo>
                    <a:pt x="2546" y="48768"/>
                    <a:pt x="0" y="41021"/>
                    <a:pt x="0" y="30607"/>
                  </a:cubicBezTo>
                  <a:cubicBezTo>
                    <a:pt x="0" y="23876"/>
                    <a:pt x="1146" y="18161"/>
                    <a:pt x="3438" y="13589"/>
                  </a:cubicBezTo>
                  <a:cubicBezTo>
                    <a:pt x="5729" y="9017"/>
                    <a:pt x="9167" y="5588"/>
                    <a:pt x="13623" y="3429"/>
                  </a:cubicBezTo>
                  <a:cubicBezTo>
                    <a:pt x="18079" y="1143"/>
                    <a:pt x="23553" y="0"/>
                    <a:pt x="30046" y="0"/>
                  </a:cubicBezTo>
                  <a:cubicBezTo>
                    <a:pt x="34120" y="0"/>
                    <a:pt x="37685" y="381"/>
                    <a:pt x="40995" y="1270"/>
                  </a:cubicBezTo>
                  <a:cubicBezTo>
                    <a:pt x="44306" y="2159"/>
                    <a:pt x="47106" y="3429"/>
                    <a:pt x="49525" y="5207"/>
                  </a:cubicBezTo>
                  <a:cubicBezTo>
                    <a:pt x="51944" y="6985"/>
                    <a:pt x="53727" y="9144"/>
                    <a:pt x="55000" y="11811"/>
                  </a:cubicBezTo>
                  <a:cubicBezTo>
                    <a:pt x="56273" y="14478"/>
                    <a:pt x="56910" y="17526"/>
                    <a:pt x="56910" y="21209"/>
                  </a:cubicBezTo>
                  <a:lnTo>
                    <a:pt x="48507" y="21209"/>
                  </a:lnTo>
                  <a:cubicBezTo>
                    <a:pt x="48507" y="18669"/>
                    <a:pt x="47998" y="16510"/>
                    <a:pt x="47106" y="14732"/>
                  </a:cubicBezTo>
                  <a:cubicBezTo>
                    <a:pt x="46215" y="12954"/>
                    <a:pt x="44815" y="11430"/>
                    <a:pt x="43160" y="10287"/>
                  </a:cubicBezTo>
                  <a:cubicBezTo>
                    <a:pt x="41505" y="9144"/>
                    <a:pt x="39468" y="8255"/>
                    <a:pt x="37303" y="7874"/>
                  </a:cubicBezTo>
                  <a:cubicBezTo>
                    <a:pt x="35011" y="7366"/>
                    <a:pt x="32720" y="7112"/>
                    <a:pt x="30173" y="7112"/>
                  </a:cubicBezTo>
                  <a:cubicBezTo>
                    <a:pt x="26736" y="7112"/>
                    <a:pt x="23681" y="7493"/>
                    <a:pt x="20880" y="8382"/>
                  </a:cubicBezTo>
                  <a:cubicBezTo>
                    <a:pt x="18206" y="9271"/>
                    <a:pt x="15914" y="10541"/>
                    <a:pt x="14005" y="12446"/>
                  </a:cubicBezTo>
                  <a:cubicBezTo>
                    <a:pt x="12222" y="14224"/>
                    <a:pt x="10694" y="16637"/>
                    <a:pt x="9803" y="19558"/>
                  </a:cubicBezTo>
                  <a:cubicBezTo>
                    <a:pt x="8785" y="22479"/>
                    <a:pt x="8275" y="25908"/>
                    <a:pt x="8275" y="29845"/>
                  </a:cubicBezTo>
                  <a:lnTo>
                    <a:pt x="8275" y="31623"/>
                  </a:lnTo>
                  <a:cubicBezTo>
                    <a:pt x="8275" y="36957"/>
                    <a:pt x="9039" y="41275"/>
                    <a:pt x="10694" y="44577"/>
                  </a:cubicBezTo>
                  <a:cubicBezTo>
                    <a:pt x="12350" y="47879"/>
                    <a:pt x="14769" y="50292"/>
                    <a:pt x="17824" y="51816"/>
                  </a:cubicBezTo>
                  <a:cubicBezTo>
                    <a:pt x="20880" y="53340"/>
                    <a:pt x="24699" y="54102"/>
                    <a:pt x="29028" y="54102"/>
                  </a:cubicBezTo>
                  <a:cubicBezTo>
                    <a:pt x="33356" y="54102"/>
                    <a:pt x="37176" y="53467"/>
                    <a:pt x="39977" y="52197"/>
                  </a:cubicBezTo>
                  <a:cubicBezTo>
                    <a:pt x="42905" y="50927"/>
                    <a:pt x="44942" y="49022"/>
                    <a:pt x="46470" y="46609"/>
                  </a:cubicBezTo>
                  <a:cubicBezTo>
                    <a:pt x="47870" y="44069"/>
                    <a:pt x="48634" y="40894"/>
                    <a:pt x="48634" y="37084"/>
                  </a:cubicBezTo>
                  <a:lnTo>
                    <a:pt x="48634" y="36068"/>
                  </a:lnTo>
                  <a:lnTo>
                    <a:pt x="27754" y="36068"/>
                  </a:lnTo>
                  <a:lnTo>
                    <a:pt x="27754" y="29083"/>
                  </a:lnTo>
                  <a:lnTo>
                    <a:pt x="56910" y="29083"/>
                  </a:lnTo>
                  <a:lnTo>
                    <a:pt x="56910" y="60198"/>
                  </a:lnTo>
                  <a:lnTo>
                    <a:pt x="50671" y="60198"/>
                  </a:lnTo>
                  <a:lnTo>
                    <a:pt x="49780" y="52705"/>
                  </a:lnTo>
                  <a:cubicBezTo>
                    <a:pt x="48252" y="54737"/>
                    <a:pt x="46343" y="56388"/>
                    <a:pt x="44306" y="57658"/>
                  </a:cubicBezTo>
                  <a:cubicBezTo>
                    <a:pt x="42141" y="58928"/>
                    <a:pt x="39849" y="59817"/>
                    <a:pt x="37303" y="60452"/>
                  </a:cubicBezTo>
                  <a:cubicBezTo>
                    <a:pt x="34757" y="61087"/>
                    <a:pt x="31956" y="61341"/>
                    <a:pt x="29155" y="61341"/>
                  </a:cubicBezTo>
                  <a:close/>
                </a:path>
              </a:pathLst>
            </a:custGeom>
            <a:solidFill>
              <a:srgbClr val="1D4966"/>
            </a:solidFill>
            <a:ln w="0" cap="flat">
              <a:noFill/>
              <a:prstDash val="solid"/>
              <a:miter/>
            </a:ln>
          </p:spPr>
          <p:txBody>
            <a:bodyPr rtlCol="0" anchor="ctr"/>
            <a:lstStyle/>
            <a:p>
              <a:endParaRPr lang="en-AD" sz="2400"/>
            </a:p>
          </p:txBody>
        </p:sp>
        <p:sp>
          <p:nvSpPr>
            <p:cNvPr id="370" name="Freeform 369">
              <a:extLst>
                <a:ext uri="{FF2B5EF4-FFF2-40B4-BE49-F238E27FC236}">
                  <a16:creationId xmlns:a16="http://schemas.microsoft.com/office/drawing/2014/main" id="{EE5C4300-151D-5EB0-FF1A-D449F674285D}"/>
                </a:ext>
              </a:extLst>
            </p:cNvPr>
            <p:cNvSpPr/>
            <p:nvPr/>
          </p:nvSpPr>
          <p:spPr>
            <a:xfrm>
              <a:off x="3847199" y="1498091"/>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6 w 21770"/>
                <a:gd name="connsiteY7" fmla="*/ 0 h 46482"/>
                <a:gd name="connsiteX8" fmla="*/ 20115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3" y="7112"/>
                    <a:pt x="8530" y="5715"/>
                    <a:pt x="9294" y="4445"/>
                  </a:cubicBezTo>
                  <a:cubicBezTo>
                    <a:pt x="10058" y="3175"/>
                    <a:pt x="11204" y="2032"/>
                    <a:pt x="12604" y="1270"/>
                  </a:cubicBezTo>
                  <a:cubicBezTo>
                    <a:pt x="14005" y="381"/>
                    <a:pt x="15659" y="0"/>
                    <a:pt x="17696" y="0"/>
                  </a:cubicBezTo>
                  <a:cubicBezTo>
                    <a:pt x="18588" y="0"/>
                    <a:pt x="19352" y="0"/>
                    <a:pt x="20115" y="254"/>
                  </a:cubicBezTo>
                  <a:cubicBezTo>
                    <a:pt x="20879" y="381"/>
                    <a:pt x="21389" y="508"/>
                    <a:pt x="21771" y="762"/>
                  </a:cubicBezTo>
                  <a:lnTo>
                    <a:pt x="21771" y="7747"/>
                  </a:lnTo>
                  <a:lnTo>
                    <a:pt x="18970" y="7747"/>
                  </a:lnTo>
                  <a:cubicBezTo>
                    <a:pt x="17060" y="7747"/>
                    <a:pt x="15277"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1" name="Freeform 370">
              <a:extLst>
                <a:ext uri="{FF2B5EF4-FFF2-40B4-BE49-F238E27FC236}">
                  <a16:creationId xmlns:a16="http://schemas.microsoft.com/office/drawing/2014/main" id="{EAB54CC3-277C-84A5-DF72-2C36DA10610A}"/>
                </a:ext>
              </a:extLst>
            </p:cNvPr>
            <p:cNvSpPr/>
            <p:nvPr/>
          </p:nvSpPr>
          <p:spPr>
            <a:xfrm>
              <a:off x="3873298" y="1498091"/>
              <a:ext cx="42268" cy="47371"/>
            </a:xfrm>
            <a:custGeom>
              <a:avLst/>
              <a:gdLst>
                <a:gd name="connsiteX0" fmla="*/ 21134 w 42268"/>
                <a:gd name="connsiteY0" fmla="*/ 47371 h 47371"/>
                <a:gd name="connsiteX1" fmla="*/ 9549 w 42268"/>
                <a:gd name="connsiteY1" fmla="*/ 44831 h 47371"/>
                <a:gd name="connsiteX2" fmla="*/ 2419 w 42268"/>
                <a:gd name="connsiteY2" fmla="*/ 37084 h 47371"/>
                <a:gd name="connsiteX3" fmla="*/ 0 w 42268"/>
                <a:gd name="connsiteY3" fmla="*/ 23749 h 47371"/>
                <a:gd name="connsiteX4" fmla="*/ 2419 w 42268"/>
                <a:gd name="connsiteY4" fmla="*/ 10287 h 47371"/>
                <a:gd name="connsiteX5" fmla="*/ 9549 w 42268"/>
                <a:gd name="connsiteY5" fmla="*/ 2540 h 47371"/>
                <a:gd name="connsiteX6" fmla="*/ 21134 w 42268"/>
                <a:gd name="connsiteY6" fmla="*/ 0 h 47371"/>
                <a:gd name="connsiteX7" fmla="*/ 32720 w 42268"/>
                <a:gd name="connsiteY7" fmla="*/ 2540 h 47371"/>
                <a:gd name="connsiteX8" fmla="*/ 39849 w 42268"/>
                <a:gd name="connsiteY8" fmla="*/ 10287 h 47371"/>
                <a:gd name="connsiteX9" fmla="*/ 42268 w 42268"/>
                <a:gd name="connsiteY9" fmla="*/ 23749 h 47371"/>
                <a:gd name="connsiteX10" fmla="*/ 39849 w 42268"/>
                <a:gd name="connsiteY10" fmla="*/ 37084 h 47371"/>
                <a:gd name="connsiteX11" fmla="*/ 32720 w 42268"/>
                <a:gd name="connsiteY11" fmla="*/ 44831 h 47371"/>
                <a:gd name="connsiteX12" fmla="*/ 21134 w 42268"/>
                <a:gd name="connsiteY12" fmla="*/ 47371 h 47371"/>
                <a:gd name="connsiteX13" fmla="*/ 21134 w 42268"/>
                <a:gd name="connsiteY13" fmla="*/ 41021 h 47371"/>
                <a:gd name="connsiteX14" fmla="*/ 28518 w 42268"/>
                <a:gd name="connsiteY14" fmla="*/ 39243 h 47371"/>
                <a:gd name="connsiteX15" fmla="*/ 32974 w 42268"/>
                <a:gd name="connsiteY15" fmla="*/ 33909 h 47371"/>
                <a:gd name="connsiteX16" fmla="*/ 34502 w 42268"/>
                <a:gd name="connsiteY16" fmla="*/ 24638 h 47371"/>
                <a:gd name="connsiteX17" fmla="*/ 34502 w 42268"/>
                <a:gd name="connsiteY17" fmla="*/ 22733 h 47371"/>
                <a:gd name="connsiteX18" fmla="*/ 32974 w 42268"/>
                <a:gd name="connsiteY18" fmla="*/ 13462 h 47371"/>
                <a:gd name="connsiteX19" fmla="*/ 28518 w 42268"/>
                <a:gd name="connsiteY19" fmla="*/ 8128 h 47371"/>
                <a:gd name="connsiteX20" fmla="*/ 21134 w 42268"/>
                <a:gd name="connsiteY20" fmla="*/ 6350 h 47371"/>
                <a:gd name="connsiteX21" fmla="*/ 13750 w 42268"/>
                <a:gd name="connsiteY21" fmla="*/ 8128 h 47371"/>
                <a:gd name="connsiteX22" fmla="*/ 9294 w 42268"/>
                <a:gd name="connsiteY22" fmla="*/ 13462 h 47371"/>
                <a:gd name="connsiteX23" fmla="*/ 7766 w 42268"/>
                <a:gd name="connsiteY23" fmla="*/ 22733 h 47371"/>
                <a:gd name="connsiteX24" fmla="*/ 7766 w 42268"/>
                <a:gd name="connsiteY24" fmla="*/ 24638 h 47371"/>
                <a:gd name="connsiteX25" fmla="*/ 9294 w 42268"/>
                <a:gd name="connsiteY25" fmla="*/ 33909 h 47371"/>
                <a:gd name="connsiteX26" fmla="*/ 13750 w 42268"/>
                <a:gd name="connsiteY26" fmla="*/ 39243 h 47371"/>
                <a:gd name="connsiteX27" fmla="*/ 21134 w 42268"/>
                <a:gd name="connsiteY27" fmla="*/ 41021 h 4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1">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2" name="Freeform 371">
              <a:extLst>
                <a:ext uri="{FF2B5EF4-FFF2-40B4-BE49-F238E27FC236}">
                  <a16:creationId xmlns:a16="http://schemas.microsoft.com/office/drawing/2014/main" id="{25A202AA-C337-03F0-6AAB-EE6CE126EE3D}"/>
                </a:ext>
              </a:extLst>
            </p:cNvPr>
            <p:cNvSpPr/>
            <p:nvPr/>
          </p:nvSpPr>
          <p:spPr>
            <a:xfrm>
              <a:off x="3923842" y="1499108"/>
              <a:ext cx="37303" cy="46355"/>
            </a:xfrm>
            <a:custGeom>
              <a:avLst/>
              <a:gdLst>
                <a:gd name="connsiteX0" fmla="*/ 14514 w 37303"/>
                <a:gd name="connsiteY0" fmla="*/ 46355 h 46355"/>
                <a:gd name="connsiteX1" fmla="*/ 3947 w 37303"/>
                <a:gd name="connsiteY1" fmla="*/ 43053 h 46355"/>
                <a:gd name="connsiteX2" fmla="*/ 0 w 37303"/>
                <a:gd name="connsiteY2" fmla="*/ 31369 h 46355"/>
                <a:gd name="connsiteX3" fmla="*/ 0 w 37303"/>
                <a:gd name="connsiteY3" fmla="*/ 127 h 46355"/>
                <a:gd name="connsiteX4" fmla="*/ 7639 w 37303"/>
                <a:gd name="connsiteY4" fmla="*/ 127 h 46355"/>
                <a:gd name="connsiteX5" fmla="*/ 7639 w 37303"/>
                <a:gd name="connsiteY5" fmla="*/ 30353 h 46355"/>
                <a:gd name="connsiteX6" fmla="*/ 8275 w 37303"/>
                <a:gd name="connsiteY6" fmla="*/ 35052 h 46355"/>
                <a:gd name="connsiteX7" fmla="*/ 10312 w 37303"/>
                <a:gd name="connsiteY7" fmla="*/ 37846 h 46355"/>
                <a:gd name="connsiteX8" fmla="*/ 13368 w 37303"/>
                <a:gd name="connsiteY8" fmla="*/ 39370 h 46355"/>
                <a:gd name="connsiteX9" fmla="*/ 17188 w 37303"/>
                <a:gd name="connsiteY9" fmla="*/ 39751 h 46355"/>
                <a:gd name="connsiteX10" fmla="*/ 23299 w 37303"/>
                <a:gd name="connsiteY10" fmla="*/ 38227 h 46355"/>
                <a:gd name="connsiteX11" fmla="*/ 27882 w 37303"/>
                <a:gd name="connsiteY11" fmla="*/ 33655 h 46355"/>
                <a:gd name="connsiteX12" fmla="*/ 29664 w 37303"/>
                <a:gd name="connsiteY12" fmla="*/ 26670 h 46355"/>
                <a:gd name="connsiteX13" fmla="*/ 29664 w 37303"/>
                <a:gd name="connsiteY13" fmla="*/ 0 h 46355"/>
                <a:gd name="connsiteX14" fmla="*/ 37303 w 37303"/>
                <a:gd name="connsiteY14" fmla="*/ 0 h 46355"/>
                <a:gd name="connsiteX15" fmla="*/ 37303 w 37303"/>
                <a:gd name="connsiteY15" fmla="*/ 45339 h 46355"/>
                <a:gd name="connsiteX16" fmla="*/ 31192 w 37303"/>
                <a:gd name="connsiteY16" fmla="*/ 45339 h 46355"/>
                <a:gd name="connsiteX17" fmla="*/ 30555 w 37303"/>
                <a:gd name="connsiteY17" fmla="*/ 38481 h 46355"/>
                <a:gd name="connsiteX18" fmla="*/ 29919 w 37303"/>
                <a:gd name="connsiteY18" fmla="*/ 38481 h 46355"/>
                <a:gd name="connsiteX19" fmla="*/ 25845 w 37303"/>
                <a:gd name="connsiteY19" fmla="*/ 42926 h 46355"/>
                <a:gd name="connsiteX20" fmla="*/ 20752 w 37303"/>
                <a:gd name="connsiteY20" fmla="*/ 45466 h 46355"/>
                <a:gd name="connsiteX21" fmla="*/ 14769 w 37303"/>
                <a:gd name="connsiteY21" fmla="*/ 46228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5">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5"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5" y="38481"/>
                  </a:lnTo>
                  <a:lnTo>
                    <a:pt x="29919" y="38481"/>
                  </a:lnTo>
                  <a:cubicBezTo>
                    <a:pt x="28646" y="40259"/>
                    <a:pt x="27373" y="41783"/>
                    <a:pt x="25845" y="42926"/>
                  </a:cubicBezTo>
                  <a:cubicBezTo>
                    <a:pt x="24317" y="44069"/>
                    <a:pt x="22662" y="44958"/>
                    <a:pt x="20752" y="45466"/>
                  </a:cubicBezTo>
                  <a:cubicBezTo>
                    <a:pt x="18843"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73" name="Freeform 372">
              <a:extLst>
                <a:ext uri="{FF2B5EF4-FFF2-40B4-BE49-F238E27FC236}">
                  <a16:creationId xmlns:a16="http://schemas.microsoft.com/office/drawing/2014/main" id="{72E9B226-2461-EFC6-1C17-056CCAB7DE0B}"/>
                </a:ext>
              </a:extLst>
            </p:cNvPr>
            <p:cNvSpPr/>
            <p:nvPr/>
          </p:nvSpPr>
          <p:spPr>
            <a:xfrm>
              <a:off x="3971712" y="1498091"/>
              <a:ext cx="39722" cy="61468"/>
            </a:xfrm>
            <a:custGeom>
              <a:avLst/>
              <a:gdLst>
                <a:gd name="connsiteX0" fmla="*/ 127 w 39722"/>
                <a:gd name="connsiteY0" fmla="*/ 61214 h 61468"/>
                <a:gd name="connsiteX1" fmla="*/ 127 w 39722"/>
                <a:gd name="connsiteY1" fmla="*/ 1016 h 61468"/>
                <a:gd name="connsiteX2" fmla="*/ 6238 w 39722"/>
                <a:gd name="connsiteY2" fmla="*/ 1016 h 61468"/>
                <a:gd name="connsiteX3" fmla="*/ 7002 w 39722"/>
                <a:gd name="connsiteY3" fmla="*/ 7493 h 61468"/>
                <a:gd name="connsiteX4" fmla="*/ 7639 w 39722"/>
                <a:gd name="connsiteY4" fmla="*/ 7493 h 61468"/>
                <a:gd name="connsiteX5" fmla="*/ 13623 w 39722"/>
                <a:gd name="connsiteY5" fmla="*/ 1905 h 61468"/>
                <a:gd name="connsiteX6" fmla="*/ 21771 w 39722"/>
                <a:gd name="connsiteY6" fmla="*/ 0 h 61468"/>
                <a:gd name="connsiteX7" fmla="*/ 31447 w 39722"/>
                <a:gd name="connsiteY7" fmla="*/ 2540 h 61468"/>
                <a:gd name="connsiteX8" fmla="*/ 37558 w 39722"/>
                <a:gd name="connsiteY8" fmla="*/ 10287 h 61468"/>
                <a:gd name="connsiteX9" fmla="*/ 39722 w 39722"/>
                <a:gd name="connsiteY9" fmla="*/ 24003 h 61468"/>
                <a:gd name="connsiteX10" fmla="*/ 37558 w 39722"/>
                <a:gd name="connsiteY10" fmla="*/ 37211 h 61468"/>
                <a:gd name="connsiteX11" fmla="*/ 31319 w 39722"/>
                <a:gd name="connsiteY11" fmla="*/ 44958 h 61468"/>
                <a:gd name="connsiteX12" fmla="*/ 22025 w 39722"/>
                <a:gd name="connsiteY12" fmla="*/ 47498 h 61468"/>
                <a:gd name="connsiteX13" fmla="*/ 16551 w 39722"/>
                <a:gd name="connsiteY13" fmla="*/ 46863 h 61468"/>
                <a:gd name="connsiteX14" fmla="*/ 11840 w 39722"/>
                <a:gd name="connsiteY14" fmla="*/ 44704 h 61468"/>
                <a:gd name="connsiteX15" fmla="*/ 8148 w 39722"/>
                <a:gd name="connsiteY15" fmla="*/ 40894 h 61468"/>
                <a:gd name="connsiteX16" fmla="*/ 7639 w 39722"/>
                <a:gd name="connsiteY16" fmla="*/ 40894 h 61468"/>
                <a:gd name="connsiteX17" fmla="*/ 7639 w 39722"/>
                <a:gd name="connsiteY17" fmla="*/ 61468 h 61468"/>
                <a:gd name="connsiteX18" fmla="*/ 0 w 39722"/>
                <a:gd name="connsiteY18" fmla="*/ 61468 h 61468"/>
                <a:gd name="connsiteX19" fmla="*/ 19607 w 39722"/>
                <a:gd name="connsiteY19" fmla="*/ 40767 h 61468"/>
                <a:gd name="connsiteX20" fmla="*/ 26481 w 39722"/>
                <a:gd name="connsiteY20" fmla="*/ 39116 h 61468"/>
                <a:gd name="connsiteX21" fmla="*/ 30428 w 39722"/>
                <a:gd name="connsiteY21" fmla="*/ 33909 h 61468"/>
                <a:gd name="connsiteX22" fmla="*/ 31701 w 39722"/>
                <a:gd name="connsiteY22" fmla="*/ 24765 h 61468"/>
                <a:gd name="connsiteX23" fmla="*/ 31701 w 39722"/>
                <a:gd name="connsiteY23" fmla="*/ 22987 h 61468"/>
                <a:gd name="connsiteX24" fmla="*/ 30301 w 39722"/>
                <a:gd name="connsiteY24" fmla="*/ 13462 h 61468"/>
                <a:gd name="connsiteX25" fmla="*/ 26227 w 39722"/>
                <a:gd name="connsiteY25" fmla="*/ 8382 h 61468"/>
                <a:gd name="connsiteX26" fmla="*/ 19734 w 39722"/>
                <a:gd name="connsiteY26" fmla="*/ 6858 h 61468"/>
                <a:gd name="connsiteX27" fmla="*/ 12731 w 39722"/>
                <a:gd name="connsiteY27" fmla="*/ 8763 h 61468"/>
                <a:gd name="connsiteX28" fmla="*/ 8785 w 39722"/>
                <a:gd name="connsiteY28" fmla="*/ 14351 h 61468"/>
                <a:gd name="connsiteX29" fmla="*/ 7512 w 39722"/>
                <a:gd name="connsiteY29" fmla="*/ 23368 h 61468"/>
                <a:gd name="connsiteX30" fmla="*/ 7512 w 39722"/>
                <a:gd name="connsiteY30" fmla="*/ 24638 h 61468"/>
                <a:gd name="connsiteX31" fmla="*/ 8403 w 39722"/>
                <a:gd name="connsiteY31" fmla="*/ 32512 h 61468"/>
                <a:gd name="connsiteX32" fmla="*/ 10949 w 39722"/>
                <a:gd name="connsiteY32" fmla="*/ 37592 h 61468"/>
                <a:gd name="connsiteX33" fmla="*/ 14769 w 39722"/>
                <a:gd name="connsiteY33" fmla="*/ 40259 h 61468"/>
                <a:gd name="connsiteX34" fmla="*/ 19352 w 39722"/>
                <a:gd name="connsiteY34" fmla="*/ 41021 h 6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1468">
                  <a:moveTo>
                    <a:pt x="127" y="61214"/>
                  </a:moveTo>
                  <a:lnTo>
                    <a:pt x="127" y="1016"/>
                  </a:lnTo>
                  <a:lnTo>
                    <a:pt x="6238" y="1016"/>
                  </a:lnTo>
                  <a:lnTo>
                    <a:pt x="7002" y="7493"/>
                  </a:lnTo>
                  <a:lnTo>
                    <a:pt x="7639" y="7493"/>
                  </a:lnTo>
                  <a:cubicBezTo>
                    <a:pt x="9167" y="4953"/>
                    <a:pt x="11204" y="3048"/>
                    <a:pt x="13623" y="1905"/>
                  </a:cubicBezTo>
                  <a:cubicBezTo>
                    <a:pt x="16041" y="635"/>
                    <a:pt x="18715" y="0"/>
                    <a:pt x="21771" y="0"/>
                  </a:cubicBezTo>
                  <a:cubicBezTo>
                    <a:pt x="25590" y="0"/>
                    <a:pt x="28773" y="889"/>
                    <a:pt x="31447" y="2540"/>
                  </a:cubicBezTo>
                  <a:cubicBezTo>
                    <a:pt x="34120" y="4191"/>
                    <a:pt x="36157" y="6858"/>
                    <a:pt x="37558" y="10287"/>
                  </a:cubicBezTo>
                  <a:cubicBezTo>
                    <a:pt x="38958" y="13843"/>
                    <a:pt x="39722" y="18415"/>
                    <a:pt x="39722" y="24003"/>
                  </a:cubicBezTo>
                  <a:cubicBezTo>
                    <a:pt x="39722" y="29337"/>
                    <a:pt x="38958" y="33655"/>
                    <a:pt x="37558" y="37211"/>
                  </a:cubicBezTo>
                  <a:cubicBezTo>
                    <a:pt x="36030" y="40640"/>
                    <a:pt x="33993" y="43307"/>
                    <a:pt x="31319" y="44958"/>
                  </a:cubicBezTo>
                  <a:cubicBezTo>
                    <a:pt x="28646" y="46609"/>
                    <a:pt x="25590" y="47498"/>
                    <a:pt x="22025" y="47498"/>
                  </a:cubicBezTo>
                  <a:cubicBezTo>
                    <a:pt x="20115" y="47498"/>
                    <a:pt x="18206" y="47244"/>
                    <a:pt x="16551" y="46863"/>
                  </a:cubicBezTo>
                  <a:cubicBezTo>
                    <a:pt x="14896" y="46482"/>
                    <a:pt x="13241" y="45720"/>
                    <a:pt x="11840" y="44704"/>
                  </a:cubicBezTo>
                  <a:cubicBezTo>
                    <a:pt x="10440" y="43688"/>
                    <a:pt x="9294" y="42418"/>
                    <a:pt x="8148" y="40894"/>
                  </a:cubicBezTo>
                  <a:lnTo>
                    <a:pt x="7639" y="40894"/>
                  </a:lnTo>
                  <a:lnTo>
                    <a:pt x="7639" y="61468"/>
                  </a:lnTo>
                  <a:lnTo>
                    <a:pt x="0" y="61468"/>
                  </a:lnTo>
                  <a:close/>
                  <a:moveTo>
                    <a:pt x="19607" y="40767"/>
                  </a:moveTo>
                  <a:cubicBezTo>
                    <a:pt x="22407" y="40767"/>
                    <a:pt x="24699" y="40259"/>
                    <a:pt x="26481" y="39116"/>
                  </a:cubicBezTo>
                  <a:cubicBezTo>
                    <a:pt x="28264" y="37973"/>
                    <a:pt x="29537" y="36195"/>
                    <a:pt x="30428" y="33909"/>
                  </a:cubicBezTo>
                  <a:cubicBezTo>
                    <a:pt x="31319" y="31496"/>
                    <a:pt x="31701" y="28448"/>
                    <a:pt x="31701" y="24765"/>
                  </a:cubicBezTo>
                  <a:lnTo>
                    <a:pt x="31701" y="22987"/>
                  </a:lnTo>
                  <a:cubicBezTo>
                    <a:pt x="31701" y="19050"/>
                    <a:pt x="31192" y="15875"/>
                    <a:pt x="30301" y="13462"/>
                  </a:cubicBezTo>
                  <a:cubicBezTo>
                    <a:pt x="29410" y="11049"/>
                    <a:pt x="28009" y="9398"/>
                    <a:pt x="26227" y="8382"/>
                  </a:cubicBezTo>
                  <a:cubicBezTo>
                    <a:pt x="24444" y="7366"/>
                    <a:pt x="22280" y="6858"/>
                    <a:pt x="19734" y="6858"/>
                  </a:cubicBezTo>
                  <a:cubicBezTo>
                    <a:pt x="16933" y="6858"/>
                    <a:pt x="14641" y="7493"/>
                    <a:pt x="12731" y="8763"/>
                  </a:cubicBezTo>
                  <a:cubicBezTo>
                    <a:pt x="10949" y="10033"/>
                    <a:pt x="9549" y="11811"/>
                    <a:pt x="8785" y="14351"/>
                  </a:cubicBezTo>
                  <a:cubicBezTo>
                    <a:pt x="7893" y="16764"/>
                    <a:pt x="7512" y="19812"/>
                    <a:pt x="7512" y="23368"/>
                  </a:cubicBezTo>
                  <a:lnTo>
                    <a:pt x="7512" y="24638"/>
                  </a:lnTo>
                  <a:cubicBezTo>
                    <a:pt x="7512" y="27813"/>
                    <a:pt x="7766" y="30480"/>
                    <a:pt x="8403" y="32512"/>
                  </a:cubicBezTo>
                  <a:cubicBezTo>
                    <a:pt x="9039" y="34671"/>
                    <a:pt x="9931" y="36322"/>
                    <a:pt x="10949" y="37592"/>
                  </a:cubicBezTo>
                  <a:cubicBezTo>
                    <a:pt x="12095" y="38862"/>
                    <a:pt x="13368" y="39751"/>
                    <a:pt x="14769" y="40259"/>
                  </a:cubicBezTo>
                  <a:cubicBezTo>
                    <a:pt x="16169" y="40767"/>
                    <a:pt x="17696" y="41021"/>
                    <a:pt x="19352" y="41021"/>
                  </a:cubicBezTo>
                  <a:close/>
                </a:path>
              </a:pathLst>
            </a:custGeom>
            <a:solidFill>
              <a:srgbClr val="1D4966"/>
            </a:solidFill>
            <a:ln w="0" cap="flat">
              <a:noFill/>
              <a:prstDash val="solid"/>
              <a:miter/>
            </a:ln>
          </p:spPr>
          <p:txBody>
            <a:bodyPr rtlCol="0" anchor="ctr"/>
            <a:lstStyle/>
            <a:p>
              <a:endParaRPr lang="en-AD" sz="2400"/>
            </a:p>
          </p:txBody>
        </p:sp>
        <p:sp>
          <p:nvSpPr>
            <p:cNvPr id="374" name="Freeform 373">
              <a:extLst>
                <a:ext uri="{FF2B5EF4-FFF2-40B4-BE49-F238E27FC236}">
                  <a16:creationId xmlns:a16="http://schemas.microsoft.com/office/drawing/2014/main" id="{623773B9-67F6-910C-358E-011DF3792017}"/>
                </a:ext>
              </a:extLst>
            </p:cNvPr>
            <p:cNvSpPr/>
            <p:nvPr/>
          </p:nvSpPr>
          <p:spPr>
            <a:xfrm>
              <a:off x="4017164" y="1498219"/>
              <a:ext cx="37557" cy="47625"/>
            </a:xfrm>
            <a:custGeom>
              <a:avLst/>
              <a:gdLst>
                <a:gd name="connsiteX0" fmla="*/ 18842 w 37557"/>
                <a:gd name="connsiteY0" fmla="*/ 47244 h 47625"/>
                <a:gd name="connsiteX1" fmla="*/ 10694 w 37557"/>
                <a:gd name="connsiteY1" fmla="*/ 46355 h 47625"/>
                <a:gd name="connsiteX2" fmla="*/ 4838 w 37557"/>
                <a:gd name="connsiteY2" fmla="*/ 43561 h 47625"/>
                <a:gd name="connsiteX3" fmla="*/ 1273 w 37557"/>
                <a:gd name="connsiteY3" fmla="*/ 39243 h 47625"/>
                <a:gd name="connsiteX4" fmla="*/ 0 w 37557"/>
                <a:gd name="connsiteY4" fmla="*/ 33528 h 47625"/>
                <a:gd name="connsiteX5" fmla="*/ 0 w 37557"/>
                <a:gd name="connsiteY5" fmla="*/ 32766 h 47625"/>
                <a:gd name="connsiteX6" fmla="*/ 0 w 37557"/>
                <a:gd name="connsiteY6" fmla="*/ 32131 h 47625"/>
                <a:gd name="connsiteX7" fmla="*/ 7512 w 37557"/>
                <a:gd name="connsiteY7" fmla="*/ 32131 h 47625"/>
                <a:gd name="connsiteX8" fmla="*/ 7512 w 37557"/>
                <a:gd name="connsiteY8" fmla="*/ 32766 h 47625"/>
                <a:gd name="connsiteX9" fmla="*/ 7512 w 37557"/>
                <a:gd name="connsiteY9" fmla="*/ 33274 h 47625"/>
                <a:gd name="connsiteX10" fmla="*/ 9167 w 37557"/>
                <a:gd name="connsiteY10" fmla="*/ 37973 h 47625"/>
                <a:gd name="connsiteX11" fmla="*/ 13368 w 37557"/>
                <a:gd name="connsiteY11" fmla="*/ 40386 h 47625"/>
                <a:gd name="connsiteX12" fmla="*/ 19352 w 37557"/>
                <a:gd name="connsiteY12" fmla="*/ 41021 h 47625"/>
                <a:gd name="connsiteX13" fmla="*/ 24572 w 37557"/>
                <a:gd name="connsiteY13" fmla="*/ 40259 h 47625"/>
                <a:gd name="connsiteX14" fmla="*/ 28391 w 37557"/>
                <a:gd name="connsiteY14" fmla="*/ 37973 h 47625"/>
                <a:gd name="connsiteX15" fmla="*/ 29792 w 37557"/>
                <a:gd name="connsiteY15" fmla="*/ 34163 h 47625"/>
                <a:gd name="connsiteX16" fmla="*/ 27881 w 37557"/>
                <a:gd name="connsiteY16" fmla="*/ 29845 h 47625"/>
                <a:gd name="connsiteX17" fmla="*/ 23044 w 37557"/>
                <a:gd name="connsiteY17" fmla="*/ 27432 h 47625"/>
                <a:gd name="connsiteX18" fmla="*/ 16678 w 37557"/>
                <a:gd name="connsiteY18" fmla="*/ 25654 h 47625"/>
                <a:gd name="connsiteX19" fmla="*/ 11203 w 37557"/>
                <a:gd name="connsiteY19" fmla="*/ 23876 h 47625"/>
                <a:gd name="connsiteX20" fmla="*/ 6238 w 37557"/>
                <a:gd name="connsiteY20" fmla="*/ 21590 h 47625"/>
                <a:gd name="connsiteX21" fmla="*/ 2673 w 37557"/>
                <a:gd name="connsiteY21" fmla="*/ 18034 h 47625"/>
                <a:gd name="connsiteX22" fmla="*/ 1273 w 37557"/>
                <a:gd name="connsiteY22" fmla="*/ 12446 h 47625"/>
                <a:gd name="connsiteX23" fmla="*/ 2546 w 37557"/>
                <a:gd name="connsiteY23" fmla="*/ 7112 h 47625"/>
                <a:gd name="connsiteX24" fmla="*/ 6111 w 37557"/>
                <a:gd name="connsiteY24" fmla="*/ 3175 h 47625"/>
                <a:gd name="connsiteX25" fmla="*/ 11713 w 37557"/>
                <a:gd name="connsiteY25" fmla="*/ 762 h 47625"/>
                <a:gd name="connsiteX26" fmla="*/ 19097 w 37557"/>
                <a:gd name="connsiteY26" fmla="*/ 0 h 47625"/>
                <a:gd name="connsiteX27" fmla="*/ 26609 w 37557"/>
                <a:gd name="connsiteY27" fmla="*/ 889 h 47625"/>
                <a:gd name="connsiteX28" fmla="*/ 31956 w 37557"/>
                <a:gd name="connsiteY28" fmla="*/ 3556 h 47625"/>
                <a:gd name="connsiteX29" fmla="*/ 35139 w 37557"/>
                <a:gd name="connsiteY29" fmla="*/ 7493 h 47625"/>
                <a:gd name="connsiteX30" fmla="*/ 36157 w 37557"/>
                <a:gd name="connsiteY30" fmla="*/ 12192 h 47625"/>
                <a:gd name="connsiteX31" fmla="*/ 36157 w 37557"/>
                <a:gd name="connsiteY31" fmla="*/ 13208 h 47625"/>
                <a:gd name="connsiteX32" fmla="*/ 36157 w 37557"/>
                <a:gd name="connsiteY32" fmla="*/ 13970 h 47625"/>
                <a:gd name="connsiteX33" fmla="*/ 28773 w 37557"/>
                <a:gd name="connsiteY33" fmla="*/ 13970 h 47625"/>
                <a:gd name="connsiteX34" fmla="*/ 28773 w 37557"/>
                <a:gd name="connsiteY34" fmla="*/ 13081 h 47625"/>
                <a:gd name="connsiteX35" fmla="*/ 27881 w 37557"/>
                <a:gd name="connsiteY35" fmla="*/ 9779 h 47625"/>
                <a:gd name="connsiteX36" fmla="*/ 24826 w 37557"/>
                <a:gd name="connsiteY36" fmla="*/ 7239 h 47625"/>
                <a:gd name="connsiteX37" fmla="*/ 18715 w 37557"/>
                <a:gd name="connsiteY37" fmla="*/ 6223 h 47625"/>
                <a:gd name="connsiteX38" fmla="*/ 14386 w 37557"/>
                <a:gd name="connsiteY38" fmla="*/ 6604 h 47625"/>
                <a:gd name="connsiteX39" fmla="*/ 11331 w 37557"/>
                <a:gd name="connsiteY39" fmla="*/ 7874 h 47625"/>
                <a:gd name="connsiteX40" fmla="*/ 9549 w 37557"/>
                <a:gd name="connsiteY40" fmla="*/ 9779 h 47625"/>
                <a:gd name="connsiteX41" fmla="*/ 8912 w 37557"/>
                <a:gd name="connsiteY41" fmla="*/ 12192 h 47625"/>
                <a:gd name="connsiteX42" fmla="*/ 10439 w 37557"/>
                <a:gd name="connsiteY42" fmla="*/ 15621 h 47625"/>
                <a:gd name="connsiteX43" fmla="*/ 14386 w 37557"/>
                <a:gd name="connsiteY43" fmla="*/ 17653 h 47625"/>
                <a:gd name="connsiteX44" fmla="*/ 19734 w 37557"/>
                <a:gd name="connsiteY44" fmla="*/ 19431 h 47625"/>
                <a:gd name="connsiteX45" fmla="*/ 25972 w 37557"/>
                <a:gd name="connsiteY45" fmla="*/ 21209 h 47625"/>
                <a:gd name="connsiteX46" fmla="*/ 31701 w 37557"/>
                <a:gd name="connsiteY46" fmla="*/ 23495 h 47625"/>
                <a:gd name="connsiteX47" fmla="*/ 35902 w 37557"/>
                <a:gd name="connsiteY47" fmla="*/ 27305 h 47625"/>
                <a:gd name="connsiteX48" fmla="*/ 37558 w 37557"/>
                <a:gd name="connsiteY48" fmla="*/ 33528 h 47625"/>
                <a:gd name="connsiteX49" fmla="*/ 36157 w 37557"/>
                <a:gd name="connsiteY49" fmla="*/ 39878 h 47625"/>
                <a:gd name="connsiteX50" fmla="*/ 32211 w 37557"/>
                <a:gd name="connsiteY50" fmla="*/ 44323 h 47625"/>
                <a:gd name="connsiteX51" fmla="*/ 26227 w 37557"/>
                <a:gd name="connsiteY51" fmla="*/ 46863 h 47625"/>
                <a:gd name="connsiteX52" fmla="*/ 18715 w 37557"/>
                <a:gd name="connsiteY52"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5">
                  <a:moveTo>
                    <a:pt x="18842" y="47244"/>
                  </a:moveTo>
                  <a:cubicBezTo>
                    <a:pt x="15787" y="47244"/>
                    <a:pt x="12986" y="46990"/>
                    <a:pt x="10694" y="46355"/>
                  </a:cubicBezTo>
                  <a:cubicBezTo>
                    <a:pt x="8275"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5" y="39878"/>
                    <a:pt x="13368" y="40386"/>
                  </a:cubicBezTo>
                  <a:cubicBezTo>
                    <a:pt x="15150" y="40894"/>
                    <a:pt x="17187"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1" y="29845"/>
                  </a:cubicBezTo>
                  <a:cubicBezTo>
                    <a:pt x="26609" y="28829"/>
                    <a:pt x="24954" y="28067"/>
                    <a:pt x="23044" y="27432"/>
                  </a:cubicBezTo>
                  <a:cubicBezTo>
                    <a:pt x="21007" y="26797"/>
                    <a:pt x="18970" y="26289"/>
                    <a:pt x="16678" y="25654"/>
                  </a:cubicBezTo>
                  <a:cubicBezTo>
                    <a:pt x="14896" y="25146"/>
                    <a:pt x="12986" y="24511"/>
                    <a:pt x="11203" y="23876"/>
                  </a:cubicBezTo>
                  <a:cubicBezTo>
                    <a:pt x="9421" y="23241"/>
                    <a:pt x="7766" y="22479"/>
                    <a:pt x="6238" y="21590"/>
                  </a:cubicBezTo>
                  <a:cubicBezTo>
                    <a:pt x="4711" y="20701"/>
                    <a:pt x="3565" y="19431"/>
                    <a:pt x="2673" y="18034"/>
                  </a:cubicBezTo>
                  <a:cubicBezTo>
                    <a:pt x="1782" y="16510"/>
                    <a:pt x="1273" y="14732"/>
                    <a:pt x="1273" y="12446"/>
                  </a:cubicBezTo>
                  <a:cubicBezTo>
                    <a:pt x="1273" y="10414"/>
                    <a:pt x="1655" y="8636"/>
                    <a:pt x="2546" y="7112"/>
                  </a:cubicBezTo>
                  <a:cubicBezTo>
                    <a:pt x="3437" y="5588"/>
                    <a:pt x="4583" y="4191"/>
                    <a:pt x="6111" y="3175"/>
                  </a:cubicBezTo>
                  <a:cubicBezTo>
                    <a:pt x="7639" y="2032"/>
                    <a:pt x="9549" y="1270"/>
                    <a:pt x="11713" y="762"/>
                  </a:cubicBezTo>
                  <a:cubicBezTo>
                    <a:pt x="13877" y="254"/>
                    <a:pt x="16423" y="0"/>
                    <a:pt x="19097" y="0"/>
                  </a:cubicBezTo>
                  <a:cubicBezTo>
                    <a:pt x="22025" y="0"/>
                    <a:pt x="24444"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1" y="9779"/>
                  </a:cubicBezTo>
                  <a:cubicBezTo>
                    <a:pt x="27245" y="8763"/>
                    <a:pt x="26227" y="7874"/>
                    <a:pt x="24826" y="7239"/>
                  </a:cubicBezTo>
                  <a:cubicBezTo>
                    <a:pt x="23298" y="6604"/>
                    <a:pt x="21389" y="6223"/>
                    <a:pt x="18715" y="6223"/>
                  </a:cubicBezTo>
                  <a:cubicBezTo>
                    <a:pt x="17060" y="6223"/>
                    <a:pt x="15659" y="6350"/>
                    <a:pt x="14386"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39" y="15621"/>
                  </a:cubicBezTo>
                  <a:cubicBezTo>
                    <a:pt x="11458" y="16383"/>
                    <a:pt x="12731" y="17145"/>
                    <a:pt x="14386" y="17653"/>
                  </a:cubicBezTo>
                  <a:cubicBezTo>
                    <a:pt x="16041" y="18161"/>
                    <a:pt x="17824" y="18796"/>
                    <a:pt x="19734" y="19431"/>
                  </a:cubicBezTo>
                  <a:cubicBezTo>
                    <a:pt x="21771" y="20066"/>
                    <a:pt x="23808" y="20574"/>
                    <a:pt x="25972" y="21209"/>
                  </a:cubicBezTo>
                  <a:cubicBezTo>
                    <a:pt x="28136" y="21844"/>
                    <a:pt x="30046" y="22606"/>
                    <a:pt x="31701" y="23495"/>
                  </a:cubicBezTo>
                  <a:cubicBezTo>
                    <a:pt x="33483" y="24384"/>
                    <a:pt x="34884" y="25654"/>
                    <a:pt x="35902" y="27305"/>
                  </a:cubicBezTo>
                  <a:cubicBezTo>
                    <a:pt x="36921" y="28829"/>
                    <a:pt x="37558" y="30988"/>
                    <a:pt x="37558" y="33528"/>
                  </a:cubicBezTo>
                  <a:cubicBezTo>
                    <a:pt x="37558" y="35941"/>
                    <a:pt x="37048" y="38100"/>
                    <a:pt x="36157" y="39878"/>
                  </a:cubicBezTo>
                  <a:cubicBezTo>
                    <a:pt x="35266" y="41656"/>
                    <a:pt x="33865"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75" name="Freeform 374">
              <a:extLst>
                <a:ext uri="{FF2B5EF4-FFF2-40B4-BE49-F238E27FC236}">
                  <a16:creationId xmlns:a16="http://schemas.microsoft.com/office/drawing/2014/main" id="{77EC2A99-7FA6-DFEE-1A59-3812ED878896}"/>
                </a:ext>
              </a:extLst>
            </p:cNvPr>
            <p:cNvSpPr/>
            <p:nvPr/>
          </p:nvSpPr>
          <p:spPr>
            <a:xfrm>
              <a:off x="2071800" y="1588008"/>
              <a:ext cx="22152" cy="59181"/>
            </a:xfrm>
            <a:custGeom>
              <a:avLst/>
              <a:gdLst>
                <a:gd name="connsiteX0" fmla="*/ 15023 w 22152"/>
                <a:gd name="connsiteY0" fmla="*/ 59182 h 59181"/>
                <a:gd name="connsiteX1" fmla="*/ 9549 w 22152"/>
                <a:gd name="connsiteY1" fmla="*/ 57785 h 59181"/>
                <a:gd name="connsiteX2" fmla="*/ 6748 w 22152"/>
                <a:gd name="connsiteY2" fmla="*/ 54229 h 59181"/>
                <a:gd name="connsiteX3" fmla="*/ 5857 w 22152"/>
                <a:gd name="connsiteY3" fmla="*/ 49530 h 59181"/>
                <a:gd name="connsiteX4" fmla="*/ 5857 w 22152"/>
                <a:gd name="connsiteY4" fmla="*/ 19050 h 59181"/>
                <a:gd name="connsiteX5" fmla="*/ 0 w 22152"/>
                <a:gd name="connsiteY5" fmla="*/ 19050 h 59181"/>
                <a:gd name="connsiteX6" fmla="*/ 0 w 22152"/>
                <a:gd name="connsiteY6" fmla="*/ 12700 h 59181"/>
                <a:gd name="connsiteX7" fmla="*/ 6111 w 22152"/>
                <a:gd name="connsiteY7" fmla="*/ 12700 h 59181"/>
                <a:gd name="connsiteX8" fmla="*/ 7512 w 22152"/>
                <a:gd name="connsiteY8" fmla="*/ 0 h 59181"/>
                <a:gd name="connsiteX9" fmla="*/ 13623 w 22152"/>
                <a:gd name="connsiteY9" fmla="*/ 0 h 59181"/>
                <a:gd name="connsiteX10" fmla="*/ 13623 w 22152"/>
                <a:gd name="connsiteY10" fmla="*/ 12700 h 59181"/>
                <a:gd name="connsiteX11" fmla="*/ 22153 w 22152"/>
                <a:gd name="connsiteY11" fmla="*/ 12700 h 59181"/>
                <a:gd name="connsiteX12" fmla="*/ 22153 w 22152"/>
                <a:gd name="connsiteY12" fmla="*/ 19050 h 59181"/>
                <a:gd name="connsiteX13" fmla="*/ 13623 w 22152"/>
                <a:gd name="connsiteY13" fmla="*/ 19050 h 59181"/>
                <a:gd name="connsiteX14" fmla="*/ 13623 w 22152"/>
                <a:gd name="connsiteY14" fmla="*/ 48387 h 59181"/>
                <a:gd name="connsiteX15" fmla="*/ 14387 w 22152"/>
                <a:gd name="connsiteY15" fmla="*/ 51562 h 59181"/>
                <a:gd name="connsiteX16" fmla="*/ 17315 w 22152"/>
                <a:gd name="connsiteY16" fmla="*/ 52578 h 59181"/>
                <a:gd name="connsiteX17" fmla="*/ 22153 w 22152"/>
                <a:gd name="connsiteY17" fmla="*/ 52578 h 59181"/>
                <a:gd name="connsiteX18" fmla="*/ 22153 w 22152"/>
                <a:gd name="connsiteY18" fmla="*/ 57531 h 59181"/>
                <a:gd name="connsiteX19" fmla="*/ 20116 w 22152"/>
                <a:gd name="connsiteY19" fmla="*/ 58166 h 59181"/>
                <a:gd name="connsiteX20" fmla="*/ 17697 w 22152"/>
                <a:gd name="connsiteY20" fmla="*/ 58674 h 59181"/>
                <a:gd name="connsiteX21" fmla="*/ 15278 w 22152"/>
                <a:gd name="connsiteY21" fmla="*/ 58928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52" h="59181">
                  <a:moveTo>
                    <a:pt x="15023" y="59182"/>
                  </a:moveTo>
                  <a:cubicBezTo>
                    <a:pt x="12604" y="59182"/>
                    <a:pt x="10822" y="58674"/>
                    <a:pt x="9549" y="57785"/>
                  </a:cubicBezTo>
                  <a:cubicBezTo>
                    <a:pt x="8276" y="56896"/>
                    <a:pt x="7257" y="55753"/>
                    <a:pt x="6748" y="54229"/>
                  </a:cubicBezTo>
                  <a:cubicBezTo>
                    <a:pt x="6111" y="52705"/>
                    <a:pt x="5857" y="51181"/>
                    <a:pt x="5857" y="49530"/>
                  </a:cubicBezTo>
                  <a:lnTo>
                    <a:pt x="5857" y="19050"/>
                  </a:lnTo>
                  <a:lnTo>
                    <a:pt x="0" y="19050"/>
                  </a:lnTo>
                  <a:lnTo>
                    <a:pt x="0" y="12700"/>
                  </a:lnTo>
                  <a:lnTo>
                    <a:pt x="6111" y="12700"/>
                  </a:lnTo>
                  <a:lnTo>
                    <a:pt x="7512" y="0"/>
                  </a:lnTo>
                  <a:lnTo>
                    <a:pt x="13623" y="0"/>
                  </a:lnTo>
                  <a:lnTo>
                    <a:pt x="13623" y="12700"/>
                  </a:lnTo>
                  <a:lnTo>
                    <a:pt x="22153" y="12700"/>
                  </a:lnTo>
                  <a:lnTo>
                    <a:pt x="22153" y="19050"/>
                  </a:lnTo>
                  <a:lnTo>
                    <a:pt x="13623" y="19050"/>
                  </a:lnTo>
                  <a:lnTo>
                    <a:pt x="13623" y="48387"/>
                  </a:lnTo>
                  <a:cubicBezTo>
                    <a:pt x="13623" y="49784"/>
                    <a:pt x="13877" y="50927"/>
                    <a:pt x="14387" y="51562"/>
                  </a:cubicBezTo>
                  <a:cubicBezTo>
                    <a:pt x="14896" y="52324"/>
                    <a:pt x="15914" y="52578"/>
                    <a:pt x="17315" y="52578"/>
                  </a:cubicBezTo>
                  <a:lnTo>
                    <a:pt x="22153" y="52578"/>
                  </a:lnTo>
                  <a:lnTo>
                    <a:pt x="22153" y="57531"/>
                  </a:lnTo>
                  <a:cubicBezTo>
                    <a:pt x="22153" y="57531"/>
                    <a:pt x="20880" y="58039"/>
                    <a:pt x="20116" y="58166"/>
                  </a:cubicBezTo>
                  <a:cubicBezTo>
                    <a:pt x="19352" y="58293"/>
                    <a:pt x="18461" y="58547"/>
                    <a:pt x="17697" y="58674"/>
                  </a:cubicBezTo>
                  <a:cubicBezTo>
                    <a:pt x="16806" y="58801"/>
                    <a:pt x="16042" y="58928"/>
                    <a:pt x="15278" y="58928"/>
                  </a:cubicBezTo>
                  <a:close/>
                </a:path>
              </a:pathLst>
            </a:custGeom>
            <a:solidFill>
              <a:srgbClr val="1D4966"/>
            </a:solidFill>
            <a:ln w="0" cap="flat">
              <a:noFill/>
              <a:prstDash val="solid"/>
              <a:miter/>
            </a:ln>
          </p:spPr>
          <p:txBody>
            <a:bodyPr rtlCol="0" anchor="ctr"/>
            <a:lstStyle/>
            <a:p>
              <a:endParaRPr lang="en-AD" sz="2400"/>
            </a:p>
          </p:txBody>
        </p:sp>
        <p:sp>
          <p:nvSpPr>
            <p:cNvPr id="376" name="Freeform 375">
              <a:extLst>
                <a:ext uri="{FF2B5EF4-FFF2-40B4-BE49-F238E27FC236}">
                  <a16:creationId xmlns:a16="http://schemas.microsoft.com/office/drawing/2014/main" id="{D163C64B-9B40-5F15-117B-4D5E994D9643}"/>
                </a:ext>
              </a:extLst>
            </p:cNvPr>
            <p:cNvSpPr/>
            <p:nvPr/>
          </p:nvSpPr>
          <p:spPr>
            <a:xfrm>
              <a:off x="2098409"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77" name="Freeform 376">
              <a:extLst>
                <a:ext uri="{FF2B5EF4-FFF2-40B4-BE49-F238E27FC236}">
                  <a16:creationId xmlns:a16="http://schemas.microsoft.com/office/drawing/2014/main" id="{21851F32-4A24-65F1-206B-5C6BA513A689}"/>
                </a:ext>
              </a:extLst>
            </p:cNvPr>
            <p:cNvSpPr/>
            <p:nvPr/>
          </p:nvSpPr>
          <p:spPr>
            <a:xfrm>
              <a:off x="2168686" y="1599819"/>
              <a:ext cx="21770" cy="46482"/>
            </a:xfrm>
            <a:custGeom>
              <a:avLst/>
              <a:gdLst>
                <a:gd name="connsiteX0" fmla="*/ 0 w 21770"/>
                <a:gd name="connsiteY0" fmla="*/ 46355 h 46482"/>
                <a:gd name="connsiteX1" fmla="*/ 0 w 21770"/>
                <a:gd name="connsiteY1" fmla="*/ 1016 h 46482"/>
                <a:gd name="connsiteX2" fmla="*/ 6111 w 21770"/>
                <a:gd name="connsiteY2" fmla="*/ 1016 h 46482"/>
                <a:gd name="connsiteX3" fmla="*/ 6748 w 21770"/>
                <a:gd name="connsiteY3" fmla="*/ 8509 h 46482"/>
                <a:gd name="connsiteX4" fmla="*/ 7384 w 21770"/>
                <a:gd name="connsiteY4" fmla="*/ 8509 h 46482"/>
                <a:gd name="connsiteX5" fmla="*/ 9294 w 21770"/>
                <a:gd name="connsiteY5" fmla="*/ 4445 h 46482"/>
                <a:gd name="connsiteX6" fmla="*/ 12604 w 21770"/>
                <a:gd name="connsiteY6" fmla="*/ 1270 h 46482"/>
                <a:gd name="connsiteX7" fmla="*/ 17697 w 21770"/>
                <a:gd name="connsiteY7" fmla="*/ 0 h 46482"/>
                <a:gd name="connsiteX8" fmla="*/ 20116 w 21770"/>
                <a:gd name="connsiteY8" fmla="*/ 254 h 46482"/>
                <a:gd name="connsiteX9" fmla="*/ 21771 w 21770"/>
                <a:gd name="connsiteY9" fmla="*/ 762 h 46482"/>
                <a:gd name="connsiteX10" fmla="*/ 21771 w 21770"/>
                <a:gd name="connsiteY10" fmla="*/ 7747 h 46482"/>
                <a:gd name="connsiteX11" fmla="*/ 18970 w 21770"/>
                <a:gd name="connsiteY11" fmla="*/ 7747 h 46482"/>
                <a:gd name="connsiteX12" fmla="*/ 13877 w 21770"/>
                <a:gd name="connsiteY12" fmla="*/ 8763 h 46482"/>
                <a:gd name="connsiteX13" fmla="*/ 10440 w 21770"/>
                <a:gd name="connsiteY13" fmla="*/ 11557 h 46482"/>
                <a:gd name="connsiteX14" fmla="*/ 8403 w 21770"/>
                <a:gd name="connsiteY14" fmla="*/ 15875 h 46482"/>
                <a:gd name="connsiteX15" fmla="*/ 7766 w 21770"/>
                <a:gd name="connsiteY15" fmla="*/ 21209 h 46482"/>
                <a:gd name="connsiteX16" fmla="*/ 7766 w 21770"/>
                <a:gd name="connsiteY16" fmla="*/ 46482 h 46482"/>
                <a:gd name="connsiteX17" fmla="*/ 127 w 21770"/>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0"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7"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378" name="Freeform 377">
              <a:extLst>
                <a:ext uri="{FF2B5EF4-FFF2-40B4-BE49-F238E27FC236}">
                  <a16:creationId xmlns:a16="http://schemas.microsoft.com/office/drawing/2014/main" id="{FCE2CBC0-7808-D4AC-1324-5105F78D188F}"/>
                </a:ext>
              </a:extLst>
            </p:cNvPr>
            <p:cNvSpPr/>
            <p:nvPr/>
          </p:nvSpPr>
          <p:spPr>
            <a:xfrm>
              <a:off x="2194658"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79" name="Freeform 378">
              <a:extLst>
                <a:ext uri="{FF2B5EF4-FFF2-40B4-BE49-F238E27FC236}">
                  <a16:creationId xmlns:a16="http://schemas.microsoft.com/office/drawing/2014/main" id="{7EDA27CD-0AF6-1C26-ECD5-7F7A9452F57D}"/>
                </a:ext>
              </a:extLst>
            </p:cNvPr>
            <p:cNvSpPr/>
            <p:nvPr/>
          </p:nvSpPr>
          <p:spPr>
            <a:xfrm>
              <a:off x="2241892" y="1583816"/>
              <a:ext cx="39722" cy="63372"/>
            </a:xfrm>
            <a:custGeom>
              <a:avLst/>
              <a:gdLst>
                <a:gd name="connsiteX0" fmla="*/ 18079 w 39722"/>
                <a:gd name="connsiteY0" fmla="*/ 63373 h 63372"/>
                <a:gd name="connsiteX1" fmla="*/ 8403 w 39722"/>
                <a:gd name="connsiteY1" fmla="*/ 60833 h 63372"/>
                <a:gd name="connsiteX2" fmla="*/ 2164 w 39722"/>
                <a:gd name="connsiteY2" fmla="*/ 53086 h 63372"/>
                <a:gd name="connsiteX3" fmla="*/ 0 w 39722"/>
                <a:gd name="connsiteY3" fmla="*/ 39370 h 63372"/>
                <a:gd name="connsiteX4" fmla="*/ 2292 w 39722"/>
                <a:gd name="connsiteY4" fmla="*/ 26162 h 63372"/>
                <a:gd name="connsiteX5" fmla="*/ 8530 w 39722"/>
                <a:gd name="connsiteY5" fmla="*/ 18542 h 63372"/>
                <a:gd name="connsiteX6" fmla="*/ 17824 w 39722"/>
                <a:gd name="connsiteY6" fmla="*/ 16002 h 63372"/>
                <a:gd name="connsiteX7" fmla="*/ 23426 w 39722"/>
                <a:gd name="connsiteY7" fmla="*/ 16637 h 63372"/>
                <a:gd name="connsiteX8" fmla="*/ 28009 w 39722"/>
                <a:gd name="connsiteY8" fmla="*/ 18796 h 63372"/>
                <a:gd name="connsiteX9" fmla="*/ 31574 w 39722"/>
                <a:gd name="connsiteY9" fmla="*/ 22733 h 63372"/>
                <a:gd name="connsiteX10" fmla="*/ 32083 w 39722"/>
                <a:gd name="connsiteY10" fmla="*/ 22733 h 63372"/>
                <a:gd name="connsiteX11" fmla="*/ 32083 w 39722"/>
                <a:gd name="connsiteY11" fmla="*/ 0 h 63372"/>
                <a:gd name="connsiteX12" fmla="*/ 39722 w 39722"/>
                <a:gd name="connsiteY12" fmla="*/ 0 h 63372"/>
                <a:gd name="connsiteX13" fmla="*/ 39722 w 39722"/>
                <a:gd name="connsiteY13" fmla="*/ 62357 h 63372"/>
                <a:gd name="connsiteX14" fmla="*/ 33611 w 39722"/>
                <a:gd name="connsiteY14" fmla="*/ 62357 h 63372"/>
                <a:gd name="connsiteX15" fmla="*/ 32975 w 39722"/>
                <a:gd name="connsiteY15" fmla="*/ 55880 h 63372"/>
                <a:gd name="connsiteX16" fmla="*/ 32338 w 39722"/>
                <a:gd name="connsiteY16" fmla="*/ 55880 h 63372"/>
                <a:gd name="connsiteX17" fmla="*/ 26227 w 39722"/>
                <a:gd name="connsiteY17" fmla="*/ 61468 h 63372"/>
                <a:gd name="connsiteX18" fmla="*/ 18079 w 39722"/>
                <a:gd name="connsiteY18" fmla="*/ 63373 h 63372"/>
                <a:gd name="connsiteX19" fmla="*/ 19861 w 39722"/>
                <a:gd name="connsiteY19" fmla="*/ 56769 h 63372"/>
                <a:gd name="connsiteX20" fmla="*/ 26863 w 39722"/>
                <a:gd name="connsiteY20" fmla="*/ 54864 h 63372"/>
                <a:gd name="connsiteX21" fmla="*/ 30810 w 39722"/>
                <a:gd name="connsiteY21" fmla="*/ 49403 h 63372"/>
                <a:gd name="connsiteX22" fmla="*/ 32083 w 39722"/>
                <a:gd name="connsiteY22" fmla="*/ 40386 h 63372"/>
                <a:gd name="connsiteX23" fmla="*/ 32083 w 39722"/>
                <a:gd name="connsiteY23" fmla="*/ 38989 h 63372"/>
                <a:gd name="connsiteX24" fmla="*/ 31192 w 39722"/>
                <a:gd name="connsiteY24" fmla="*/ 31115 h 63372"/>
                <a:gd name="connsiteX25" fmla="*/ 28646 w 39722"/>
                <a:gd name="connsiteY25" fmla="*/ 26035 h 63372"/>
                <a:gd name="connsiteX26" fmla="*/ 24826 w 39722"/>
                <a:gd name="connsiteY26" fmla="*/ 23368 h 63372"/>
                <a:gd name="connsiteX27" fmla="*/ 20243 w 39722"/>
                <a:gd name="connsiteY27" fmla="*/ 22606 h 63372"/>
                <a:gd name="connsiteX28" fmla="*/ 13368 w 39722"/>
                <a:gd name="connsiteY28" fmla="*/ 24257 h 63372"/>
                <a:gd name="connsiteX29" fmla="*/ 9421 w 39722"/>
                <a:gd name="connsiteY29" fmla="*/ 29464 h 63372"/>
                <a:gd name="connsiteX30" fmla="*/ 8148 w 39722"/>
                <a:gd name="connsiteY30" fmla="*/ 38735 h 63372"/>
                <a:gd name="connsiteX31" fmla="*/ 8148 w 39722"/>
                <a:gd name="connsiteY31" fmla="*/ 40513 h 63372"/>
                <a:gd name="connsiteX32" fmla="*/ 9549 w 39722"/>
                <a:gd name="connsiteY32" fmla="*/ 49911 h 63372"/>
                <a:gd name="connsiteX33" fmla="*/ 13623 w 39722"/>
                <a:gd name="connsiteY33" fmla="*/ 54991 h 63372"/>
                <a:gd name="connsiteX34" fmla="*/ 20116 w 39722"/>
                <a:gd name="connsiteY34" fmla="*/ 56515 h 6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722" h="63372">
                  <a:moveTo>
                    <a:pt x="18079" y="63373"/>
                  </a:moveTo>
                  <a:cubicBezTo>
                    <a:pt x="14387" y="63373"/>
                    <a:pt x="11076" y="62484"/>
                    <a:pt x="8403" y="60833"/>
                  </a:cubicBezTo>
                  <a:cubicBezTo>
                    <a:pt x="5729" y="59182"/>
                    <a:pt x="3692" y="56515"/>
                    <a:pt x="2164" y="53086"/>
                  </a:cubicBezTo>
                  <a:cubicBezTo>
                    <a:pt x="637" y="49530"/>
                    <a:pt x="0" y="44958"/>
                    <a:pt x="0" y="39370"/>
                  </a:cubicBezTo>
                  <a:cubicBezTo>
                    <a:pt x="0" y="33782"/>
                    <a:pt x="764" y="29591"/>
                    <a:pt x="2292" y="26162"/>
                  </a:cubicBezTo>
                  <a:cubicBezTo>
                    <a:pt x="3819" y="22733"/>
                    <a:pt x="5857" y="20193"/>
                    <a:pt x="8530" y="18542"/>
                  </a:cubicBezTo>
                  <a:cubicBezTo>
                    <a:pt x="11204" y="16891"/>
                    <a:pt x="14259" y="16002"/>
                    <a:pt x="17824" y="16002"/>
                  </a:cubicBezTo>
                  <a:cubicBezTo>
                    <a:pt x="19861" y="16002"/>
                    <a:pt x="21771" y="16256"/>
                    <a:pt x="23426" y="16637"/>
                  </a:cubicBezTo>
                  <a:cubicBezTo>
                    <a:pt x="25208" y="17145"/>
                    <a:pt x="26736" y="17780"/>
                    <a:pt x="28009" y="18796"/>
                  </a:cubicBezTo>
                  <a:cubicBezTo>
                    <a:pt x="29410" y="19812"/>
                    <a:pt x="30556" y="21082"/>
                    <a:pt x="31574" y="22733"/>
                  </a:cubicBezTo>
                  <a:lnTo>
                    <a:pt x="32083" y="22733"/>
                  </a:lnTo>
                  <a:lnTo>
                    <a:pt x="32083" y="0"/>
                  </a:lnTo>
                  <a:lnTo>
                    <a:pt x="39722" y="0"/>
                  </a:lnTo>
                  <a:lnTo>
                    <a:pt x="39722" y="62357"/>
                  </a:lnTo>
                  <a:lnTo>
                    <a:pt x="33611" y="62357"/>
                  </a:lnTo>
                  <a:lnTo>
                    <a:pt x="32975" y="55880"/>
                  </a:lnTo>
                  <a:lnTo>
                    <a:pt x="32338" y="55880"/>
                  </a:lnTo>
                  <a:cubicBezTo>
                    <a:pt x="30810" y="58420"/>
                    <a:pt x="28773" y="60325"/>
                    <a:pt x="26227" y="61468"/>
                  </a:cubicBezTo>
                  <a:cubicBezTo>
                    <a:pt x="23808" y="62738"/>
                    <a:pt x="21007" y="63373"/>
                    <a:pt x="18079" y="63373"/>
                  </a:cubicBezTo>
                  <a:close/>
                  <a:moveTo>
                    <a:pt x="19861" y="56769"/>
                  </a:moveTo>
                  <a:cubicBezTo>
                    <a:pt x="22789" y="56769"/>
                    <a:pt x="25081" y="56134"/>
                    <a:pt x="26863" y="54864"/>
                  </a:cubicBezTo>
                  <a:cubicBezTo>
                    <a:pt x="28646" y="53594"/>
                    <a:pt x="29919" y="51816"/>
                    <a:pt x="30810" y="49403"/>
                  </a:cubicBezTo>
                  <a:cubicBezTo>
                    <a:pt x="31701" y="46990"/>
                    <a:pt x="32083" y="43942"/>
                    <a:pt x="32083" y="40386"/>
                  </a:cubicBezTo>
                  <a:lnTo>
                    <a:pt x="32083" y="38989"/>
                  </a:lnTo>
                  <a:cubicBezTo>
                    <a:pt x="32083" y="35941"/>
                    <a:pt x="31829" y="33274"/>
                    <a:pt x="31192" y="31115"/>
                  </a:cubicBezTo>
                  <a:cubicBezTo>
                    <a:pt x="30556" y="28956"/>
                    <a:pt x="29664" y="27305"/>
                    <a:pt x="28646" y="26035"/>
                  </a:cubicBezTo>
                  <a:cubicBezTo>
                    <a:pt x="27500" y="24765"/>
                    <a:pt x="26227" y="23876"/>
                    <a:pt x="24826" y="23368"/>
                  </a:cubicBezTo>
                  <a:cubicBezTo>
                    <a:pt x="23426" y="22860"/>
                    <a:pt x="21898" y="22606"/>
                    <a:pt x="20243" y="22606"/>
                  </a:cubicBezTo>
                  <a:cubicBezTo>
                    <a:pt x="17442" y="22606"/>
                    <a:pt x="15150" y="23114"/>
                    <a:pt x="13368" y="24257"/>
                  </a:cubicBezTo>
                  <a:cubicBezTo>
                    <a:pt x="11586" y="25400"/>
                    <a:pt x="10312" y="27178"/>
                    <a:pt x="9421" y="29464"/>
                  </a:cubicBezTo>
                  <a:cubicBezTo>
                    <a:pt x="8530" y="31750"/>
                    <a:pt x="8148" y="34925"/>
                    <a:pt x="8148" y="38735"/>
                  </a:cubicBezTo>
                  <a:lnTo>
                    <a:pt x="8148" y="40513"/>
                  </a:lnTo>
                  <a:cubicBezTo>
                    <a:pt x="8148" y="44450"/>
                    <a:pt x="8657" y="47625"/>
                    <a:pt x="9549" y="49911"/>
                  </a:cubicBezTo>
                  <a:cubicBezTo>
                    <a:pt x="10440" y="52324"/>
                    <a:pt x="11840" y="53975"/>
                    <a:pt x="13623" y="54991"/>
                  </a:cubicBezTo>
                  <a:cubicBezTo>
                    <a:pt x="15405" y="56007"/>
                    <a:pt x="17569" y="56515"/>
                    <a:pt x="20116" y="56515"/>
                  </a:cubicBezTo>
                  <a:close/>
                </a:path>
              </a:pathLst>
            </a:custGeom>
            <a:solidFill>
              <a:srgbClr val="1D4966"/>
            </a:solidFill>
            <a:ln w="0" cap="flat">
              <a:noFill/>
              <a:prstDash val="solid"/>
              <a:miter/>
            </a:ln>
          </p:spPr>
          <p:txBody>
            <a:bodyPr rtlCol="0" anchor="ctr"/>
            <a:lstStyle/>
            <a:p>
              <a:endParaRPr lang="en-AD" sz="2400"/>
            </a:p>
          </p:txBody>
        </p:sp>
        <p:sp>
          <p:nvSpPr>
            <p:cNvPr id="380" name="Freeform 379">
              <a:extLst>
                <a:ext uri="{FF2B5EF4-FFF2-40B4-BE49-F238E27FC236}">
                  <a16:creationId xmlns:a16="http://schemas.microsoft.com/office/drawing/2014/main" id="{E86C43EB-1958-B308-DB65-2614674A1CEB}"/>
                </a:ext>
              </a:extLst>
            </p:cNvPr>
            <p:cNvSpPr/>
            <p:nvPr/>
          </p:nvSpPr>
          <p:spPr>
            <a:xfrm>
              <a:off x="2292054"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81" name="Freeform 380">
              <a:extLst>
                <a:ext uri="{FF2B5EF4-FFF2-40B4-BE49-F238E27FC236}">
                  <a16:creationId xmlns:a16="http://schemas.microsoft.com/office/drawing/2014/main" id="{61319555-9221-89BA-3336-87AD6D743E81}"/>
                </a:ext>
              </a:extLst>
            </p:cNvPr>
            <p:cNvSpPr/>
            <p:nvPr/>
          </p:nvSpPr>
          <p:spPr>
            <a:xfrm>
              <a:off x="2337505"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5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5"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82" name="Freeform 381">
              <a:extLst>
                <a:ext uri="{FF2B5EF4-FFF2-40B4-BE49-F238E27FC236}">
                  <a16:creationId xmlns:a16="http://schemas.microsoft.com/office/drawing/2014/main" id="{77D144A4-73A8-DDD9-F380-7FDFECE78D92}"/>
                </a:ext>
              </a:extLst>
            </p:cNvPr>
            <p:cNvSpPr/>
            <p:nvPr/>
          </p:nvSpPr>
          <p:spPr>
            <a:xfrm>
              <a:off x="2382065"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80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4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6"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4"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83" name="Freeform 382">
              <a:extLst>
                <a:ext uri="{FF2B5EF4-FFF2-40B4-BE49-F238E27FC236}">
                  <a16:creationId xmlns:a16="http://schemas.microsoft.com/office/drawing/2014/main" id="{73433527-6623-D4CA-AC1F-00F1C3253865}"/>
                </a:ext>
              </a:extLst>
            </p:cNvPr>
            <p:cNvSpPr/>
            <p:nvPr/>
          </p:nvSpPr>
          <p:spPr>
            <a:xfrm>
              <a:off x="2447632"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2"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4" name="Freeform 383">
              <a:extLst>
                <a:ext uri="{FF2B5EF4-FFF2-40B4-BE49-F238E27FC236}">
                  <a16:creationId xmlns:a16="http://schemas.microsoft.com/office/drawing/2014/main" id="{EA3E412B-6044-00B9-2D7B-C07B0A050CDA}"/>
                </a:ext>
              </a:extLst>
            </p:cNvPr>
            <p:cNvSpPr/>
            <p:nvPr/>
          </p:nvSpPr>
          <p:spPr>
            <a:xfrm>
              <a:off x="2497157"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2" y="4445"/>
                    <a:pt x="11840" y="3302"/>
                  </a:cubicBezTo>
                  <a:cubicBezTo>
                    <a:pt x="13368" y="2159"/>
                    <a:pt x="15023" y="1270"/>
                    <a:pt x="16933" y="762"/>
                  </a:cubicBezTo>
                  <a:cubicBezTo>
                    <a:pt x="18842" y="254"/>
                    <a:pt x="20752" y="0"/>
                    <a:pt x="22917" y="0"/>
                  </a:cubicBezTo>
                  <a:cubicBezTo>
                    <a:pt x="25845" y="0"/>
                    <a:pt x="28264" y="508"/>
                    <a:pt x="30428" y="1524"/>
                  </a:cubicBezTo>
                  <a:cubicBezTo>
                    <a:pt x="32592"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5" name="Freeform 384">
              <a:extLst>
                <a:ext uri="{FF2B5EF4-FFF2-40B4-BE49-F238E27FC236}">
                  <a16:creationId xmlns:a16="http://schemas.microsoft.com/office/drawing/2014/main" id="{5756796B-01E3-6549-74D2-A05EF8EF5427}"/>
                </a:ext>
              </a:extLst>
            </p:cNvPr>
            <p:cNvSpPr/>
            <p:nvPr/>
          </p:nvSpPr>
          <p:spPr>
            <a:xfrm>
              <a:off x="254528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6" name="Freeform 385">
              <a:extLst>
                <a:ext uri="{FF2B5EF4-FFF2-40B4-BE49-F238E27FC236}">
                  <a16:creationId xmlns:a16="http://schemas.microsoft.com/office/drawing/2014/main" id="{DD6DE1EE-DD4D-0765-9097-19E339EB986D}"/>
                </a:ext>
              </a:extLst>
            </p:cNvPr>
            <p:cNvSpPr/>
            <p:nvPr/>
          </p:nvSpPr>
          <p:spPr>
            <a:xfrm>
              <a:off x="2563615" y="1599946"/>
              <a:ext cx="62765" cy="46355"/>
            </a:xfrm>
            <a:custGeom>
              <a:avLst/>
              <a:gdLst>
                <a:gd name="connsiteX0" fmla="*/ 0 w 62765"/>
                <a:gd name="connsiteY0" fmla="*/ 46228 h 46355"/>
                <a:gd name="connsiteX1" fmla="*/ 0 w 62765"/>
                <a:gd name="connsiteY1" fmla="*/ 889 h 46355"/>
                <a:gd name="connsiteX2" fmla="*/ 6111 w 62765"/>
                <a:gd name="connsiteY2" fmla="*/ 889 h 46355"/>
                <a:gd name="connsiteX3" fmla="*/ 6748 w 62765"/>
                <a:gd name="connsiteY3" fmla="*/ 7747 h 46355"/>
                <a:gd name="connsiteX4" fmla="*/ 7384 w 62765"/>
                <a:gd name="connsiteY4" fmla="*/ 7747 h 46355"/>
                <a:gd name="connsiteX5" fmla="*/ 11331 w 62765"/>
                <a:gd name="connsiteY5" fmla="*/ 3302 h 46355"/>
                <a:gd name="connsiteX6" fmla="*/ 16042 w 62765"/>
                <a:gd name="connsiteY6" fmla="*/ 762 h 46355"/>
                <a:gd name="connsiteX7" fmla="*/ 21643 w 62765"/>
                <a:gd name="connsiteY7" fmla="*/ 0 h 46355"/>
                <a:gd name="connsiteX8" fmla="*/ 29282 w 62765"/>
                <a:gd name="connsiteY8" fmla="*/ 1778 h 46355"/>
                <a:gd name="connsiteX9" fmla="*/ 33993 w 62765"/>
                <a:gd name="connsiteY9" fmla="*/ 7874 h 46355"/>
                <a:gd name="connsiteX10" fmla="*/ 34502 w 62765"/>
                <a:gd name="connsiteY10" fmla="*/ 7874 h 46355"/>
                <a:gd name="connsiteX11" fmla="*/ 38322 w 62765"/>
                <a:gd name="connsiteY11" fmla="*/ 3429 h 46355"/>
                <a:gd name="connsiteX12" fmla="*/ 43160 w 62765"/>
                <a:gd name="connsiteY12" fmla="*/ 889 h 46355"/>
                <a:gd name="connsiteX13" fmla="*/ 48889 w 62765"/>
                <a:gd name="connsiteY13" fmla="*/ 0 h 46355"/>
                <a:gd name="connsiteX14" fmla="*/ 56146 w 62765"/>
                <a:gd name="connsiteY14" fmla="*/ 1397 h 46355"/>
                <a:gd name="connsiteX15" fmla="*/ 60983 w 62765"/>
                <a:gd name="connsiteY15" fmla="*/ 6096 h 46355"/>
                <a:gd name="connsiteX16" fmla="*/ 62766 w 62765"/>
                <a:gd name="connsiteY16" fmla="*/ 14732 h 46355"/>
                <a:gd name="connsiteX17" fmla="*/ 62766 w 62765"/>
                <a:gd name="connsiteY17" fmla="*/ 46355 h 46355"/>
                <a:gd name="connsiteX18" fmla="*/ 55127 w 62765"/>
                <a:gd name="connsiteY18" fmla="*/ 46355 h 46355"/>
                <a:gd name="connsiteX19" fmla="*/ 55127 w 62765"/>
                <a:gd name="connsiteY19" fmla="*/ 15875 h 46355"/>
                <a:gd name="connsiteX20" fmla="*/ 54491 w 62765"/>
                <a:gd name="connsiteY20" fmla="*/ 11303 h 46355"/>
                <a:gd name="connsiteX21" fmla="*/ 52581 w 62765"/>
                <a:gd name="connsiteY21" fmla="*/ 8509 h 46355"/>
                <a:gd name="connsiteX22" fmla="*/ 49780 w 62765"/>
                <a:gd name="connsiteY22" fmla="*/ 7112 h 46355"/>
                <a:gd name="connsiteX23" fmla="*/ 46342 w 62765"/>
                <a:gd name="connsiteY23" fmla="*/ 6731 h 46355"/>
                <a:gd name="connsiteX24" fmla="*/ 40741 w 62765"/>
                <a:gd name="connsiteY24" fmla="*/ 8255 h 46355"/>
                <a:gd name="connsiteX25" fmla="*/ 36667 w 62765"/>
                <a:gd name="connsiteY25" fmla="*/ 12700 h 46355"/>
                <a:gd name="connsiteX26" fmla="*/ 35139 w 62765"/>
                <a:gd name="connsiteY26" fmla="*/ 19685 h 46355"/>
                <a:gd name="connsiteX27" fmla="*/ 35139 w 62765"/>
                <a:gd name="connsiteY27" fmla="*/ 46355 h 46355"/>
                <a:gd name="connsiteX28" fmla="*/ 27500 w 62765"/>
                <a:gd name="connsiteY28" fmla="*/ 46355 h 46355"/>
                <a:gd name="connsiteX29" fmla="*/ 27500 w 62765"/>
                <a:gd name="connsiteY29" fmla="*/ 15875 h 46355"/>
                <a:gd name="connsiteX30" fmla="*/ 26863 w 62765"/>
                <a:gd name="connsiteY30" fmla="*/ 11303 h 46355"/>
                <a:gd name="connsiteX31" fmla="*/ 25081 w 62765"/>
                <a:gd name="connsiteY31" fmla="*/ 8509 h 46355"/>
                <a:gd name="connsiteX32" fmla="*/ 22407 w 62765"/>
                <a:gd name="connsiteY32" fmla="*/ 7112 h 46355"/>
                <a:gd name="connsiteX33" fmla="*/ 19097 w 62765"/>
                <a:gd name="connsiteY33" fmla="*/ 6731 h 46355"/>
                <a:gd name="connsiteX34" fmla="*/ 13368 w 62765"/>
                <a:gd name="connsiteY34" fmla="*/ 8255 h 46355"/>
                <a:gd name="connsiteX35" fmla="*/ 9167 w 62765"/>
                <a:gd name="connsiteY35" fmla="*/ 12700 h 46355"/>
                <a:gd name="connsiteX36" fmla="*/ 7639 w 62765"/>
                <a:gd name="connsiteY36" fmla="*/ 19685 h 46355"/>
                <a:gd name="connsiteX37" fmla="*/ 7639 w 62765"/>
                <a:gd name="connsiteY37" fmla="*/ 46355 h 46355"/>
                <a:gd name="connsiteX38" fmla="*/ 0 w 62765"/>
                <a:gd name="connsiteY38"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765" h="46355">
                  <a:moveTo>
                    <a:pt x="0" y="46228"/>
                  </a:moveTo>
                  <a:lnTo>
                    <a:pt x="0" y="889"/>
                  </a:lnTo>
                  <a:lnTo>
                    <a:pt x="6111" y="889"/>
                  </a:lnTo>
                  <a:lnTo>
                    <a:pt x="6748" y="7747"/>
                  </a:lnTo>
                  <a:lnTo>
                    <a:pt x="7384" y="7747"/>
                  </a:lnTo>
                  <a:cubicBezTo>
                    <a:pt x="8530" y="5969"/>
                    <a:pt x="9803" y="4445"/>
                    <a:pt x="11331" y="3302"/>
                  </a:cubicBezTo>
                  <a:cubicBezTo>
                    <a:pt x="12731" y="2159"/>
                    <a:pt x="14387" y="1270"/>
                    <a:pt x="16042" y="762"/>
                  </a:cubicBezTo>
                  <a:cubicBezTo>
                    <a:pt x="17824" y="254"/>
                    <a:pt x="19606" y="0"/>
                    <a:pt x="21643" y="0"/>
                  </a:cubicBezTo>
                  <a:cubicBezTo>
                    <a:pt x="24572" y="0"/>
                    <a:pt x="27118" y="635"/>
                    <a:pt x="29282" y="1778"/>
                  </a:cubicBezTo>
                  <a:cubicBezTo>
                    <a:pt x="31447" y="2921"/>
                    <a:pt x="32974" y="4953"/>
                    <a:pt x="33993" y="7874"/>
                  </a:cubicBezTo>
                  <a:lnTo>
                    <a:pt x="34502" y="7874"/>
                  </a:lnTo>
                  <a:cubicBezTo>
                    <a:pt x="35648" y="6096"/>
                    <a:pt x="36921" y="4572"/>
                    <a:pt x="38322" y="3429"/>
                  </a:cubicBezTo>
                  <a:cubicBezTo>
                    <a:pt x="39722" y="2286"/>
                    <a:pt x="41377" y="1524"/>
                    <a:pt x="43160" y="889"/>
                  </a:cubicBezTo>
                  <a:cubicBezTo>
                    <a:pt x="44942" y="254"/>
                    <a:pt x="46852" y="0"/>
                    <a:pt x="48889" y="0"/>
                  </a:cubicBezTo>
                  <a:cubicBezTo>
                    <a:pt x="51690" y="0"/>
                    <a:pt x="54109" y="508"/>
                    <a:pt x="56146" y="1397"/>
                  </a:cubicBezTo>
                  <a:cubicBezTo>
                    <a:pt x="58183" y="2286"/>
                    <a:pt x="59838" y="3937"/>
                    <a:pt x="60983" y="6096"/>
                  </a:cubicBezTo>
                  <a:cubicBezTo>
                    <a:pt x="62129" y="8255"/>
                    <a:pt x="62766" y="11176"/>
                    <a:pt x="62766" y="14732"/>
                  </a:cubicBezTo>
                  <a:lnTo>
                    <a:pt x="62766" y="46355"/>
                  </a:lnTo>
                  <a:lnTo>
                    <a:pt x="55127" y="46355"/>
                  </a:lnTo>
                  <a:lnTo>
                    <a:pt x="55127" y="15875"/>
                  </a:lnTo>
                  <a:cubicBezTo>
                    <a:pt x="55127" y="14097"/>
                    <a:pt x="54872" y="12573"/>
                    <a:pt x="54491" y="11303"/>
                  </a:cubicBezTo>
                  <a:cubicBezTo>
                    <a:pt x="54109" y="10033"/>
                    <a:pt x="53472" y="9144"/>
                    <a:pt x="52581" y="8509"/>
                  </a:cubicBezTo>
                  <a:cubicBezTo>
                    <a:pt x="51817" y="7874"/>
                    <a:pt x="50799" y="7366"/>
                    <a:pt x="49780" y="7112"/>
                  </a:cubicBezTo>
                  <a:cubicBezTo>
                    <a:pt x="48761" y="6858"/>
                    <a:pt x="47616" y="6731"/>
                    <a:pt x="46342" y="6731"/>
                  </a:cubicBezTo>
                  <a:cubicBezTo>
                    <a:pt x="44305" y="6731"/>
                    <a:pt x="42523" y="7239"/>
                    <a:pt x="40741" y="8255"/>
                  </a:cubicBezTo>
                  <a:cubicBezTo>
                    <a:pt x="39086" y="9271"/>
                    <a:pt x="37685" y="10795"/>
                    <a:pt x="36667" y="12700"/>
                  </a:cubicBezTo>
                  <a:cubicBezTo>
                    <a:pt x="35648" y="14605"/>
                    <a:pt x="35139" y="17018"/>
                    <a:pt x="35139" y="19685"/>
                  </a:cubicBezTo>
                  <a:lnTo>
                    <a:pt x="35139" y="46355"/>
                  </a:lnTo>
                  <a:lnTo>
                    <a:pt x="27500" y="46355"/>
                  </a:lnTo>
                  <a:lnTo>
                    <a:pt x="27500" y="15875"/>
                  </a:lnTo>
                  <a:cubicBezTo>
                    <a:pt x="27500" y="14097"/>
                    <a:pt x="27245" y="12573"/>
                    <a:pt x="26863" y="11303"/>
                  </a:cubicBezTo>
                  <a:cubicBezTo>
                    <a:pt x="26354" y="10033"/>
                    <a:pt x="25845" y="9144"/>
                    <a:pt x="25081" y="8509"/>
                  </a:cubicBezTo>
                  <a:cubicBezTo>
                    <a:pt x="24317" y="7874"/>
                    <a:pt x="23426" y="7366"/>
                    <a:pt x="22407" y="7112"/>
                  </a:cubicBezTo>
                  <a:cubicBezTo>
                    <a:pt x="21389" y="6858"/>
                    <a:pt x="20243" y="6731"/>
                    <a:pt x="19097" y="6731"/>
                  </a:cubicBezTo>
                  <a:cubicBezTo>
                    <a:pt x="17060" y="6731"/>
                    <a:pt x="15150" y="7239"/>
                    <a:pt x="13368" y="8255"/>
                  </a:cubicBezTo>
                  <a:cubicBezTo>
                    <a:pt x="11586" y="9271"/>
                    <a:pt x="10185" y="10795"/>
                    <a:pt x="9167"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87" name="Freeform 386">
              <a:extLst>
                <a:ext uri="{FF2B5EF4-FFF2-40B4-BE49-F238E27FC236}">
                  <a16:creationId xmlns:a16="http://schemas.microsoft.com/office/drawing/2014/main" id="{9ED7E566-E9AF-76D6-99A4-90E3AA4D9EA0}"/>
                </a:ext>
              </a:extLst>
            </p:cNvPr>
            <p:cNvSpPr/>
            <p:nvPr/>
          </p:nvSpPr>
          <p:spPr>
            <a:xfrm>
              <a:off x="2634148"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9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5 w 43668"/>
                <a:gd name="connsiteY17" fmla="*/ 14478 h 47497"/>
                <a:gd name="connsiteX18" fmla="*/ 2165 w 43668"/>
                <a:gd name="connsiteY18" fmla="*/ 13589 h 47497"/>
                <a:gd name="connsiteX19" fmla="*/ 2165 w 43668"/>
                <a:gd name="connsiteY19" fmla="*/ 12573 h 47497"/>
                <a:gd name="connsiteX20" fmla="*/ 4456 w 43668"/>
                <a:gd name="connsiteY20" fmla="*/ 5588 h 47497"/>
                <a:gd name="connsiteX21" fmla="*/ 10949 w 43668"/>
                <a:gd name="connsiteY21" fmla="*/ 1397 h 47497"/>
                <a:gd name="connsiteX22" fmla="*/ 20498 w 43668"/>
                <a:gd name="connsiteY22" fmla="*/ 0 h 47497"/>
                <a:gd name="connsiteX23" fmla="*/ 30046 w 43668"/>
                <a:gd name="connsiteY23" fmla="*/ 1651 h 47497"/>
                <a:gd name="connsiteX24" fmla="*/ 35776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9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9 w 43668"/>
                <a:gd name="connsiteY46" fmla="*/ 26035 h 47497"/>
                <a:gd name="connsiteX47" fmla="*/ 10567 w 43668"/>
                <a:gd name="connsiteY47" fmla="*/ 28829 h 47497"/>
                <a:gd name="connsiteX48" fmla="*/ 7894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5" y="42672"/>
                    <a:pt x="1273" y="41021"/>
                  </a:cubicBezTo>
                  <a:cubicBezTo>
                    <a:pt x="382" y="39370"/>
                    <a:pt x="0" y="37338"/>
                    <a:pt x="0" y="34798"/>
                  </a:cubicBezTo>
                  <a:cubicBezTo>
                    <a:pt x="0" y="31750"/>
                    <a:pt x="764" y="29083"/>
                    <a:pt x="2292" y="27178"/>
                  </a:cubicBezTo>
                  <a:cubicBezTo>
                    <a:pt x="3819" y="25146"/>
                    <a:pt x="5857" y="23622"/>
                    <a:pt x="8530" y="22479"/>
                  </a:cubicBezTo>
                  <a:cubicBezTo>
                    <a:pt x="11204" y="21336"/>
                    <a:pt x="14387" y="20574"/>
                    <a:pt x="18079" y="20193"/>
                  </a:cubicBezTo>
                  <a:cubicBezTo>
                    <a:pt x="21771" y="19812"/>
                    <a:pt x="25718"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5" y="14478"/>
                  </a:lnTo>
                  <a:cubicBezTo>
                    <a:pt x="2165" y="14478"/>
                    <a:pt x="2165" y="13843"/>
                    <a:pt x="2165" y="13589"/>
                  </a:cubicBezTo>
                  <a:lnTo>
                    <a:pt x="2165" y="12573"/>
                  </a:lnTo>
                  <a:cubicBezTo>
                    <a:pt x="2165" y="9779"/>
                    <a:pt x="2928" y="7493"/>
                    <a:pt x="4456" y="5588"/>
                  </a:cubicBezTo>
                  <a:cubicBezTo>
                    <a:pt x="5984" y="3683"/>
                    <a:pt x="8148" y="2286"/>
                    <a:pt x="10949" y="1397"/>
                  </a:cubicBezTo>
                  <a:cubicBezTo>
                    <a:pt x="13750" y="508"/>
                    <a:pt x="16933" y="0"/>
                    <a:pt x="20498" y="0"/>
                  </a:cubicBezTo>
                  <a:cubicBezTo>
                    <a:pt x="24317" y="0"/>
                    <a:pt x="27500" y="508"/>
                    <a:pt x="30046" y="1651"/>
                  </a:cubicBezTo>
                  <a:cubicBezTo>
                    <a:pt x="32593" y="2794"/>
                    <a:pt x="34502" y="4318"/>
                    <a:pt x="35776" y="6350"/>
                  </a:cubicBezTo>
                  <a:cubicBezTo>
                    <a:pt x="37049" y="8382"/>
                    <a:pt x="37685" y="10795"/>
                    <a:pt x="37685" y="13589"/>
                  </a:cubicBezTo>
                  <a:lnTo>
                    <a:pt x="37685" y="38100"/>
                  </a:lnTo>
                  <a:cubicBezTo>
                    <a:pt x="37685" y="39243"/>
                    <a:pt x="37940" y="40005"/>
                    <a:pt x="38449" y="40386"/>
                  </a:cubicBezTo>
                  <a:cubicBezTo>
                    <a:pt x="38958" y="40767"/>
                    <a:pt x="39595" y="41021"/>
                    <a:pt x="40359"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5" y="45720"/>
                    <a:pt x="32211" y="44958"/>
                    <a:pt x="31701" y="43815"/>
                  </a:cubicBezTo>
                  <a:cubicBezTo>
                    <a:pt x="31192" y="42799"/>
                    <a:pt x="30810" y="41529"/>
                    <a:pt x="30683" y="40259"/>
                  </a:cubicBezTo>
                  <a:lnTo>
                    <a:pt x="30046" y="40259"/>
                  </a:lnTo>
                  <a:cubicBezTo>
                    <a:pt x="29028" y="41656"/>
                    <a:pt x="27755" y="42926"/>
                    <a:pt x="26099" y="44069"/>
                  </a:cubicBezTo>
                  <a:cubicBezTo>
                    <a:pt x="24572" y="45085"/>
                    <a:pt x="22789" y="45974"/>
                    <a:pt x="20752" y="46482"/>
                  </a:cubicBezTo>
                  <a:cubicBezTo>
                    <a:pt x="18843" y="47117"/>
                    <a:pt x="16678" y="47371"/>
                    <a:pt x="14387" y="47371"/>
                  </a:cubicBezTo>
                  <a:close/>
                  <a:moveTo>
                    <a:pt x="16296" y="41148"/>
                  </a:moveTo>
                  <a:cubicBezTo>
                    <a:pt x="18079" y="41148"/>
                    <a:pt x="19861" y="40894"/>
                    <a:pt x="21516" y="40259"/>
                  </a:cubicBezTo>
                  <a:cubicBezTo>
                    <a:pt x="23171" y="39624"/>
                    <a:pt x="24572" y="38862"/>
                    <a:pt x="25845" y="37846"/>
                  </a:cubicBezTo>
                  <a:cubicBezTo>
                    <a:pt x="27118" y="36830"/>
                    <a:pt x="28137" y="35560"/>
                    <a:pt x="28900" y="34036"/>
                  </a:cubicBezTo>
                  <a:cubicBezTo>
                    <a:pt x="29664" y="32512"/>
                    <a:pt x="30046" y="30861"/>
                    <a:pt x="30046" y="29083"/>
                  </a:cubicBezTo>
                  <a:lnTo>
                    <a:pt x="30046" y="25273"/>
                  </a:lnTo>
                  <a:cubicBezTo>
                    <a:pt x="25336" y="25273"/>
                    <a:pt x="21389" y="25527"/>
                    <a:pt x="18079" y="26035"/>
                  </a:cubicBezTo>
                  <a:cubicBezTo>
                    <a:pt x="14769" y="26543"/>
                    <a:pt x="12222" y="27432"/>
                    <a:pt x="10567" y="28829"/>
                  </a:cubicBezTo>
                  <a:cubicBezTo>
                    <a:pt x="8785" y="30099"/>
                    <a:pt x="7894" y="32004"/>
                    <a:pt x="7894" y="34417"/>
                  </a:cubicBezTo>
                  <a:cubicBezTo>
                    <a:pt x="7894" y="35941"/>
                    <a:pt x="8276" y="37211"/>
                    <a:pt x="8912" y="38227"/>
                  </a:cubicBezTo>
                  <a:cubicBezTo>
                    <a:pt x="9549" y="39243"/>
                    <a:pt x="10567" y="39878"/>
                    <a:pt x="11840" y="40386"/>
                  </a:cubicBezTo>
                  <a:cubicBezTo>
                    <a:pt x="13114"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388" name="Freeform 387">
              <a:extLst>
                <a:ext uri="{FF2B5EF4-FFF2-40B4-BE49-F238E27FC236}">
                  <a16:creationId xmlns:a16="http://schemas.microsoft.com/office/drawing/2014/main" id="{AD7C37F6-19D1-C740-2512-D0256FA885CF}"/>
                </a:ext>
              </a:extLst>
            </p:cNvPr>
            <p:cNvSpPr/>
            <p:nvPr/>
          </p:nvSpPr>
          <p:spPr>
            <a:xfrm>
              <a:off x="2684182"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89" name="Freeform 388">
              <a:extLst>
                <a:ext uri="{FF2B5EF4-FFF2-40B4-BE49-F238E27FC236}">
                  <a16:creationId xmlns:a16="http://schemas.microsoft.com/office/drawing/2014/main" id="{AA1FF330-6542-3614-6E25-88024021A593}"/>
                </a:ext>
              </a:extLst>
            </p:cNvPr>
            <p:cNvSpPr/>
            <p:nvPr/>
          </p:nvSpPr>
          <p:spPr>
            <a:xfrm>
              <a:off x="2721740" y="1600835"/>
              <a:ext cx="37303" cy="46354"/>
            </a:xfrm>
            <a:custGeom>
              <a:avLst/>
              <a:gdLst>
                <a:gd name="connsiteX0" fmla="*/ 14514 w 37303"/>
                <a:gd name="connsiteY0" fmla="*/ 46355 h 46354"/>
                <a:gd name="connsiteX1" fmla="*/ 3947 w 37303"/>
                <a:gd name="connsiteY1" fmla="*/ 43053 h 46354"/>
                <a:gd name="connsiteX2" fmla="*/ 0 w 37303"/>
                <a:gd name="connsiteY2" fmla="*/ 31369 h 46354"/>
                <a:gd name="connsiteX3" fmla="*/ 0 w 37303"/>
                <a:gd name="connsiteY3" fmla="*/ 127 h 46354"/>
                <a:gd name="connsiteX4" fmla="*/ 7639 w 37303"/>
                <a:gd name="connsiteY4" fmla="*/ 127 h 46354"/>
                <a:gd name="connsiteX5" fmla="*/ 7639 w 37303"/>
                <a:gd name="connsiteY5" fmla="*/ 30353 h 46354"/>
                <a:gd name="connsiteX6" fmla="*/ 8276 w 37303"/>
                <a:gd name="connsiteY6" fmla="*/ 35052 h 46354"/>
                <a:gd name="connsiteX7" fmla="*/ 10312 w 37303"/>
                <a:gd name="connsiteY7" fmla="*/ 37846 h 46354"/>
                <a:gd name="connsiteX8" fmla="*/ 13368 w 37303"/>
                <a:gd name="connsiteY8" fmla="*/ 39370 h 46354"/>
                <a:gd name="connsiteX9" fmla="*/ 17188 w 37303"/>
                <a:gd name="connsiteY9" fmla="*/ 39751 h 46354"/>
                <a:gd name="connsiteX10" fmla="*/ 23299 w 37303"/>
                <a:gd name="connsiteY10" fmla="*/ 38227 h 46354"/>
                <a:gd name="connsiteX11" fmla="*/ 27882 w 37303"/>
                <a:gd name="connsiteY11" fmla="*/ 33655 h 46354"/>
                <a:gd name="connsiteX12" fmla="*/ 29664 w 37303"/>
                <a:gd name="connsiteY12" fmla="*/ 26670 h 46354"/>
                <a:gd name="connsiteX13" fmla="*/ 29664 w 37303"/>
                <a:gd name="connsiteY13" fmla="*/ 0 h 46354"/>
                <a:gd name="connsiteX14" fmla="*/ 37303 w 37303"/>
                <a:gd name="connsiteY14" fmla="*/ 0 h 46354"/>
                <a:gd name="connsiteX15" fmla="*/ 37303 w 37303"/>
                <a:gd name="connsiteY15" fmla="*/ 45339 h 46354"/>
                <a:gd name="connsiteX16" fmla="*/ 31192 w 37303"/>
                <a:gd name="connsiteY16" fmla="*/ 45339 h 46354"/>
                <a:gd name="connsiteX17" fmla="*/ 30556 w 37303"/>
                <a:gd name="connsiteY17" fmla="*/ 38481 h 46354"/>
                <a:gd name="connsiteX18" fmla="*/ 29919 w 37303"/>
                <a:gd name="connsiteY18" fmla="*/ 38481 h 46354"/>
                <a:gd name="connsiteX19" fmla="*/ 25845 w 37303"/>
                <a:gd name="connsiteY19" fmla="*/ 42926 h 46354"/>
                <a:gd name="connsiteX20" fmla="*/ 20752 w 37303"/>
                <a:gd name="connsiteY20" fmla="*/ 45466 h 46354"/>
                <a:gd name="connsiteX21" fmla="*/ 14769 w 37303"/>
                <a:gd name="connsiteY21" fmla="*/ 46228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303" h="46354">
                  <a:moveTo>
                    <a:pt x="14514" y="46355"/>
                  </a:moveTo>
                  <a:cubicBezTo>
                    <a:pt x="10185" y="46355"/>
                    <a:pt x="6620" y="45212"/>
                    <a:pt x="3947" y="43053"/>
                  </a:cubicBezTo>
                  <a:cubicBezTo>
                    <a:pt x="1273" y="40767"/>
                    <a:pt x="0" y="36957"/>
                    <a:pt x="0" y="31369"/>
                  </a:cubicBezTo>
                  <a:lnTo>
                    <a:pt x="0" y="127"/>
                  </a:lnTo>
                  <a:lnTo>
                    <a:pt x="7639" y="127"/>
                  </a:lnTo>
                  <a:lnTo>
                    <a:pt x="7639" y="30353"/>
                  </a:lnTo>
                  <a:cubicBezTo>
                    <a:pt x="7639" y="32258"/>
                    <a:pt x="7893" y="33782"/>
                    <a:pt x="8276" y="35052"/>
                  </a:cubicBezTo>
                  <a:cubicBezTo>
                    <a:pt x="8785" y="36322"/>
                    <a:pt x="9421" y="37211"/>
                    <a:pt x="10312" y="37846"/>
                  </a:cubicBezTo>
                  <a:cubicBezTo>
                    <a:pt x="11204" y="38481"/>
                    <a:pt x="12222" y="38989"/>
                    <a:pt x="13368" y="39370"/>
                  </a:cubicBezTo>
                  <a:cubicBezTo>
                    <a:pt x="14514" y="39624"/>
                    <a:pt x="15787" y="39751"/>
                    <a:pt x="17188" y="39751"/>
                  </a:cubicBezTo>
                  <a:cubicBezTo>
                    <a:pt x="19352" y="39751"/>
                    <a:pt x="21389" y="39243"/>
                    <a:pt x="23299" y="38227"/>
                  </a:cubicBezTo>
                  <a:cubicBezTo>
                    <a:pt x="25081" y="37211"/>
                    <a:pt x="26609" y="35687"/>
                    <a:pt x="27882" y="33655"/>
                  </a:cubicBezTo>
                  <a:cubicBezTo>
                    <a:pt x="29028" y="31623"/>
                    <a:pt x="29664" y="29337"/>
                    <a:pt x="29664" y="26670"/>
                  </a:cubicBezTo>
                  <a:lnTo>
                    <a:pt x="29664" y="0"/>
                  </a:lnTo>
                  <a:lnTo>
                    <a:pt x="37303" y="0"/>
                  </a:lnTo>
                  <a:lnTo>
                    <a:pt x="37303" y="45339"/>
                  </a:lnTo>
                  <a:lnTo>
                    <a:pt x="31192" y="45339"/>
                  </a:lnTo>
                  <a:lnTo>
                    <a:pt x="30556" y="38481"/>
                  </a:lnTo>
                  <a:lnTo>
                    <a:pt x="29919" y="38481"/>
                  </a:lnTo>
                  <a:cubicBezTo>
                    <a:pt x="28646" y="40259"/>
                    <a:pt x="27373" y="41783"/>
                    <a:pt x="25845" y="42926"/>
                  </a:cubicBezTo>
                  <a:cubicBezTo>
                    <a:pt x="24317" y="44069"/>
                    <a:pt x="22662" y="44958"/>
                    <a:pt x="20752" y="45466"/>
                  </a:cubicBezTo>
                  <a:cubicBezTo>
                    <a:pt x="18842" y="45974"/>
                    <a:pt x="16933" y="46228"/>
                    <a:pt x="14769" y="46228"/>
                  </a:cubicBezTo>
                  <a:close/>
                </a:path>
              </a:pathLst>
            </a:custGeom>
            <a:solidFill>
              <a:srgbClr val="1D4966"/>
            </a:solidFill>
            <a:ln w="0" cap="flat">
              <a:noFill/>
              <a:prstDash val="solid"/>
              <a:miter/>
            </a:ln>
          </p:spPr>
          <p:txBody>
            <a:bodyPr rtlCol="0" anchor="ctr"/>
            <a:lstStyle/>
            <a:p>
              <a:endParaRPr lang="en-AD" sz="2400"/>
            </a:p>
          </p:txBody>
        </p:sp>
        <p:sp>
          <p:nvSpPr>
            <p:cNvPr id="390" name="Freeform 389">
              <a:extLst>
                <a:ext uri="{FF2B5EF4-FFF2-40B4-BE49-F238E27FC236}">
                  <a16:creationId xmlns:a16="http://schemas.microsoft.com/office/drawing/2014/main" id="{9FB48D22-1273-354A-2F3A-5FEE0CB671F3}"/>
                </a:ext>
              </a:extLst>
            </p:cNvPr>
            <p:cNvSpPr/>
            <p:nvPr/>
          </p:nvSpPr>
          <p:spPr>
            <a:xfrm>
              <a:off x="2766682" y="1599946"/>
              <a:ext cx="37557" cy="47624"/>
            </a:xfrm>
            <a:custGeom>
              <a:avLst/>
              <a:gdLst>
                <a:gd name="connsiteX0" fmla="*/ 18842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4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2" y="47244"/>
                  </a:moveTo>
                  <a:cubicBezTo>
                    <a:pt x="15787" y="47244"/>
                    <a:pt x="12986" y="46990"/>
                    <a:pt x="10694" y="46355"/>
                  </a:cubicBezTo>
                  <a:cubicBezTo>
                    <a:pt x="8276" y="45720"/>
                    <a:pt x="6366" y="44831"/>
                    <a:pt x="4838" y="43561"/>
                  </a:cubicBezTo>
                  <a:cubicBezTo>
                    <a:pt x="3310" y="42291"/>
                    <a:pt x="2164"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1"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4" y="18034"/>
                  </a:cubicBezTo>
                  <a:cubicBezTo>
                    <a:pt x="1782" y="16510"/>
                    <a:pt x="1273" y="14732"/>
                    <a:pt x="1273" y="12446"/>
                  </a:cubicBezTo>
                  <a:cubicBezTo>
                    <a:pt x="1273" y="10414"/>
                    <a:pt x="1655" y="8636"/>
                    <a:pt x="2546" y="7112"/>
                  </a:cubicBezTo>
                  <a:cubicBezTo>
                    <a:pt x="3438" y="5588"/>
                    <a:pt x="4583" y="4191"/>
                    <a:pt x="6111" y="3175"/>
                  </a:cubicBezTo>
                  <a:cubicBezTo>
                    <a:pt x="7639" y="2032"/>
                    <a:pt x="9549" y="1270"/>
                    <a:pt x="11713" y="762"/>
                  </a:cubicBezTo>
                  <a:cubicBezTo>
                    <a:pt x="13877" y="254"/>
                    <a:pt x="16424" y="0"/>
                    <a:pt x="19097" y="0"/>
                  </a:cubicBezTo>
                  <a:cubicBezTo>
                    <a:pt x="22025" y="0"/>
                    <a:pt x="24444" y="254"/>
                    <a:pt x="26609" y="889"/>
                  </a:cubicBezTo>
                  <a:cubicBezTo>
                    <a:pt x="28773" y="1524"/>
                    <a:pt x="30556"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7"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6"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391" name="Freeform 390">
              <a:extLst>
                <a:ext uri="{FF2B5EF4-FFF2-40B4-BE49-F238E27FC236}">
                  <a16:creationId xmlns:a16="http://schemas.microsoft.com/office/drawing/2014/main" id="{D818929D-60B3-9670-13AA-759B7676CFE0}"/>
                </a:ext>
              </a:extLst>
            </p:cNvPr>
            <p:cNvSpPr/>
            <p:nvPr/>
          </p:nvSpPr>
          <p:spPr>
            <a:xfrm>
              <a:off x="2810478" y="1599819"/>
              <a:ext cx="40486" cy="47370"/>
            </a:xfrm>
            <a:custGeom>
              <a:avLst/>
              <a:gdLst>
                <a:gd name="connsiteX0" fmla="*/ 20752 w 40486"/>
                <a:gd name="connsiteY0" fmla="*/ 47371 h 47370"/>
                <a:gd name="connsiteX1" fmla="*/ 9421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1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1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0 w 40486"/>
                <a:gd name="connsiteY22" fmla="*/ 46101 h 47370"/>
                <a:gd name="connsiteX23" fmla="*/ 20625 w 40486"/>
                <a:gd name="connsiteY23" fmla="*/ 47371 h 47370"/>
                <a:gd name="connsiteX24" fmla="*/ 8021 w 40486"/>
                <a:gd name="connsiteY24" fmla="*/ 19939 h 47370"/>
                <a:gd name="connsiteX25" fmla="*/ 32592 w 40486"/>
                <a:gd name="connsiteY25" fmla="*/ 19939 h 47370"/>
                <a:gd name="connsiteX26" fmla="*/ 31701 w 40486"/>
                <a:gd name="connsiteY26" fmla="*/ 13589 h 47370"/>
                <a:gd name="connsiteX27" fmla="*/ 29282 w 40486"/>
                <a:gd name="connsiteY27" fmla="*/ 9398 h 47370"/>
                <a:gd name="connsiteX28" fmla="*/ 25590 w 40486"/>
                <a:gd name="connsiteY28" fmla="*/ 6985 h 47370"/>
                <a:gd name="connsiteX29" fmla="*/ 20752 w 40486"/>
                <a:gd name="connsiteY29" fmla="*/ 6223 h 47370"/>
                <a:gd name="connsiteX30" fmla="*/ 14005 w 40486"/>
                <a:gd name="connsiteY30" fmla="*/ 7747 h 47370"/>
                <a:gd name="connsiteX31" fmla="*/ 9803 w 40486"/>
                <a:gd name="connsiteY31" fmla="*/ 12192 h 47370"/>
                <a:gd name="connsiteX32" fmla="*/ 8021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3"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9"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392" name="Freeform 391">
              <a:extLst>
                <a:ext uri="{FF2B5EF4-FFF2-40B4-BE49-F238E27FC236}">
                  <a16:creationId xmlns:a16="http://schemas.microsoft.com/office/drawing/2014/main" id="{7860F635-8813-C853-8BBF-A4E1FC9338CB}"/>
                </a:ext>
              </a:extLst>
            </p:cNvPr>
            <p:cNvSpPr/>
            <p:nvPr/>
          </p:nvSpPr>
          <p:spPr>
            <a:xfrm>
              <a:off x="2878973"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3" name="Freeform 392">
              <a:extLst>
                <a:ext uri="{FF2B5EF4-FFF2-40B4-BE49-F238E27FC236}">
                  <a16:creationId xmlns:a16="http://schemas.microsoft.com/office/drawing/2014/main" id="{E0ECC5A3-B13F-ADCF-8CAD-80D027FEE53B}"/>
                </a:ext>
              </a:extLst>
            </p:cNvPr>
            <p:cNvSpPr/>
            <p:nvPr/>
          </p:nvSpPr>
          <p:spPr>
            <a:xfrm>
              <a:off x="2896924" y="1599946"/>
              <a:ext cx="37430" cy="46355"/>
            </a:xfrm>
            <a:custGeom>
              <a:avLst/>
              <a:gdLst>
                <a:gd name="connsiteX0" fmla="*/ 382 w 37430"/>
                <a:gd name="connsiteY0" fmla="*/ 46228 h 46355"/>
                <a:gd name="connsiteX1" fmla="*/ 382 w 37430"/>
                <a:gd name="connsiteY1" fmla="*/ 889 h 46355"/>
                <a:gd name="connsiteX2" fmla="*/ 6493 w 37430"/>
                <a:gd name="connsiteY2" fmla="*/ 889 h 46355"/>
                <a:gd name="connsiteX3" fmla="*/ 7130 w 37430"/>
                <a:gd name="connsiteY3" fmla="*/ 7747 h 46355"/>
                <a:gd name="connsiteX4" fmla="*/ 7766 w 37430"/>
                <a:gd name="connsiteY4" fmla="*/ 7747 h 46355"/>
                <a:gd name="connsiteX5" fmla="*/ 11840 w 37430"/>
                <a:gd name="connsiteY5" fmla="*/ 3302 h 46355"/>
                <a:gd name="connsiteX6" fmla="*/ 16933 w 37430"/>
                <a:gd name="connsiteY6" fmla="*/ 762 h 46355"/>
                <a:gd name="connsiteX7" fmla="*/ 22917 w 37430"/>
                <a:gd name="connsiteY7" fmla="*/ 0 h 46355"/>
                <a:gd name="connsiteX8" fmla="*/ 30428 w 37430"/>
                <a:gd name="connsiteY8" fmla="*/ 1524 h 46355"/>
                <a:gd name="connsiteX9" fmla="*/ 35521 w 37430"/>
                <a:gd name="connsiteY9" fmla="*/ 6223 h 46355"/>
                <a:gd name="connsiteX10" fmla="*/ 37430 w 37430"/>
                <a:gd name="connsiteY10" fmla="*/ 15113 h 46355"/>
                <a:gd name="connsiteX11" fmla="*/ 37430 w 37430"/>
                <a:gd name="connsiteY11" fmla="*/ 46355 h 46355"/>
                <a:gd name="connsiteX12" fmla="*/ 29792 w 37430"/>
                <a:gd name="connsiteY12" fmla="*/ 46355 h 46355"/>
                <a:gd name="connsiteX13" fmla="*/ 29792 w 37430"/>
                <a:gd name="connsiteY13" fmla="*/ 16129 h 46355"/>
                <a:gd name="connsiteX14" fmla="*/ 29028 w 37430"/>
                <a:gd name="connsiteY14" fmla="*/ 11430 h 46355"/>
                <a:gd name="connsiteX15" fmla="*/ 26991 w 37430"/>
                <a:gd name="connsiteY15" fmla="*/ 8636 h 46355"/>
                <a:gd name="connsiteX16" fmla="*/ 23935 w 37430"/>
                <a:gd name="connsiteY16" fmla="*/ 7112 h 46355"/>
                <a:gd name="connsiteX17" fmla="*/ 19988 w 37430"/>
                <a:gd name="connsiteY17" fmla="*/ 6731 h 46355"/>
                <a:gd name="connsiteX18" fmla="*/ 13877 w 37430"/>
                <a:gd name="connsiteY18" fmla="*/ 8255 h 46355"/>
                <a:gd name="connsiteX19" fmla="*/ 9294 w 37430"/>
                <a:gd name="connsiteY19" fmla="*/ 12700 h 46355"/>
                <a:gd name="connsiteX20" fmla="*/ 7639 w 37430"/>
                <a:gd name="connsiteY20" fmla="*/ 19685 h 46355"/>
                <a:gd name="connsiteX21" fmla="*/ 7639 w 37430"/>
                <a:gd name="connsiteY21" fmla="*/ 46355 h 46355"/>
                <a:gd name="connsiteX22" fmla="*/ 0 w 37430"/>
                <a:gd name="connsiteY22" fmla="*/ 46355 h 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46355">
                  <a:moveTo>
                    <a:pt x="382" y="46228"/>
                  </a:moveTo>
                  <a:lnTo>
                    <a:pt x="382" y="889"/>
                  </a:lnTo>
                  <a:lnTo>
                    <a:pt x="6493" y="889"/>
                  </a:lnTo>
                  <a:lnTo>
                    <a:pt x="7130" y="7747"/>
                  </a:lnTo>
                  <a:lnTo>
                    <a:pt x="7766" y="7747"/>
                  </a:lnTo>
                  <a:cubicBezTo>
                    <a:pt x="9039" y="5969"/>
                    <a:pt x="10313" y="4445"/>
                    <a:pt x="11840" y="3302"/>
                  </a:cubicBezTo>
                  <a:cubicBezTo>
                    <a:pt x="13368" y="2159"/>
                    <a:pt x="15023" y="1270"/>
                    <a:pt x="16933" y="762"/>
                  </a:cubicBezTo>
                  <a:cubicBezTo>
                    <a:pt x="18843" y="254"/>
                    <a:pt x="20752" y="0"/>
                    <a:pt x="22917" y="0"/>
                  </a:cubicBezTo>
                  <a:cubicBezTo>
                    <a:pt x="25845" y="0"/>
                    <a:pt x="28264" y="508"/>
                    <a:pt x="30428" y="1524"/>
                  </a:cubicBezTo>
                  <a:cubicBezTo>
                    <a:pt x="32593" y="2540"/>
                    <a:pt x="34248" y="4064"/>
                    <a:pt x="35521" y="6223"/>
                  </a:cubicBezTo>
                  <a:cubicBezTo>
                    <a:pt x="36794" y="8382"/>
                    <a:pt x="37430" y="11303"/>
                    <a:pt x="37430" y="15113"/>
                  </a:cubicBezTo>
                  <a:lnTo>
                    <a:pt x="37430" y="46355"/>
                  </a:lnTo>
                  <a:lnTo>
                    <a:pt x="29792" y="46355"/>
                  </a:lnTo>
                  <a:lnTo>
                    <a:pt x="29792" y="16129"/>
                  </a:lnTo>
                  <a:cubicBezTo>
                    <a:pt x="29792" y="14224"/>
                    <a:pt x="29537" y="12700"/>
                    <a:pt x="29028" y="11430"/>
                  </a:cubicBezTo>
                  <a:cubicBezTo>
                    <a:pt x="28518" y="10160"/>
                    <a:pt x="27882" y="9271"/>
                    <a:pt x="26991" y="8636"/>
                  </a:cubicBezTo>
                  <a:cubicBezTo>
                    <a:pt x="26099" y="8001"/>
                    <a:pt x="25208" y="7493"/>
                    <a:pt x="23935" y="7112"/>
                  </a:cubicBezTo>
                  <a:cubicBezTo>
                    <a:pt x="22789" y="6858"/>
                    <a:pt x="21389" y="6731"/>
                    <a:pt x="19988" y="6731"/>
                  </a:cubicBezTo>
                  <a:cubicBezTo>
                    <a:pt x="17824" y="6731"/>
                    <a:pt x="15787" y="7239"/>
                    <a:pt x="13877" y="8255"/>
                  </a:cubicBezTo>
                  <a:cubicBezTo>
                    <a:pt x="11968" y="9271"/>
                    <a:pt x="10440" y="10795"/>
                    <a:pt x="9294" y="12700"/>
                  </a:cubicBezTo>
                  <a:cubicBezTo>
                    <a:pt x="8148" y="14605"/>
                    <a:pt x="7639" y="17018"/>
                    <a:pt x="7639" y="19685"/>
                  </a:cubicBezTo>
                  <a:lnTo>
                    <a:pt x="7639" y="46355"/>
                  </a:lnTo>
                  <a:lnTo>
                    <a:pt x="0" y="46355"/>
                  </a:lnTo>
                  <a:close/>
                </a:path>
              </a:pathLst>
            </a:custGeom>
            <a:solidFill>
              <a:srgbClr val="1D4966"/>
            </a:solidFill>
            <a:ln w="0" cap="flat">
              <a:noFill/>
              <a:prstDash val="solid"/>
              <a:miter/>
            </a:ln>
          </p:spPr>
          <p:txBody>
            <a:bodyPr rtlCol="0" anchor="ctr"/>
            <a:lstStyle/>
            <a:p>
              <a:endParaRPr lang="en-AD" sz="2400"/>
            </a:p>
          </p:txBody>
        </p:sp>
        <p:sp>
          <p:nvSpPr>
            <p:cNvPr id="394" name="Freeform 393">
              <a:extLst>
                <a:ext uri="{FF2B5EF4-FFF2-40B4-BE49-F238E27FC236}">
                  <a16:creationId xmlns:a16="http://schemas.microsoft.com/office/drawing/2014/main" id="{68041686-B396-5313-C092-6594505DE2FC}"/>
                </a:ext>
              </a:extLst>
            </p:cNvPr>
            <p:cNvSpPr/>
            <p:nvPr/>
          </p:nvSpPr>
          <p:spPr>
            <a:xfrm>
              <a:off x="2960327" y="1587119"/>
              <a:ext cx="49015" cy="59054"/>
            </a:xfrm>
            <a:custGeom>
              <a:avLst/>
              <a:gdLst>
                <a:gd name="connsiteX0" fmla="*/ 20243 w 49015"/>
                <a:gd name="connsiteY0" fmla="*/ 59055 h 59054"/>
                <a:gd name="connsiteX1" fmla="*/ 20243 w 49015"/>
                <a:gd name="connsiteY1" fmla="*/ 7112 h 59054"/>
                <a:gd name="connsiteX2" fmla="*/ 0 w 49015"/>
                <a:gd name="connsiteY2" fmla="*/ 7112 h 59054"/>
                <a:gd name="connsiteX3" fmla="*/ 0 w 49015"/>
                <a:gd name="connsiteY3" fmla="*/ 0 h 59054"/>
                <a:gd name="connsiteX4" fmla="*/ 49016 w 49015"/>
                <a:gd name="connsiteY4" fmla="*/ 0 h 59054"/>
                <a:gd name="connsiteX5" fmla="*/ 49016 w 49015"/>
                <a:gd name="connsiteY5" fmla="*/ 7112 h 59054"/>
                <a:gd name="connsiteX6" fmla="*/ 28518 w 49015"/>
                <a:gd name="connsiteY6" fmla="*/ 7112 h 59054"/>
                <a:gd name="connsiteX7" fmla="*/ 28518 w 49015"/>
                <a:gd name="connsiteY7" fmla="*/ 59055 h 59054"/>
                <a:gd name="connsiteX8" fmla="*/ 20370 w 49015"/>
                <a:gd name="connsiteY8" fmla="*/ 59055 h 5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15" h="59054">
                  <a:moveTo>
                    <a:pt x="20243" y="59055"/>
                  </a:moveTo>
                  <a:lnTo>
                    <a:pt x="20243" y="7112"/>
                  </a:lnTo>
                  <a:lnTo>
                    <a:pt x="0" y="7112"/>
                  </a:lnTo>
                  <a:lnTo>
                    <a:pt x="0" y="0"/>
                  </a:lnTo>
                  <a:lnTo>
                    <a:pt x="49016" y="0"/>
                  </a:lnTo>
                  <a:lnTo>
                    <a:pt x="49016" y="7112"/>
                  </a:lnTo>
                  <a:lnTo>
                    <a:pt x="28518" y="7112"/>
                  </a:lnTo>
                  <a:lnTo>
                    <a:pt x="28518" y="59055"/>
                  </a:lnTo>
                  <a:lnTo>
                    <a:pt x="20370" y="59055"/>
                  </a:lnTo>
                  <a:close/>
                </a:path>
              </a:pathLst>
            </a:custGeom>
            <a:solidFill>
              <a:srgbClr val="1D4966"/>
            </a:solidFill>
            <a:ln w="0" cap="flat">
              <a:noFill/>
              <a:prstDash val="solid"/>
              <a:miter/>
            </a:ln>
          </p:spPr>
          <p:txBody>
            <a:bodyPr rtlCol="0" anchor="ctr"/>
            <a:lstStyle/>
            <a:p>
              <a:endParaRPr lang="en-AD" sz="2400"/>
            </a:p>
          </p:txBody>
        </p:sp>
        <p:sp>
          <p:nvSpPr>
            <p:cNvPr id="395" name="Freeform 394">
              <a:extLst>
                <a:ext uri="{FF2B5EF4-FFF2-40B4-BE49-F238E27FC236}">
                  <a16:creationId xmlns:a16="http://schemas.microsoft.com/office/drawing/2014/main" id="{D2DA8412-D247-4D0F-CD93-E45FFB4E7E36}"/>
                </a:ext>
              </a:extLst>
            </p:cNvPr>
            <p:cNvSpPr/>
            <p:nvPr/>
          </p:nvSpPr>
          <p:spPr>
            <a:xfrm>
              <a:off x="300590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4" y="13716"/>
                    <a:pt x="42268" y="18288"/>
                    <a:pt x="42268" y="23749"/>
                  </a:cubicBezTo>
                  <a:cubicBezTo>
                    <a:pt x="42268" y="29210"/>
                    <a:pt x="41504" y="33655"/>
                    <a:pt x="39849" y="37084"/>
                  </a:cubicBezTo>
                  <a:cubicBezTo>
                    <a:pt x="38194" y="40640"/>
                    <a:pt x="35903" y="43180"/>
                    <a:pt x="32720" y="44831"/>
                  </a:cubicBezTo>
                  <a:cubicBezTo>
                    <a:pt x="29537" y="46482"/>
                    <a:pt x="25717"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5" y="15875"/>
                    <a:pt x="7766" y="18923"/>
                    <a:pt x="7766" y="22733"/>
                  </a:cubicBezTo>
                  <a:lnTo>
                    <a:pt x="7766" y="24638"/>
                  </a:lnTo>
                  <a:cubicBezTo>
                    <a:pt x="7766" y="28321"/>
                    <a:pt x="8275"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396" name="Freeform 395">
              <a:extLst>
                <a:ext uri="{FF2B5EF4-FFF2-40B4-BE49-F238E27FC236}">
                  <a16:creationId xmlns:a16="http://schemas.microsoft.com/office/drawing/2014/main" id="{89AE9E0D-90FF-4159-8305-E635EE51F967}"/>
                </a:ext>
              </a:extLst>
            </p:cNvPr>
            <p:cNvSpPr/>
            <p:nvPr/>
          </p:nvSpPr>
          <p:spPr>
            <a:xfrm>
              <a:off x="3050211" y="1600835"/>
              <a:ext cx="42013" cy="45338"/>
            </a:xfrm>
            <a:custGeom>
              <a:avLst/>
              <a:gdLst>
                <a:gd name="connsiteX0" fmla="*/ 0 w 42013"/>
                <a:gd name="connsiteY0" fmla="*/ 45339 h 45338"/>
                <a:gd name="connsiteX1" fmla="*/ 16296 w 42013"/>
                <a:gd name="connsiteY1" fmla="*/ 22098 h 45338"/>
                <a:gd name="connsiteX2" fmla="*/ 764 w 42013"/>
                <a:gd name="connsiteY2" fmla="*/ 0 h 45338"/>
                <a:gd name="connsiteX3" fmla="*/ 9931 w 42013"/>
                <a:gd name="connsiteY3" fmla="*/ 0 h 45338"/>
                <a:gd name="connsiteX4" fmla="*/ 21007 w 42013"/>
                <a:gd name="connsiteY4" fmla="*/ 16256 h 45338"/>
                <a:gd name="connsiteX5" fmla="*/ 21389 w 42013"/>
                <a:gd name="connsiteY5" fmla="*/ 16256 h 45338"/>
                <a:gd name="connsiteX6" fmla="*/ 32465 w 42013"/>
                <a:gd name="connsiteY6" fmla="*/ 0 h 45338"/>
                <a:gd name="connsiteX7" fmla="*/ 41122 w 42013"/>
                <a:gd name="connsiteY7" fmla="*/ 0 h 45338"/>
                <a:gd name="connsiteX8" fmla="*/ 25590 w 42013"/>
                <a:gd name="connsiteY8" fmla="*/ 21844 h 45338"/>
                <a:gd name="connsiteX9" fmla="*/ 42014 w 42013"/>
                <a:gd name="connsiteY9" fmla="*/ 45339 h 45338"/>
                <a:gd name="connsiteX10" fmla="*/ 32974 w 42013"/>
                <a:gd name="connsiteY10" fmla="*/ 45339 h 45338"/>
                <a:gd name="connsiteX11" fmla="*/ 21007 w 42013"/>
                <a:gd name="connsiteY11" fmla="*/ 27813 h 45338"/>
                <a:gd name="connsiteX12" fmla="*/ 20625 w 42013"/>
                <a:gd name="connsiteY12" fmla="*/ 27813 h 45338"/>
                <a:gd name="connsiteX13" fmla="*/ 8657 w 42013"/>
                <a:gd name="connsiteY13" fmla="*/ 45339 h 45338"/>
                <a:gd name="connsiteX14" fmla="*/ 0 w 42013"/>
                <a:gd name="connsiteY14" fmla="*/ 45339 h 4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3" h="45338">
                  <a:moveTo>
                    <a:pt x="0" y="45339"/>
                  </a:moveTo>
                  <a:lnTo>
                    <a:pt x="16296" y="22098"/>
                  </a:lnTo>
                  <a:lnTo>
                    <a:pt x="764" y="0"/>
                  </a:lnTo>
                  <a:lnTo>
                    <a:pt x="9931" y="0"/>
                  </a:lnTo>
                  <a:lnTo>
                    <a:pt x="21007" y="16256"/>
                  </a:lnTo>
                  <a:lnTo>
                    <a:pt x="21389" y="16256"/>
                  </a:lnTo>
                  <a:lnTo>
                    <a:pt x="32465" y="0"/>
                  </a:lnTo>
                  <a:lnTo>
                    <a:pt x="41122" y="0"/>
                  </a:lnTo>
                  <a:lnTo>
                    <a:pt x="25590" y="21844"/>
                  </a:lnTo>
                  <a:lnTo>
                    <a:pt x="42014" y="45339"/>
                  </a:lnTo>
                  <a:lnTo>
                    <a:pt x="32974" y="45339"/>
                  </a:lnTo>
                  <a:lnTo>
                    <a:pt x="21007" y="27813"/>
                  </a:lnTo>
                  <a:lnTo>
                    <a:pt x="20625" y="27813"/>
                  </a:lnTo>
                  <a:lnTo>
                    <a:pt x="8657" y="45339"/>
                  </a:lnTo>
                  <a:lnTo>
                    <a:pt x="0" y="45339"/>
                  </a:lnTo>
                  <a:close/>
                </a:path>
              </a:pathLst>
            </a:custGeom>
            <a:solidFill>
              <a:srgbClr val="1D4966"/>
            </a:solidFill>
            <a:ln w="0" cap="flat">
              <a:noFill/>
              <a:prstDash val="solid"/>
              <a:miter/>
            </a:ln>
          </p:spPr>
          <p:txBody>
            <a:bodyPr rtlCol="0" anchor="ctr"/>
            <a:lstStyle/>
            <a:p>
              <a:endParaRPr lang="en-AD" sz="2400"/>
            </a:p>
          </p:txBody>
        </p:sp>
        <p:sp>
          <p:nvSpPr>
            <p:cNvPr id="397" name="Freeform 396">
              <a:extLst>
                <a:ext uri="{FF2B5EF4-FFF2-40B4-BE49-F238E27FC236}">
                  <a16:creationId xmlns:a16="http://schemas.microsoft.com/office/drawing/2014/main" id="{AE738815-13A7-292F-4D47-EF403F61B05A}"/>
                </a:ext>
              </a:extLst>
            </p:cNvPr>
            <p:cNvSpPr/>
            <p:nvPr/>
          </p:nvSpPr>
          <p:spPr>
            <a:xfrm>
              <a:off x="3098972" y="1583816"/>
              <a:ext cx="7638" cy="62356"/>
            </a:xfrm>
            <a:custGeom>
              <a:avLst/>
              <a:gdLst>
                <a:gd name="connsiteX0" fmla="*/ 0 w 7638"/>
                <a:gd name="connsiteY0" fmla="*/ 8509 h 62356"/>
                <a:gd name="connsiteX1" fmla="*/ 0 w 7638"/>
                <a:gd name="connsiteY1" fmla="*/ 0 h 62356"/>
                <a:gd name="connsiteX2" fmla="*/ 7639 w 7638"/>
                <a:gd name="connsiteY2" fmla="*/ 0 h 62356"/>
                <a:gd name="connsiteX3" fmla="*/ 7639 w 7638"/>
                <a:gd name="connsiteY3" fmla="*/ 8509 h 62356"/>
                <a:gd name="connsiteX4" fmla="*/ 0 w 7638"/>
                <a:gd name="connsiteY4" fmla="*/ 8509 h 62356"/>
                <a:gd name="connsiteX5" fmla="*/ 0 w 7638"/>
                <a:gd name="connsiteY5" fmla="*/ 62357 h 62356"/>
                <a:gd name="connsiteX6" fmla="*/ 0 w 7638"/>
                <a:gd name="connsiteY6" fmla="*/ 17018 h 62356"/>
                <a:gd name="connsiteX7" fmla="*/ 7639 w 7638"/>
                <a:gd name="connsiteY7" fmla="*/ 17018 h 62356"/>
                <a:gd name="connsiteX8" fmla="*/ 7639 w 7638"/>
                <a:gd name="connsiteY8" fmla="*/ 62357 h 62356"/>
                <a:gd name="connsiteX9" fmla="*/ 0 w 7638"/>
                <a:gd name="connsiteY9" fmla="*/ 62357 h 6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 h="62356">
                  <a:moveTo>
                    <a:pt x="0" y="8509"/>
                  </a:moveTo>
                  <a:lnTo>
                    <a:pt x="0" y="0"/>
                  </a:lnTo>
                  <a:lnTo>
                    <a:pt x="7639" y="0"/>
                  </a:lnTo>
                  <a:lnTo>
                    <a:pt x="7639" y="8509"/>
                  </a:lnTo>
                  <a:lnTo>
                    <a:pt x="0" y="8509"/>
                  </a:lnTo>
                  <a:close/>
                  <a:moveTo>
                    <a:pt x="0" y="62357"/>
                  </a:moveTo>
                  <a:lnTo>
                    <a:pt x="0" y="17018"/>
                  </a:lnTo>
                  <a:lnTo>
                    <a:pt x="7639" y="17018"/>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398" name="Freeform 397">
              <a:extLst>
                <a:ext uri="{FF2B5EF4-FFF2-40B4-BE49-F238E27FC236}">
                  <a16:creationId xmlns:a16="http://schemas.microsoft.com/office/drawing/2014/main" id="{9623E925-E069-1F94-7936-70CF80337AE7}"/>
                </a:ext>
              </a:extLst>
            </p:cNvPr>
            <p:cNvSpPr/>
            <p:nvPr/>
          </p:nvSpPr>
          <p:spPr>
            <a:xfrm>
              <a:off x="3114887" y="1599691"/>
              <a:ext cx="38321" cy="47625"/>
            </a:xfrm>
            <a:custGeom>
              <a:avLst/>
              <a:gdLst>
                <a:gd name="connsiteX0" fmla="*/ 20116 w 38321"/>
                <a:gd name="connsiteY0" fmla="*/ 47498 h 47625"/>
                <a:gd name="connsiteX1" fmla="*/ 9039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5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6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39" y="44958"/>
                  </a:cubicBezTo>
                  <a:cubicBezTo>
                    <a:pt x="6111" y="43307"/>
                    <a:pt x="3819" y="40640"/>
                    <a:pt x="2292" y="37084"/>
                  </a:cubicBezTo>
                  <a:cubicBezTo>
                    <a:pt x="764" y="33528"/>
                    <a:pt x="0" y="29083"/>
                    <a:pt x="0" y="23749"/>
                  </a:cubicBezTo>
                  <a:cubicBezTo>
                    <a:pt x="0" y="18415"/>
                    <a:pt x="764" y="13970"/>
                    <a:pt x="2292" y="10414"/>
                  </a:cubicBezTo>
                  <a:cubicBezTo>
                    <a:pt x="3819" y="6858"/>
                    <a:pt x="6111" y="4318"/>
                    <a:pt x="9167" y="2540"/>
                  </a:cubicBezTo>
                  <a:cubicBezTo>
                    <a:pt x="12222" y="762"/>
                    <a:pt x="15914" y="0"/>
                    <a:pt x="20370" y="0"/>
                  </a:cubicBezTo>
                  <a:cubicBezTo>
                    <a:pt x="23426" y="0"/>
                    <a:pt x="26227" y="381"/>
                    <a:pt x="28391" y="1270"/>
                  </a:cubicBezTo>
                  <a:cubicBezTo>
                    <a:pt x="30683" y="2032"/>
                    <a:pt x="32592" y="3302"/>
                    <a:pt x="33993" y="4826"/>
                  </a:cubicBezTo>
                  <a:cubicBezTo>
                    <a:pt x="35521" y="6350"/>
                    <a:pt x="36539" y="8255"/>
                    <a:pt x="37303" y="10414"/>
                  </a:cubicBezTo>
                  <a:cubicBezTo>
                    <a:pt x="38067" y="12573"/>
                    <a:pt x="38322" y="15113"/>
                    <a:pt x="38322" y="17907"/>
                  </a:cubicBezTo>
                  <a:lnTo>
                    <a:pt x="30683" y="17907"/>
                  </a:lnTo>
                  <a:cubicBezTo>
                    <a:pt x="30683" y="15240"/>
                    <a:pt x="30301" y="13081"/>
                    <a:pt x="29664" y="11430"/>
                  </a:cubicBezTo>
                  <a:cubicBezTo>
                    <a:pt x="28900" y="9779"/>
                    <a:pt x="27754" y="8509"/>
                    <a:pt x="26227" y="7620"/>
                  </a:cubicBezTo>
                  <a:cubicBezTo>
                    <a:pt x="24699" y="6731"/>
                    <a:pt x="22662" y="6350"/>
                    <a:pt x="20116" y="6350"/>
                  </a:cubicBezTo>
                  <a:cubicBezTo>
                    <a:pt x="17569" y="6350"/>
                    <a:pt x="15405" y="6858"/>
                    <a:pt x="13495" y="8001"/>
                  </a:cubicBezTo>
                  <a:cubicBezTo>
                    <a:pt x="11713" y="9144"/>
                    <a:pt x="10185" y="10922"/>
                    <a:pt x="9294" y="13335"/>
                  </a:cubicBezTo>
                  <a:cubicBezTo>
                    <a:pt x="8275" y="15748"/>
                    <a:pt x="7766" y="18923"/>
                    <a:pt x="7766" y="22860"/>
                  </a:cubicBezTo>
                  <a:lnTo>
                    <a:pt x="7766" y="24638"/>
                  </a:lnTo>
                  <a:cubicBezTo>
                    <a:pt x="7766" y="28321"/>
                    <a:pt x="8275" y="31496"/>
                    <a:pt x="9167" y="33909"/>
                  </a:cubicBezTo>
                  <a:cubicBezTo>
                    <a:pt x="10058" y="36322"/>
                    <a:pt x="11458"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5" y="34036"/>
                    <a:pt x="30810" y="32004"/>
                    <a:pt x="30810" y="29591"/>
                  </a:cubicBezTo>
                  <a:lnTo>
                    <a:pt x="38194" y="29591"/>
                  </a:lnTo>
                  <a:cubicBezTo>
                    <a:pt x="38194" y="32131"/>
                    <a:pt x="37812" y="34417"/>
                    <a:pt x="37176" y="36703"/>
                  </a:cubicBezTo>
                  <a:cubicBezTo>
                    <a:pt x="36412" y="38862"/>
                    <a:pt x="35393" y="40767"/>
                    <a:pt x="33866" y="42418"/>
                  </a:cubicBezTo>
                  <a:cubicBezTo>
                    <a:pt x="32338" y="44069"/>
                    <a:pt x="30428" y="45339"/>
                    <a:pt x="28136"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399" name="Freeform 398">
              <a:extLst>
                <a:ext uri="{FF2B5EF4-FFF2-40B4-BE49-F238E27FC236}">
                  <a16:creationId xmlns:a16="http://schemas.microsoft.com/office/drawing/2014/main" id="{3E14810C-7F6F-547B-4D9F-10013843C4C8}"/>
                </a:ext>
              </a:extLst>
            </p:cNvPr>
            <p:cNvSpPr/>
            <p:nvPr/>
          </p:nvSpPr>
          <p:spPr>
            <a:xfrm>
              <a:off x="3159574"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8"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8" y="47371"/>
                    <a:pt x="21134" y="47371"/>
                  </a:cubicBezTo>
                  <a:close/>
                  <a:moveTo>
                    <a:pt x="21134" y="41021"/>
                  </a:moveTo>
                  <a:cubicBezTo>
                    <a:pt x="24062" y="41021"/>
                    <a:pt x="26481"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2"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0" name="Freeform 399">
              <a:extLst>
                <a:ext uri="{FF2B5EF4-FFF2-40B4-BE49-F238E27FC236}">
                  <a16:creationId xmlns:a16="http://schemas.microsoft.com/office/drawing/2014/main" id="{E8B491E6-5E2A-9026-000E-A5F746F79AE8}"/>
                </a:ext>
              </a:extLst>
            </p:cNvPr>
            <p:cNvSpPr/>
            <p:nvPr/>
          </p:nvSpPr>
          <p:spPr>
            <a:xfrm>
              <a:off x="3210500" y="1583816"/>
              <a:ext cx="7638" cy="62356"/>
            </a:xfrm>
            <a:custGeom>
              <a:avLst/>
              <a:gdLst>
                <a:gd name="connsiteX0" fmla="*/ 0 w 7638"/>
                <a:gd name="connsiteY0" fmla="*/ 62357 h 62356"/>
                <a:gd name="connsiteX1" fmla="*/ 0 w 7638"/>
                <a:gd name="connsiteY1" fmla="*/ 0 h 62356"/>
                <a:gd name="connsiteX2" fmla="*/ 7639 w 7638"/>
                <a:gd name="connsiteY2" fmla="*/ 0 h 62356"/>
                <a:gd name="connsiteX3" fmla="*/ 7639 w 7638"/>
                <a:gd name="connsiteY3" fmla="*/ 62357 h 62356"/>
                <a:gd name="connsiteX4" fmla="*/ 0 w 7638"/>
                <a:gd name="connsiteY4" fmla="*/ 62357 h 6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62356">
                  <a:moveTo>
                    <a:pt x="0" y="62357"/>
                  </a:moveTo>
                  <a:lnTo>
                    <a:pt x="0" y="0"/>
                  </a:lnTo>
                  <a:lnTo>
                    <a:pt x="7639" y="0"/>
                  </a:lnTo>
                  <a:lnTo>
                    <a:pt x="7639" y="62357"/>
                  </a:lnTo>
                  <a:lnTo>
                    <a:pt x="0" y="62357"/>
                  </a:lnTo>
                  <a:close/>
                </a:path>
              </a:pathLst>
            </a:custGeom>
            <a:solidFill>
              <a:srgbClr val="1D4966"/>
            </a:solidFill>
            <a:ln w="0" cap="flat">
              <a:noFill/>
              <a:prstDash val="solid"/>
              <a:miter/>
            </a:ln>
          </p:spPr>
          <p:txBody>
            <a:bodyPr rtlCol="0" anchor="ctr"/>
            <a:lstStyle/>
            <a:p>
              <a:endParaRPr lang="en-AD" sz="2400"/>
            </a:p>
          </p:txBody>
        </p:sp>
        <p:sp>
          <p:nvSpPr>
            <p:cNvPr id="401" name="Freeform 400">
              <a:extLst>
                <a:ext uri="{FF2B5EF4-FFF2-40B4-BE49-F238E27FC236}">
                  <a16:creationId xmlns:a16="http://schemas.microsoft.com/office/drawing/2014/main" id="{E254A83A-4932-3AC2-1F85-DEF928214ECB}"/>
                </a:ext>
              </a:extLst>
            </p:cNvPr>
            <p:cNvSpPr/>
            <p:nvPr/>
          </p:nvSpPr>
          <p:spPr>
            <a:xfrm>
              <a:off x="3226796" y="1599819"/>
              <a:ext cx="42268" cy="47370"/>
            </a:xfrm>
            <a:custGeom>
              <a:avLst/>
              <a:gdLst>
                <a:gd name="connsiteX0" fmla="*/ 21134 w 42268"/>
                <a:gd name="connsiteY0" fmla="*/ 47371 h 47370"/>
                <a:gd name="connsiteX1" fmla="*/ 9549 w 42268"/>
                <a:gd name="connsiteY1" fmla="*/ 44831 h 47370"/>
                <a:gd name="connsiteX2" fmla="*/ 2419 w 42268"/>
                <a:gd name="connsiteY2" fmla="*/ 37084 h 47370"/>
                <a:gd name="connsiteX3" fmla="*/ 0 w 42268"/>
                <a:gd name="connsiteY3" fmla="*/ 23749 h 47370"/>
                <a:gd name="connsiteX4" fmla="*/ 2419 w 42268"/>
                <a:gd name="connsiteY4" fmla="*/ 10287 h 47370"/>
                <a:gd name="connsiteX5" fmla="*/ 9549 w 42268"/>
                <a:gd name="connsiteY5" fmla="*/ 2540 h 47370"/>
                <a:gd name="connsiteX6" fmla="*/ 21134 w 42268"/>
                <a:gd name="connsiteY6" fmla="*/ 0 h 47370"/>
                <a:gd name="connsiteX7" fmla="*/ 32720 w 42268"/>
                <a:gd name="connsiteY7" fmla="*/ 2540 h 47370"/>
                <a:gd name="connsiteX8" fmla="*/ 39849 w 42268"/>
                <a:gd name="connsiteY8" fmla="*/ 10287 h 47370"/>
                <a:gd name="connsiteX9" fmla="*/ 42268 w 42268"/>
                <a:gd name="connsiteY9" fmla="*/ 23749 h 47370"/>
                <a:gd name="connsiteX10" fmla="*/ 39849 w 42268"/>
                <a:gd name="connsiteY10" fmla="*/ 37084 h 47370"/>
                <a:gd name="connsiteX11" fmla="*/ 32720 w 42268"/>
                <a:gd name="connsiteY11" fmla="*/ 44831 h 47370"/>
                <a:gd name="connsiteX12" fmla="*/ 21134 w 42268"/>
                <a:gd name="connsiteY12" fmla="*/ 47371 h 47370"/>
                <a:gd name="connsiteX13" fmla="*/ 21134 w 42268"/>
                <a:gd name="connsiteY13" fmla="*/ 41021 h 47370"/>
                <a:gd name="connsiteX14" fmla="*/ 28518 w 42268"/>
                <a:gd name="connsiteY14" fmla="*/ 39243 h 47370"/>
                <a:gd name="connsiteX15" fmla="*/ 32974 w 42268"/>
                <a:gd name="connsiteY15" fmla="*/ 33909 h 47370"/>
                <a:gd name="connsiteX16" fmla="*/ 34502 w 42268"/>
                <a:gd name="connsiteY16" fmla="*/ 24638 h 47370"/>
                <a:gd name="connsiteX17" fmla="*/ 34502 w 42268"/>
                <a:gd name="connsiteY17" fmla="*/ 22733 h 47370"/>
                <a:gd name="connsiteX18" fmla="*/ 32974 w 42268"/>
                <a:gd name="connsiteY18" fmla="*/ 13462 h 47370"/>
                <a:gd name="connsiteX19" fmla="*/ 28518 w 42268"/>
                <a:gd name="connsiteY19" fmla="*/ 8128 h 47370"/>
                <a:gd name="connsiteX20" fmla="*/ 21134 w 42268"/>
                <a:gd name="connsiteY20" fmla="*/ 6350 h 47370"/>
                <a:gd name="connsiteX21" fmla="*/ 13750 w 42268"/>
                <a:gd name="connsiteY21" fmla="*/ 8128 h 47370"/>
                <a:gd name="connsiteX22" fmla="*/ 9294 w 42268"/>
                <a:gd name="connsiteY22" fmla="*/ 13462 h 47370"/>
                <a:gd name="connsiteX23" fmla="*/ 7766 w 42268"/>
                <a:gd name="connsiteY23" fmla="*/ 22733 h 47370"/>
                <a:gd name="connsiteX24" fmla="*/ 7766 w 42268"/>
                <a:gd name="connsiteY24" fmla="*/ 24638 h 47370"/>
                <a:gd name="connsiteX25" fmla="*/ 9294 w 42268"/>
                <a:gd name="connsiteY25" fmla="*/ 33909 h 47370"/>
                <a:gd name="connsiteX26" fmla="*/ 13750 w 42268"/>
                <a:gd name="connsiteY26" fmla="*/ 39243 h 47370"/>
                <a:gd name="connsiteX27" fmla="*/ 21134 w 42268"/>
                <a:gd name="connsiteY27" fmla="*/ 41021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68" h="47370">
                  <a:moveTo>
                    <a:pt x="21134" y="47371"/>
                  </a:moveTo>
                  <a:cubicBezTo>
                    <a:pt x="16551" y="47371"/>
                    <a:pt x="12604" y="46482"/>
                    <a:pt x="9549" y="44831"/>
                  </a:cubicBezTo>
                  <a:cubicBezTo>
                    <a:pt x="6366" y="43180"/>
                    <a:pt x="4074" y="40513"/>
                    <a:pt x="2419" y="37084"/>
                  </a:cubicBezTo>
                  <a:cubicBezTo>
                    <a:pt x="764" y="33528"/>
                    <a:pt x="0" y="29083"/>
                    <a:pt x="0" y="23749"/>
                  </a:cubicBezTo>
                  <a:cubicBezTo>
                    <a:pt x="0" y="18415"/>
                    <a:pt x="764" y="13843"/>
                    <a:pt x="2419" y="10287"/>
                  </a:cubicBezTo>
                  <a:cubicBezTo>
                    <a:pt x="4074" y="6858"/>
                    <a:pt x="6493" y="4191"/>
                    <a:pt x="9549" y="2540"/>
                  </a:cubicBezTo>
                  <a:cubicBezTo>
                    <a:pt x="12731" y="889"/>
                    <a:pt x="16551" y="0"/>
                    <a:pt x="21134" y="0"/>
                  </a:cubicBezTo>
                  <a:cubicBezTo>
                    <a:pt x="25717" y="0"/>
                    <a:pt x="29664" y="889"/>
                    <a:pt x="32720" y="2540"/>
                  </a:cubicBezTo>
                  <a:cubicBezTo>
                    <a:pt x="35903" y="4191"/>
                    <a:pt x="38194" y="6858"/>
                    <a:pt x="39849" y="10287"/>
                  </a:cubicBezTo>
                  <a:cubicBezTo>
                    <a:pt x="41505" y="13716"/>
                    <a:pt x="42268" y="18288"/>
                    <a:pt x="42268" y="23749"/>
                  </a:cubicBezTo>
                  <a:cubicBezTo>
                    <a:pt x="42268" y="29210"/>
                    <a:pt x="41505" y="33655"/>
                    <a:pt x="39849" y="37084"/>
                  </a:cubicBezTo>
                  <a:cubicBezTo>
                    <a:pt x="38194" y="40640"/>
                    <a:pt x="35903" y="43180"/>
                    <a:pt x="32720" y="44831"/>
                  </a:cubicBezTo>
                  <a:cubicBezTo>
                    <a:pt x="29537" y="46482"/>
                    <a:pt x="25717" y="47371"/>
                    <a:pt x="21134" y="47371"/>
                  </a:cubicBezTo>
                  <a:close/>
                  <a:moveTo>
                    <a:pt x="21134" y="41021"/>
                  </a:moveTo>
                  <a:cubicBezTo>
                    <a:pt x="24063" y="41021"/>
                    <a:pt x="26482" y="40386"/>
                    <a:pt x="28518" y="39243"/>
                  </a:cubicBezTo>
                  <a:cubicBezTo>
                    <a:pt x="30428" y="38100"/>
                    <a:pt x="31956" y="36322"/>
                    <a:pt x="32974" y="33909"/>
                  </a:cubicBezTo>
                  <a:cubicBezTo>
                    <a:pt x="33993" y="31496"/>
                    <a:pt x="34502" y="28321"/>
                    <a:pt x="34502" y="24638"/>
                  </a:cubicBezTo>
                  <a:lnTo>
                    <a:pt x="34502" y="22733"/>
                  </a:lnTo>
                  <a:cubicBezTo>
                    <a:pt x="34502" y="18923"/>
                    <a:pt x="33993" y="15875"/>
                    <a:pt x="32974" y="13462"/>
                  </a:cubicBezTo>
                  <a:cubicBezTo>
                    <a:pt x="31956" y="11049"/>
                    <a:pt x="30428" y="9271"/>
                    <a:pt x="28518" y="8128"/>
                  </a:cubicBezTo>
                  <a:cubicBezTo>
                    <a:pt x="26609" y="6985"/>
                    <a:pt x="24063" y="6350"/>
                    <a:pt x="21134" y="6350"/>
                  </a:cubicBezTo>
                  <a:cubicBezTo>
                    <a:pt x="18206" y="6350"/>
                    <a:pt x="15787" y="6985"/>
                    <a:pt x="13750" y="8128"/>
                  </a:cubicBezTo>
                  <a:cubicBezTo>
                    <a:pt x="11713" y="9271"/>
                    <a:pt x="10312" y="11049"/>
                    <a:pt x="9294" y="13462"/>
                  </a:cubicBezTo>
                  <a:cubicBezTo>
                    <a:pt x="8276" y="15875"/>
                    <a:pt x="7766" y="18923"/>
                    <a:pt x="7766" y="22733"/>
                  </a:cubicBezTo>
                  <a:lnTo>
                    <a:pt x="7766" y="24638"/>
                  </a:lnTo>
                  <a:cubicBezTo>
                    <a:pt x="7766" y="28321"/>
                    <a:pt x="8276" y="31496"/>
                    <a:pt x="9294" y="33909"/>
                  </a:cubicBezTo>
                  <a:cubicBezTo>
                    <a:pt x="10312" y="36322"/>
                    <a:pt x="11713" y="38100"/>
                    <a:pt x="13750" y="39243"/>
                  </a:cubicBezTo>
                  <a:cubicBezTo>
                    <a:pt x="15787" y="40386"/>
                    <a:pt x="18206" y="41021"/>
                    <a:pt x="21134" y="41021"/>
                  </a:cubicBezTo>
                  <a:close/>
                </a:path>
              </a:pathLst>
            </a:custGeom>
            <a:solidFill>
              <a:srgbClr val="1D4966"/>
            </a:solidFill>
            <a:ln w="0" cap="flat">
              <a:noFill/>
              <a:prstDash val="solid"/>
              <a:miter/>
            </a:ln>
          </p:spPr>
          <p:txBody>
            <a:bodyPr rtlCol="0" anchor="ctr"/>
            <a:lstStyle/>
            <a:p>
              <a:endParaRPr lang="en-AD" sz="2400"/>
            </a:p>
          </p:txBody>
        </p:sp>
        <p:sp>
          <p:nvSpPr>
            <p:cNvPr id="402" name="Freeform 401">
              <a:extLst>
                <a:ext uri="{FF2B5EF4-FFF2-40B4-BE49-F238E27FC236}">
                  <a16:creationId xmlns:a16="http://schemas.microsoft.com/office/drawing/2014/main" id="{F1DF24B5-832F-3663-D118-86214535AD68}"/>
                </a:ext>
              </a:extLst>
            </p:cNvPr>
            <p:cNvSpPr/>
            <p:nvPr/>
          </p:nvSpPr>
          <p:spPr>
            <a:xfrm>
              <a:off x="3272757" y="1593341"/>
              <a:ext cx="45960" cy="68580"/>
            </a:xfrm>
            <a:custGeom>
              <a:avLst/>
              <a:gdLst>
                <a:gd name="connsiteX0" fmla="*/ 12222 w 45960"/>
                <a:gd name="connsiteY0" fmla="*/ 68580 h 68580"/>
                <a:gd name="connsiteX1" fmla="*/ 6111 w 45960"/>
                <a:gd name="connsiteY1" fmla="*/ 67183 h 68580"/>
                <a:gd name="connsiteX2" fmla="*/ 1655 w 45960"/>
                <a:gd name="connsiteY2" fmla="*/ 63373 h 68580"/>
                <a:gd name="connsiteX3" fmla="*/ 0 w 45960"/>
                <a:gd name="connsiteY3" fmla="*/ 57404 h 68580"/>
                <a:gd name="connsiteX4" fmla="*/ 2164 w 45960"/>
                <a:gd name="connsiteY4" fmla="*/ 51054 h 68580"/>
                <a:gd name="connsiteX5" fmla="*/ 7257 w 45960"/>
                <a:gd name="connsiteY5" fmla="*/ 47371 h 68580"/>
                <a:gd name="connsiteX6" fmla="*/ 3947 w 45960"/>
                <a:gd name="connsiteY6" fmla="*/ 44450 h 68580"/>
                <a:gd name="connsiteX7" fmla="*/ 2673 w 45960"/>
                <a:gd name="connsiteY7" fmla="*/ 40386 h 68580"/>
                <a:gd name="connsiteX8" fmla="*/ 4838 w 45960"/>
                <a:gd name="connsiteY8" fmla="*/ 35306 h 68580"/>
                <a:gd name="connsiteX9" fmla="*/ 10185 w 45960"/>
                <a:gd name="connsiteY9" fmla="*/ 32512 h 68580"/>
                <a:gd name="connsiteX10" fmla="*/ 5602 w 45960"/>
                <a:gd name="connsiteY10" fmla="*/ 27686 h 68580"/>
                <a:gd name="connsiteX11" fmla="*/ 3947 w 45960"/>
                <a:gd name="connsiteY11" fmla="*/ 21082 h 68580"/>
                <a:gd name="connsiteX12" fmla="*/ 5984 w 45960"/>
                <a:gd name="connsiteY12" fmla="*/ 13462 h 68580"/>
                <a:gd name="connsiteX13" fmla="*/ 12222 w 45960"/>
                <a:gd name="connsiteY13" fmla="*/ 8255 h 68580"/>
                <a:gd name="connsiteX14" fmla="*/ 22407 w 45960"/>
                <a:gd name="connsiteY14" fmla="*/ 6350 h 68580"/>
                <a:gd name="connsiteX15" fmla="*/ 27627 w 45960"/>
                <a:gd name="connsiteY15" fmla="*/ 6731 h 68580"/>
                <a:gd name="connsiteX16" fmla="*/ 31956 w 45960"/>
                <a:gd name="connsiteY16" fmla="*/ 8001 h 68580"/>
                <a:gd name="connsiteX17" fmla="*/ 36539 w 45960"/>
                <a:gd name="connsiteY17" fmla="*/ 4445 h 68580"/>
                <a:gd name="connsiteX18" fmla="*/ 38449 w 45960"/>
                <a:gd name="connsiteY18" fmla="*/ 0 h 68580"/>
                <a:gd name="connsiteX19" fmla="*/ 45960 w 45960"/>
                <a:gd name="connsiteY19" fmla="*/ 0 h 68580"/>
                <a:gd name="connsiteX20" fmla="*/ 44815 w 45960"/>
                <a:gd name="connsiteY20" fmla="*/ 4826 h 68580"/>
                <a:gd name="connsiteX21" fmla="*/ 41632 w 45960"/>
                <a:gd name="connsiteY21" fmla="*/ 8636 h 68580"/>
                <a:gd name="connsiteX22" fmla="*/ 36794 w 45960"/>
                <a:gd name="connsiteY22" fmla="*/ 10668 h 68580"/>
                <a:gd name="connsiteX23" fmla="*/ 39977 w 45960"/>
                <a:gd name="connsiteY23" fmla="*/ 15367 h 68580"/>
                <a:gd name="connsiteX24" fmla="*/ 40995 w 45960"/>
                <a:gd name="connsiteY24" fmla="*/ 20955 h 68580"/>
                <a:gd name="connsiteX25" fmla="*/ 38958 w 45960"/>
                <a:gd name="connsiteY25" fmla="*/ 28575 h 68580"/>
                <a:gd name="connsiteX26" fmla="*/ 32847 w 45960"/>
                <a:gd name="connsiteY26" fmla="*/ 33782 h 68580"/>
                <a:gd name="connsiteX27" fmla="*/ 22662 w 45960"/>
                <a:gd name="connsiteY27" fmla="*/ 35687 h 68580"/>
                <a:gd name="connsiteX28" fmla="*/ 15532 w 45960"/>
                <a:gd name="connsiteY28" fmla="*/ 35687 h 68580"/>
                <a:gd name="connsiteX29" fmla="*/ 11713 w 45960"/>
                <a:gd name="connsiteY29" fmla="*/ 36576 h 68580"/>
                <a:gd name="connsiteX30" fmla="*/ 10185 w 45960"/>
                <a:gd name="connsiteY30" fmla="*/ 39497 h 68580"/>
                <a:gd name="connsiteX31" fmla="*/ 11713 w 45960"/>
                <a:gd name="connsiteY31" fmla="*/ 42291 h 68580"/>
                <a:gd name="connsiteX32" fmla="*/ 15532 w 45960"/>
                <a:gd name="connsiteY32" fmla="*/ 43307 h 68580"/>
                <a:gd name="connsiteX33" fmla="*/ 33993 w 45960"/>
                <a:gd name="connsiteY33" fmla="*/ 43307 h 68580"/>
                <a:gd name="connsiteX34" fmla="*/ 42141 w 45960"/>
                <a:gd name="connsiteY34" fmla="*/ 46609 h 68580"/>
                <a:gd name="connsiteX35" fmla="*/ 45324 w 45960"/>
                <a:gd name="connsiteY35" fmla="*/ 55118 h 68580"/>
                <a:gd name="connsiteX36" fmla="*/ 43414 w 45960"/>
                <a:gd name="connsiteY36" fmla="*/ 61849 h 68580"/>
                <a:gd name="connsiteX37" fmla="*/ 38194 w 45960"/>
                <a:gd name="connsiteY37" fmla="*/ 66548 h 68580"/>
                <a:gd name="connsiteX38" fmla="*/ 30428 w 45960"/>
                <a:gd name="connsiteY38" fmla="*/ 68326 h 68580"/>
                <a:gd name="connsiteX39" fmla="*/ 11840 w 45960"/>
                <a:gd name="connsiteY39" fmla="*/ 68326 h 68580"/>
                <a:gd name="connsiteX40" fmla="*/ 14386 w 45960"/>
                <a:gd name="connsiteY40" fmla="*/ 62738 h 68580"/>
                <a:gd name="connsiteX41" fmla="*/ 30682 w 45960"/>
                <a:gd name="connsiteY41" fmla="*/ 62738 h 68580"/>
                <a:gd name="connsiteX42" fmla="*/ 34375 w 45960"/>
                <a:gd name="connsiteY42" fmla="*/ 61976 h 68580"/>
                <a:gd name="connsiteX43" fmla="*/ 36921 w 45960"/>
                <a:gd name="connsiteY43" fmla="*/ 59690 h 68580"/>
                <a:gd name="connsiteX44" fmla="*/ 37812 w 45960"/>
                <a:gd name="connsiteY44" fmla="*/ 56515 h 68580"/>
                <a:gd name="connsiteX45" fmla="*/ 36030 w 45960"/>
                <a:gd name="connsiteY45" fmla="*/ 51816 h 68580"/>
                <a:gd name="connsiteX46" fmla="*/ 31701 w 45960"/>
                <a:gd name="connsiteY46" fmla="*/ 50038 h 68580"/>
                <a:gd name="connsiteX47" fmla="*/ 14259 w 45960"/>
                <a:gd name="connsiteY47" fmla="*/ 50038 h 68580"/>
                <a:gd name="connsiteX48" fmla="*/ 9549 w 45960"/>
                <a:gd name="connsiteY48" fmla="*/ 51943 h 68580"/>
                <a:gd name="connsiteX49" fmla="*/ 7639 w 45960"/>
                <a:gd name="connsiteY49" fmla="*/ 56515 h 68580"/>
                <a:gd name="connsiteX50" fmla="*/ 9549 w 45960"/>
                <a:gd name="connsiteY50" fmla="*/ 61087 h 68580"/>
                <a:gd name="connsiteX51" fmla="*/ 14259 w 45960"/>
                <a:gd name="connsiteY51" fmla="*/ 62865 h 68580"/>
                <a:gd name="connsiteX52" fmla="*/ 22662 w 45960"/>
                <a:gd name="connsiteY52" fmla="*/ 30226 h 68580"/>
                <a:gd name="connsiteX53" fmla="*/ 30810 w 45960"/>
                <a:gd name="connsiteY53" fmla="*/ 27813 h 68580"/>
                <a:gd name="connsiteX54" fmla="*/ 33483 w 45960"/>
                <a:gd name="connsiteY54" fmla="*/ 21209 h 68580"/>
                <a:gd name="connsiteX55" fmla="*/ 30810 w 45960"/>
                <a:gd name="connsiteY55" fmla="*/ 14605 h 68580"/>
                <a:gd name="connsiteX56" fmla="*/ 22662 w 45960"/>
                <a:gd name="connsiteY56" fmla="*/ 12192 h 68580"/>
                <a:gd name="connsiteX57" fmla="*/ 14386 w 45960"/>
                <a:gd name="connsiteY57" fmla="*/ 14605 h 68580"/>
                <a:gd name="connsiteX58" fmla="*/ 11713 w 45960"/>
                <a:gd name="connsiteY58" fmla="*/ 21209 h 68580"/>
                <a:gd name="connsiteX59" fmla="*/ 12986 w 45960"/>
                <a:gd name="connsiteY59" fmla="*/ 25908 h 68580"/>
                <a:gd name="connsiteX60" fmla="*/ 16678 w 45960"/>
                <a:gd name="connsiteY60" fmla="*/ 29083 h 68580"/>
                <a:gd name="connsiteX61" fmla="*/ 22789 w 45960"/>
                <a:gd name="connsiteY61" fmla="*/ 30226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5960" h="68580">
                  <a:moveTo>
                    <a:pt x="12222" y="68580"/>
                  </a:moveTo>
                  <a:cubicBezTo>
                    <a:pt x="10058" y="68580"/>
                    <a:pt x="8020" y="68072"/>
                    <a:pt x="6111" y="67183"/>
                  </a:cubicBezTo>
                  <a:cubicBezTo>
                    <a:pt x="4329" y="66294"/>
                    <a:pt x="2801" y="65024"/>
                    <a:pt x="1655" y="63373"/>
                  </a:cubicBezTo>
                  <a:cubicBezTo>
                    <a:pt x="509" y="61722"/>
                    <a:pt x="0" y="59690"/>
                    <a:pt x="0" y="57404"/>
                  </a:cubicBezTo>
                  <a:cubicBezTo>
                    <a:pt x="0" y="54864"/>
                    <a:pt x="764" y="52832"/>
                    <a:pt x="2164" y="51054"/>
                  </a:cubicBezTo>
                  <a:cubicBezTo>
                    <a:pt x="3565" y="49403"/>
                    <a:pt x="5220" y="48133"/>
                    <a:pt x="7257" y="47371"/>
                  </a:cubicBezTo>
                  <a:cubicBezTo>
                    <a:pt x="5856" y="46736"/>
                    <a:pt x="4711" y="45720"/>
                    <a:pt x="3947" y="44450"/>
                  </a:cubicBezTo>
                  <a:cubicBezTo>
                    <a:pt x="3183" y="43180"/>
                    <a:pt x="2673" y="41910"/>
                    <a:pt x="2673" y="40386"/>
                  </a:cubicBezTo>
                  <a:cubicBezTo>
                    <a:pt x="2673" y="38354"/>
                    <a:pt x="3437" y="36703"/>
                    <a:pt x="4838" y="35306"/>
                  </a:cubicBezTo>
                  <a:cubicBezTo>
                    <a:pt x="6366" y="33909"/>
                    <a:pt x="8148" y="33020"/>
                    <a:pt x="10185" y="32512"/>
                  </a:cubicBezTo>
                  <a:cubicBezTo>
                    <a:pt x="8275" y="31242"/>
                    <a:pt x="6748" y="29591"/>
                    <a:pt x="5602" y="27686"/>
                  </a:cubicBezTo>
                  <a:cubicBezTo>
                    <a:pt x="4456" y="25781"/>
                    <a:pt x="3947" y="23495"/>
                    <a:pt x="3947" y="21082"/>
                  </a:cubicBezTo>
                  <a:cubicBezTo>
                    <a:pt x="3947" y="18161"/>
                    <a:pt x="4583" y="15621"/>
                    <a:pt x="5984" y="13462"/>
                  </a:cubicBezTo>
                  <a:cubicBezTo>
                    <a:pt x="7384" y="11303"/>
                    <a:pt x="9421" y="9525"/>
                    <a:pt x="12222" y="8255"/>
                  </a:cubicBezTo>
                  <a:cubicBezTo>
                    <a:pt x="15023" y="6985"/>
                    <a:pt x="18460" y="6350"/>
                    <a:pt x="22407" y="6350"/>
                  </a:cubicBezTo>
                  <a:cubicBezTo>
                    <a:pt x="24190" y="6350"/>
                    <a:pt x="25972" y="6477"/>
                    <a:pt x="27627" y="6731"/>
                  </a:cubicBezTo>
                  <a:cubicBezTo>
                    <a:pt x="29282" y="6985"/>
                    <a:pt x="30682" y="7366"/>
                    <a:pt x="31956" y="8001"/>
                  </a:cubicBezTo>
                  <a:cubicBezTo>
                    <a:pt x="33993" y="7112"/>
                    <a:pt x="35520" y="5842"/>
                    <a:pt x="36539" y="4445"/>
                  </a:cubicBezTo>
                  <a:cubicBezTo>
                    <a:pt x="37558" y="3048"/>
                    <a:pt x="38194" y="1524"/>
                    <a:pt x="38449" y="0"/>
                  </a:cubicBezTo>
                  <a:lnTo>
                    <a:pt x="45960" y="0"/>
                  </a:lnTo>
                  <a:cubicBezTo>
                    <a:pt x="45960" y="1778"/>
                    <a:pt x="45578" y="3302"/>
                    <a:pt x="44815" y="4826"/>
                  </a:cubicBezTo>
                  <a:cubicBezTo>
                    <a:pt x="44051" y="6350"/>
                    <a:pt x="43032" y="7620"/>
                    <a:pt x="41632" y="8636"/>
                  </a:cubicBezTo>
                  <a:cubicBezTo>
                    <a:pt x="40358" y="9652"/>
                    <a:pt x="38703" y="10287"/>
                    <a:pt x="36794" y="10668"/>
                  </a:cubicBezTo>
                  <a:cubicBezTo>
                    <a:pt x="38194" y="12065"/>
                    <a:pt x="39340" y="13589"/>
                    <a:pt x="39977" y="15367"/>
                  </a:cubicBezTo>
                  <a:cubicBezTo>
                    <a:pt x="40740" y="17145"/>
                    <a:pt x="40995" y="18923"/>
                    <a:pt x="40995" y="20955"/>
                  </a:cubicBezTo>
                  <a:cubicBezTo>
                    <a:pt x="40995" y="23876"/>
                    <a:pt x="40358" y="26416"/>
                    <a:pt x="38958" y="28575"/>
                  </a:cubicBezTo>
                  <a:cubicBezTo>
                    <a:pt x="37558" y="30734"/>
                    <a:pt x="35520" y="32512"/>
                    <a:pt x="32847" y="33782"/>
                  </a:cubicBezTo>
                  <a:cubicBezTo>
                    <a:pt x="30173" y="35052"/>
                    <a:pt x="26736" y="35687"/>
                    <a:pt x="22662" y="35687"/>
                  </a:cubicBezTo>
                  <a:lnTo>
                    <a:pt x="15532" y="35687"/>
                  </a:lnTo>
                  <a:cubicBezTo>
                    <a:pt x="14004" y="35687"/>
                    <a:pt x="12731" y="35941"/>
                    <a:pt x="11713" y="36576"/>
                  </a:cubicBezTo>
                  <a:cubicBezTo>
                    <a:pt x="10694" y="37211"/>
                    <a:pt x="10185" y="38100"/>
                    <a:pt x="10185" y="39497"/>
                  </a:cubicBezTo>
                  <a:cubicBezTo>
                    <a:pt x="10185" y="40640"/>
                    <a:pt x="10694" y="41529"/>
                    <a:pt x="11713" y="42291"/>
                  </a:cubicBezTo>
                  <a:cubicBezTo>
                    <a:pt x="12731" y="43053"/>
                    <a:pt x="14004" y="43307"/>
                    <a:pt x="15532" y="43307"/>
                  </a:cubicBezTo>
                  <a:lnTo>
                    <a:pt x="33993" y="43307"/>
                  </a:lnTo>
                  <a:cubicBezTo>
                    <a:pt x="37303" y="43307"/>
                    <a:pt x="40104" y="44450"/>
                    <a:pt x="42141" y="46609"/>
                  </a:cubicBezTo>
                  <a:cubicBezTo>
                    <a:pt x="44305" y="48768"/>
                    <a:pt x="45324" y="51689"/>
                    <a:pt x="45324" y="55118"/>
                  </a:cubicBezTo>
                  <a:cubicBezTo>
                    <a:pt x="45324" y="57531"/>
                    <a:pt x="44687" y="59817"/>
                    <a:pt x="43414" y="61849"/>
                  </a:cubicBezTo>
                  <a:cubicBezTo>
                    <a:pt x="42141" y="63881"/>
                    <a:pt x="40486" y="65405"/>
                    <a:pt x="38194" y="66548"/>
                  </a:cubicBezTo>
                  <a:cubicBezTo>
                    <a:pt x="36030" y="67691"/>
                    <a:pt x="33356" y="68326"/>
                    <a:pt x="30428" y="68326"/>
                  </a:cubicBezTo>
                  <a:lnTo>
                    <a:pt x="11840" y="68326"/>
                  </a:lnTo>
                  <a:close/>
                  <a:moveTo>
                    <a:pt x="14386" y="62738"/>
                  </a:moveTo>
                  <a:lnTo>
                    <a:pt x="30682" y="62738"/>
                  </a:lnTo>
                  <a:cubicBezTo>
                    <a:pt x="31956" y="62738"/>
                    <a:pt x="33229" y="62484"/>
                    <a:pt x="34375" y="61976"/>
                  </a:cubicBezTo>
                  <a:cubicBezTo>
                    <a:pt x="35520" y="61468"/>
                    <a:pt x="36284" y="60706"/>
                    <a:pt x="36921" y="59690"/>
                  </a:cubicBezTo>
                  <a:cubicBezTo>
                    <a:pt x="37558" y="58674"/>
                    <a:pt x="37812" y="57658"/>
                    <a:pt x="37812" y="56515"/>
                  </a:cubicBezTo>
                  <a:cubicBezTo>
                    <a:pt x="37812" y="54610"/>
                    <a:pt x="37176" y="52959"/>
                    <a:pt x="36030" y="51816"/>
                  </a:cubicBezTo>
                  <a:cubicBezTo>
                    <a:pt x="34884" y="50673"/>
                    <a:pt x="33483" y="50038"/>
                    <a:pt x="31701" y="50038"/>
                  </a:cubicBezTo>
                  <a:lnTo>
                    <a:pt x="14259" y="50038"/>
                  </a:lnTo>
                  <a:cubicBezTo>
                    <a:pt x="12477" y="50038"/>
                    <a:pt x="10821" y="50673"/>
                    <a:pt x="9549" y="51943"/>
                  </a:cubicBezTo>
                  <a:cubicBezTo>
                    <a:pt x="8275" y="53213"/>
                    <a:pt x="7639" y="54737"/>
                    <a:pt x="7639" y="56515"/>
                  </a:cubicBezTo>
                  <a:cubicBezTo>
                    <a:pt x="7639" y="58420"/>
                    <a:pt x="8275" y="59944"/>
                    <a:pt x="9549" y="61087"/>
                  </a:cubicBezTo>
                  <a:cubicBezTo>
                    <a:pt x="10821" y="62230"/>
                    <a:pt x="12350" y="62865"/>
                    <a:pt x="14259" y="62865"/>
                  </a:cubicBezTo>
                  <a:close/>
                  <a:moveTo>
                    <a:pt x="22662" y="30226"/>
                  </a:moveTo>
                  <a:cubicBezTo>
                    <a:pt x="26354" y="30226"/>
                    <a:pt x="29028" y="29464"/>
                    <a:pt x="30810" y="27813"/>
                  </a:cubicBezTo>
                  <a:cubicBezTo>
                    <a:pt x="32592" y="26162"/>
                    <a:pt x="33483" y="24003"/>
                    <a:pt x="33483" y="21209"/>
                  </a:cubicBezTo>
                  <a:cubicBezTo>
                    <a:pt x="33483" y="18415"/>
                    <a:pt x="32592" y="16256"/>
                    <a:pt x="30810" y="14605"/>
                  </a:cubicBezTo>
                  <a:cubicBezTo>
                    <a:pt x="29028" y="12954"/>
                    <a:pt x="26227" y="12192"/>
                    <a:pt x="22662" y="12192"/>
                  </a:cubicBezTo>
                  <a:cubicBezTo>
                    <a:pt x="19097" y="12192"/>
                    <a:pt x="16169" y="12954"/>
                    <a:pt x="14386" y="14605"/>
                  </a:cubicBezTo>
                  <a:cubicBezTo>
                    <a:pt x="12604" y="16256"/>
                    <a:pt x="11713" y="18415"/>
                    <a:pt x="11713" y="21209"/>
                  </a:cubicBezTo>
                  <a:cubicBezTo>
                    <a:pt x="11713" y="22987"/>
                    <a:pt x="12095" y="24511"/>
                    <a:pt x="12986" y="25908"/>
                  </a:cubicBezTo>
                  <a:cubicBezTo>
                    <a:pt x="13750" y="27305"/>
                    <a:pt x="15023" y="28321"/>
                    <a:pt x="16678" y="29083"/>
                  </a:cubicBezTo>
                  <a:cubicBezTo>
                    <a:pt x="18333" y="29845"/>
                    <a:pt x="20370" y="30226"/>
                    <a:pt x="22789" y="30226"/>
                  </a:cubicBezTo>
                  <a:close/>
                </a:path>
              </a:pathLst>
            </a:custGeom>
            <a:solidFill>
              <a:srgbClr val="1D4966"/>
            </a:solidFill>
            <a:ln w="0" cap="flat">
              <a:noFill/>
              <a:prstDash val="solid"/>
              <a:miter/>
            </a:ln>
          </p:spPr>
          <p:txBody>
            <a:bodyPr rtlCol="0" anchor="ctr"/>
            <a:lstStyle/>
            <a:p>
              <a:endParaRPr lang="en-AD" sz="2400"/>
            </a:p>
          </p:txBody>
        </p:sp>
        <p:sp>
          <p:nvSpPr>
            <p:cNvPr id="403" name="Freeform 402">
              <a:extLst>
                <a:ext uri="{FF2B5EF4-FFF2-40B4-BE49-F238E27FC236}">
                  <a16:creationId xmlns:a16="http://schemas.microsoft.com/office/drawing/2014/main" id="{C007ECA8-AFBC-3766-B28F-E35A9AB05652}"/>
                </a:ext>
              </a:extLst>
            </p:cNvPr>
            <p:cNvSpPr/>
            <p:nvPr/>
          </p:nvSpPr>
          <p:spPr>
            <a:xfrm>
              <a:off x="3321518" y="1600961"/>
              <a:ext cx="41122" cy="61086"/>
            </a:xfrm>
            <a:custGeom>
              <a:avLst/>
              <a:gdLst>
                <a:gd name="connsiteX0" fmla="*/ 8657 w 41122"/>
                <a:gd name="connsiteY0" fmla="*/ 60960 h 61086"/>
                <a:gd name="connsiteX1" fmla="*/ 5092 w 41122"/>
                <a:gd name="connsiteY1" fmla="*/ 60706 h 61086"/>
                <a:gd name="connsiteX2" fmla="*/ 3055 w 41122"/>
                <a:gd name="connsiteY2" fmla="*/ 60325 h 61086"/>
                <a:gd name="connsiteX3" fmla="*/ 3055 w 41122"/>
                <a:gd name="connsiteY3" fmla="*/ 54864 h 61086"/>
                <a:gd name="connsiteX4" fmla="*/ 6875 w 41122"/>
                <a:gd name="connsiteY4" fmla="*/ 54864 h 61086"/>
                <a:gd name="connsiteX5" fmla="*/ 10949 w 41122"/>
                <a:gd name="connsiteY5" fmla="*/ 53975 h 61086"/>
                <a:gd name="connsiteX6" fmla="*/ 14641 w 41122"/>
                <a:gd name="connsiteY6" fmla="*/ 51054 h 61086"/>
                <a:gd name="connsiteX7" fmla="*/ 17569 w 41122"/>
                <a:gd name="connsiteY7" fmla="*/ 45339 h 61086"/>
                <a:gd name="connsiteX8" fmla="*/ 0 w 41122"/>
                <a:gd name="connsiteY8" fmla="*/ 0 h 61086"/>
                <a:gd name="connsiteX9" fmla="*/ 7893 w 41122"/>
                <a:gd name="connsiteY9" fmla="*/ 0 h 61086"/>
                <a:gd name="connsiteX10" fmla="*/ 16933 w 41122"/>
                <a:gd name="connsiteY10" fmla="*/ 23368 h 61086"/>
                <a:gd name="connsiteX11" fmla="*/ 18333 w 41122"/>
                <a:gd name="connsiteY11" fmla="*/ 27432 h 61086"/>
                <a:gd name="connsiteX12" fmla="*/ 19988 w 41122"/>
                <a:gd name="connsiteY12" fmla="*/ 32258 h 61086"/>
                <a:gd name="connsiteX13" fmla="*/ 21389 w 41122"/>
                <a:gd name="connsiteY13" fmla="*/ 36703 h 61086"/>
                <a:gd name="connsiteX14" fmla="*/ 21898 w 41122"/>
                <a:gd name="connsiteY14" fmla="*/ 36703 h 61086"/>
                <a:gd name="connsiteX15" fmla="*/ 22789 w 41122"/>
                <a:gd name="connsiteY15" fmla="*/ 33655 h 61086"/>
                <a:gd name="connsiteX16" fmla="*/ 23808 w 41122"/>
                <a:gd name="connsiteY16" fmla="*/ 30099 h 61086"/>
                <a:gd name="connsiteX17" fmla="*/ 24954 w 41122"/>
                <a:gd name="connsiteY17" fmla="*/ 26543 h 61086"/>
                <a:gd name="connsiteX18" fmla="*/ 25845 w 41122"/>
                <a:gd name="connsiteY18" fmla="*/ 23622 h 61086"/>
                <a:gd name="connsiteX19" fmla="*/ 33484 w 41122"/>
                <a:gd name="connsiteY19" fmla="*/ 127 h 61086"/>
                <a:gd name="connsiteX20" fmla="*/ 41123 w 41122"/>
                <a:gd name="connsiteY20" fmla="*/ 127 h 61086"/>
                <a:gd name="connsiteX21" fmla="*/ 25717 w 41122"/>
                <a:gd name="connsiteY21" fmla="*/ 44196 h 61086"/>
                <a:gd name="connsiteX22" fmla="*/ 22916 w 41122"/>
                <a:gd name="connsiteY22" fmla="*/ 51054 h 61086"/>
                <a:gd name="connsiteX23" fmla="*/ 19479 w 41122"/>
                <a:gd name="connsiteY23" fmla="*/ 56388 h 61086"/>
                <a:gd name="connsiteX24" fmla="*/ 14896 w 41122"/>
                <a:gd name="connsiteY24" fmla="*/ 59817 h 61086"/>
                <a:gd name="connsiteX25" fmla="*/ 8530 w 41122"/>
                <a:gd name="connsiteY25" fmla="*/ 61087 h 6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122" h="61086">
                  <a:moveTo>
                    <a:pt x="8657" y="60960"/>
                  </a:moveTo>
                  <a:cubicBezTo>
                    <a:pt x="7257" y="60960"/>
                    <a:pt x="6111" y="60960"/>
                    <a:pt x="5092" y="60706"/>
                  </a:cubicBezTo>
                  <a:cubicBezTo>
                    <a:pt x="4074" y="60452"/>
                    <a:pt x="3437" y="60325"/>
                    <a:pt x="3055" y="60325"/>
                  </a:cubicBezTo>
                  <a:lnTo>
                    <a:pt x="3055" y="54864"/>
                  </a:lnTo>
                  <a:lnTo>
                    <a:pt x="6875" y="54864"/>
                  </a:lnTo>
                  <a:cubicBezTo>
                    <a:pt x="8275" y="54864"/>
                    <a:pt x="9549" y="54610"/>
                    <a:pt x="10949" y="53975"/>
                  </a:cubicBezTo>
                  <a:cubicBezTo>
                    <a:pt x="12222" y="53340"/>
                    <a:pt x="13495" y="52451"/>
                    <a:pt x="14641" y="51054"/>
                  </a:cubicBezTo>
                  <a:cubicBezTo>
                    <a:pt x="15787" y="49657"/>
                    <a:pt x="16806" y="47752"/>
                    <a:pt x="17569" y="45339"/>
                  </a:cubicBezTo>
                  <a:lnTo>
                    <a:pt x="0" y="0"/>
                  </a:lnTo>
                  <a:lnTo>
                    <a:pt x="7893" y="0"/>
                  </a:lnTo>
                  <a:lnTo>
                    <a:pt x="16933" y="23368"/>
                  </a:lnTo>
                  <a:cubicBezTo>
                    <a:pt x="17315" y="24511"/>
                    <a:pt x="17824" y="25781"/>
                    <a:pt x="18333" y="27432"/>
                  </a:cubicBezTo>
                  <a:cubicBezTo>
                    <a:pt x="18843" y="28956"/>
                    <a:pt x="19479" y="30607"/>
                    <a:pt x="19988" y="32258"/>
                  </a:cubicBezTo>
                  <a:cubicBezTo>
                    <a:pt x="20498" y="33909"/>
                    <a:pt x="21007" y="35433"/>
                    <a:pt x="21389" y="36703"/>
                  </a:cubicBezTo>
                  <a:lnTo>
                    <a:pt x="21898" y="36703"/>
                  </a:lnTo>
                  <a:cubicBezTo>
                    <a:pt x="22153" y="35814"/>
                    <a:pt x="22407" y="34798"/>
                    <a:pt x="22789" y="33655"/>
                  </a:cubicBezTo>
                  <a:cubicBezTo>
                    <a:pt x="23171" y="32512"/>
                    <a:pt x="23553" y="31369"/>
                    <a:pt x="23808" y="30099"/>
                  </a:cubicBezTo>
                  <a:cubicBezTo>
                    <a:pt x="24190" y="28829"/>
                    <a:pt x="24572" y="27686"/>
                    <a:pt x="24954" y="26543"/>
                  </a:cubicBezTo>
                  <a:cubicBezTo>
                    <a:pt x="25335" y="25400"/>
                    <a:pt x="25590" y="24384"/>
                    <a:pt x="25845" y="23622"/>
                  </a:cubicBezTo>
                  <a:lnTo>
                    <a:pt x="33484" y="127"/>
                  </a:lnTo>
                  <a:lnTo>
                    <a:pt x="41123" y="127"/>
                  </a:lnTo>
                  <a:lnTo>
                    <a:pt x="25717" y="44196"/>
                  </a:lnTo>
                  <a:cubicBezTo>
                    <a:pt x="24826" y="46609"/>
                    <a:pt x="23935" y="48895"/>
                    <a:pt x="22916" y="51054"/>
                  </a:cubicBezTo>
                  <a:cubicBezTo>
                    <a:pt x="21898" y="53213"/>
                    <a:pt x="20752" y="54991"/>
                    <a:pt x="19479" y="56388"/>
                  </a:cubicBezTo>
                  <a:cubicBezTo>
                    <a:pt x="18206" y="57912"/>
                    <a:pt x="16678" y="59055"/>
                    <a:pt x="14896" y="59817"/>
                  </a:cubicBezTo>
                  <a:cubicBezTo>
                    <a:pt x="13113" y="60706"/>
                    <a:pt x="10949" y="61087"/>
                    <a:pt x="8530" y="61087"/>
                  </a:cubicBezTo>
                  <a:close/>
                </a:path>
              </a:pathLst>
            </a:custGeom>
            <a:solidFill>
              <a:srgbClr val="1D4966"/>
            </a:solidFill>
            <a:ln w="0" cap="flat">
              <a:noFill/>
              <a:prstDash val="solid"/>
              <a:miter/>
            </a:ln>
          </p:spPr>
          <p:txBody>
            <a:bodyPr rtlCol="0" anchor="ctr"/>
            <a:lstStyle/>
            <a:p>
              <a:endParaRPr lang="en-AD" sz="2400"/>
            </a:p>
          </p:txBody>
        </p:sp>
        <p:sp>
          <p:nvSpPr>
            <p:cNvPr id="404" name="Freeform 403">
              <a:extLst>
                <a:ext uri="{FF2B5EF4-FFF2-40B4-BE49-F238E27FC236}">
                  <a16:creationId xmlns:a16="http://schemas.microsoft.com/office/drawing/2014/main" id="{DA9231CA-F367-22AA-85D7-17EF21812B9A}"/>
                </a:ext>
              </a:extLst>
            </p:cNvPr>
            <p:cNvSpPr/>
            <p:nvPr/>
          </p:nvSpPr>
          <p:spPr>
            <a:xfrm>
              <a:off x="3389886" y="1586991"/>
              <a:ext cx="51307" cy="59181"/>
            </a:xfrm>
            <a:custGeom>
              <a:avLst/>
              <a:gdLst>
                <a:gd name="connsiteX0" fmla="*/ 0 w 51307"/>
                <a:gd name="connsiteY0" fmla="*/ 59182 h 59181"/>
                <a:gd name="connsiteX1" fmla="*/ 0 w 51307"/>
                <a:gd name="connsiteY1" fmla="*/ 0 h 59181"/>
                <a:gd name="connsiteX2" fmla="*/ 31192 w 51307"/>
                <a:gd name="connsiteY2" fmla="*/ 0 h 59181"/>
                <a:gd name="connsiteX3" fmla="*/ 41250 w 51307"/>
                <a:gd name="connsiteY3" fmla="*/ 2159 h 59181"/>
                <a:gd name="connsiteX4" fmla="*/ 47234 w 51307"/>
                <a:gd name="connsiteY4" fmla="*/ 8255 h 59181"/>
                <a:gd name="connsiteX5" fmla="*/ 49271 w 51307"/>
                <a:gd name="connsiteY5" fmla="*/ 17272 h 59181"/>
                <a:gd name="connsiteX6" fmla="*/ 46470 w 51307"/>
                <a:gd name="connsiteY6" fmla="*/ 27813 h 59181"/>
                <a:gd name="connsiteX7" fmla="*/ 38831 w 51307"/>
                <a:gd name="connsiteY7" fmla="*/ 34163 h 59181"/>
                <a:gd name="connsiteX8" fmla="*/ 51308 w 51307"/>
                <a:gd name="connsiteY8" fmla="*/ 59182 h 59181"/>
                <a:gd name="connsiteX9" fmla="*/ 42268 w 51307"/>
                <a:gd name="connsiteY9" fmla="*/ 59182 h 59181"/>
                <a:gd name="connsiteX10" fmla="*/ 30683 w 51307"/>
                <a:gd name="connsiteY10" fmla="*/ 35687 h 59181"/>
                <a:gd name="connsiteX11" fmla="*/ 8148 w 51307"/>
                <a:gd name="connsiteY11" fmla="*/ 35687 h 59181"/>
                <a:gd name="connsiteX12" fmla="*/ 8148 w 51307"/>
                <a:gd name="connsiteY12" fmla="*/ 59182 h 59181"/>
                <a:gd name="connsiteX13" fmla="*/ 0 w 51307"/>
                <a:gd name="connsiteY13" fmla="*/ 59182 h 59181"/>
                <a:gd name="connsiteX14" fmla="*/ 8148 w 51307"/>
                <a:gd name="connsiteY14" fmla="*/ 28702 h 59181"/>
                <a:gd name="connsiteX15" fmla="*/ 30301 w 51307"/>
                <a:gd name="connsiteY15" fmla="*/ 28702 h 59181"/>
                <a:gd name="connsiteX16" fmla="*/ 38067 w 51307"/>
                <a:gd name="connsiteY16" fmla="*/ 25654 h 59181"/>
                <a:gd name="connsiteX17" fmla="*/ 40868 w 51307"/>
                <a:gd name="connsiteY17" fmla="*/ 17399 h 59181"/>
                <a:gd name="connsiteX18" fmla="*/ 39595 w 51307"/>
                <a:gd name="connsiteY18" fmla="*/ 11938 h 59181"/>
                <a:gd name="connsiteX19" fmla="*/ 36030 w 51307"/>
                <a:gd name="connsiteY19" fmla="*/ 8509 h 59181"/>
                <a:gd name="connsiteX20" fmla="*/ 30301 w 51307"/>
                <a:gd name="connsiteY20" fmla="*/ 7239 h 59181"/>
                <a:gd name="connsiteX21" fmla="*/ 8148 w 51307"/>
                <a:gd name="connsiteY21" fmla="*/ 7239 h 59181"/>
                <a:gd name="connsiteX22" fmla="*/ 8148 w 51307"/>
                <a:gd name="connsiteY22" fmla="*/ 28829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07" h="59181">
                  <a:moveTo>
                    <a:pt x="0" y="59182"/>
                  </a:moveTo>
                  <a:lnTo>
                    <a:pt x="0" y="0"/>
                  </a:lnTo>
                  <a:lnTo>
                    <a:pt x="31192" y="0"/>
                  </a:lnTo>
                  <a:cubicBezTo>
                    <a:pt x="35266" y="0"/>
                    <a:pt x="38576" y="762"/>
                    <a:pt x="41250" y="2159"/>
                  </a:cubicBezTo>
                  <a:cubicBezTo>
                    <a:pt x="43924" y="3556"/>
                    <a:pt x="45961" y="5715"/>
                    <a:pt x="47234" y="8255"/>
                  </a:cubicBezTo>
                  <a:cubicBezTo>
                    <a:pt x="48507" y="10922"/>
                    <a:pt x="49271" y="13843"/>
                    <a:pt x="49271" y="17272"/>
                  </a:cubicBezTo>
                  <a:cubicBezTo>
                    <a:pt x="49271" y="21336"/>
                    <a:pt x="48380" y="24892"/>
                    <a:pt x="46470" y="27813"/>
                  </a:cubicBezTo>
                  <a:cubicBezTo>
                    <a:pt x="44687" y="30734"/>
                    <a:pt x="42141" y="32893"/>
                    <a:pt x="38831" y="34163"/>
                  </a:cubicBezTo>
                  <a:lnTo>
                    <a:pt x="51308" y="59182"/>
                  </a:lnTo>
                  <a:lnTo>
                    <a:pt x="42268" y="59182"/>
                  </a:lnTo>
                  <a:lnTo>
                    <a:pt x="30683" y="35687"/>
                  </a:lnTo>
                  <a:lnTo>
                    <a:pt x="8148" y="35687"/>
                  </a:lnTo>
                  <a:lnTo>
                    <a:pt x="8148" y="59182"/>
                  </a:lnTo>
                  <a:lnTo>
                    <a:pt x="0" y="59182"/>
                  </a:lnTo>
                  <a:close/>
                  <a:moveTo>
                    <a:pt x="8148" y="28702"/>
                  </a:moveTo>
                  <a:lnTo>
                    <a:pt x="30301" y="28702"/>
                  </a:lnTo>
                  <a:cubicBezTo>
                    <a:pt x="33611" y="28702"/>
                    <a:pt x="36157" y="27686"/>
                    <a:pt x="38067" y="25654"/>
                  </a:cubicBezTo>
                  <a:cubicBezTo>
                    <a:pt x="39977" y="23622"/>
                    <a:pt x="40868" y="20828"/>
                    <a:pt x="40868" y="17399"/>
                  </a:cubicBezTo>
                  <a:cubicBezTo>
                    <a:pt x="40868" y="15240"/>
                    <a:pt x="40486" y="13335"/>
                    <a:pt x="39595" y="11938"/>
                  </a:cubicBezTo>
                  <a:cubicBezTo>
                    <a:pt x="38831" y="10414"/>
                    <a:pt x="37558" y="9271"/>
                    <a:pt x="36030" y="8509"/>
                  </a:cubicBezTo>
                  <a:cubicBezTo>
                    <a:pt x="34502" y="7620"/>
                    <a:pt x="32592" y="7239"/>
                    <a:pt x="30301" y="7239"/>
                  </a:cubicBezTo>
                  <a:lnTo>
                    <a:pt x="8148" y="7239"/>
                  </a:lnTo>
                  <a:lnTo>
                    <a:pt x="8148" y="28829"/>
                  </a:lnTo>
                  <a:close/>
                </a:path>
              </a:pathLst>
            </a:custGeom>
            <a:solidFill>
              <a:srgbClr val="1D4966"/>
            </a:solidFill>
            <a:ln w="0" cap="flat">
              <a:noFill/>
              <a:prstDash val="solid"/>
              <a:miter/>
            </a:ln>
          </p:spPr>
          <p:txBody>
            <a:bodyPr rtlCol="0" anchor="ctr"/>
            <a:lstStyle/>
            <a:p>
              <a:endParaRPr lang="en-AD" sz="2400"/>
            </a:p>
          </p:txBody>
        </p:sp>
        <p:sp>
          <p:nvSpPr>
            <p:cNvPr id="405" name="Freeform 404">
              <a:extLst>
                <a:ext uri="{FF2B5EF4-FFF2-40B4-BE49-F238E27FC236}">
                  <a16:creationId xmlns:a16="http://schemas.microsoft.com/office/drawing/2014/main" id="{AC87C393-4A0B-F608-0D7A-D185C29593AB}"/>
                </a:ext>
              </a:extLst>
            </p:cNvPr>
            <p:cNvSpPr/>
            <p:nvPr/>
          </p:nvSpPr>
          <p:spPr>
            <a:xfrm>
              <a:off x="3447304" y="1599819"/>
              <a:ext cx="40485" cy="47370"/>
            </a:xfrm>
            <a:custGeom>
              <a:avLst/>
              <a:gdLst>
                <a:gd name="connsiteX0" fmla="*/ 20752 w 40485"/>
                <a:gd name="connsiteY0" fmla="*/ 47371 h 47370"/>
                <a:gd name="connsiteX1" fmla="*/ 9421 w 40485"/>
                <a:gd name="connsiteY1" fmla="*/ 44831 h 47370"/>
                <a:gd name="connsiteX2" fmla="*/ 2419 w 40485"/>
                <a:gd name="connsiteY2" fmla="*/ 37084 h 47370"/>
                <a:gd name="connsiteX3" fmla="*/ 0 w 40485"/>
                <a:gd name="connsiteY3" fmla="*/ 23749 h 47370"/>
                <a:gd name="connsiteX4" fmla="*/ 2419 w 40485"/>
                <a:gd name="connsiteY4" fmla="*/ 10287 h 47370"/>
                <a:gd name="connsiteX5" fmla="*/ 9421 w 40485"/>
                <a:gd name="connsiteY5" fmla="*/ 2540 h 47370"/>
                <a:gd name="connsiteX6" fmla="*/ 21134 w 40485"/>
                <a:gd name="connsiteY6" fmla="*/ 0 h 47370"/>
                <a:gd name="connsiteX7" fmla="*/ 31829 w 40485"/>
                <a:gd name="connsiteY7" fmla="*/ 2413 h 47370"/>
                <a:gd name="connsiteX8" fmla="*/ 38322 w 40485"/>
                <a:gd name="connsiteY8" fmla="*/ 9779 h 47370"/>
                <a:gd name="connsiteX9" fmla="*/ 40486 w 40485"/>
                <a:gd name="connsiteY9" fmla="*/ 21971 h 47370"/>
                <a:gd name="connsiteX10" fmla="*/ 40486 w 40485"/>
                <a:gd name="connsiteY10" fmla="*/ 25654 h 47370"/>
                <a:gd name="connsiteX11" fmla="*/ 7766 w 40485"/>
                <a:gd name="connsiteY11" fmla="*/ 25654 h 47370"/>
                <a:gd name="connsiteX12" fmla="*/ 9421 w 40485"/>
                <a:gd name="connsiteY12" fmla="*/ 34544 h 47370"/>
                <a:gd name="connsiteX13" fmla="*/ 13750 w 40485"/>
                <a:gd name="connsiteY13" fmla="*/ 39624 h 47370"/>
                <a:gd name="connsiteX14" fmla="*/ 20879 w 40485"/>
                <a:gd name="connsiteY14" fmla="*/ 41275 h 47370"/>
                <a:gd name="connsiteX15" fmla="*/ 25972 w 40485"/>
                <a:gd name="connsiteY15" fmla="*/ 40513 h 47370"/>
                <a:gd name="connsiteX16" fmla="*/ 29664 w 40485"/>
                <a:gd name="connsiteY16" fmla="*/ 38354 h 47370"/>
                <a:gd name="connsiteX17" fmla="*/ 31956 w 40485"/>
                <a:gd name="connsiteY17" fmla="*/ 35052 h 47370"/>
                <a:gd name="connsiteX18" fmla="*/ 32847 w 40485"/>
                <a:gd name="connsiteY18" fmla="*/ 30861 h 47370"/>
                <a:gd name="connsiteX19" fmla="*/ 40231 w 40485"/>
                <a:gd name="connsiteY19" fmla="*/ 30861 h 47370"/>
                <a:gd name="connsiteX20" fmla="*/ 38831 w 40485"/>
                <a:gd name="connsiteY20" fmla="*/ 37592 h 47370"/>
                <a:gd name="connsiteX21" fmla="*/ 35011 w 40485"/>
                <a:gd name="connsiteY21" fmla="*/ 42799 h 47370"/>
                <a:gd name="connsiteX22" fmla="*/ 28900 w 40485"/>
                <a:gd name="connsiteY22" fmla="*/ 46101 h 47370"/>
                <a:gd name="connsiteX23" fmla="*/ 20625 w 40485"/>
                <a:gd name="connsiteY23" fmla="*/ 47371 h 47370"/>
                <a:gd name="connsiteX24" fmla="*/ 8021 w 40485"/>
                <a:gd name="connsiteY24" fmla="*/ 19939 h 47370"/>
                <a:gd name="connsiteX25" fmla="*/ 32592 w 40485"/>
                <a:gd name="connsiteY25" fmla="*/ 19939 h 47370"/>
                <a:gd name="connsiteX26" fmla="*/ 31701 w 40485"/>
                <a:gd name="connsiteY26" fmla="*/ 13589 h 47370"/>
                <a:gd name="connsiteX27" fmla="*/ 29282 w 40485"/>
                <a:gd name="connsiteY27" fmla="*/ 9398 h 47370"/>
                <a:gd name="connsiteX28" fmla="*/ 25590 w 40485"/>
                <a:gd name="connsiteY28" fmla="*/ 6985 h 47370"/>
                <a:gd name="connsiteX29" fmla="*/ 20752 w 40485"/>
                <a:gd name="connsiteY29" fmla="*/ 6223 h 47370"/>
                <a:gd name="connsiteX30" fmla="*/ 14005 w 40485"/>
                <a:gd name="connsiteY30" fmla="*/ 7747 h 47370"/>
                <a:gd name="connsiteX31" fmla="*/ 9803 w 40485"/>
                <a:gd name="connsiteY31" fmla="*/ 12192 h 47370"/>
                <a:gd name="connsiteX32" fmla="*/ 8021 w 40485"/>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5" h="47370">
                  <a:moveTo>
                    <a:pt x="20752" y="47371"/>
                  </a:moveTo>
                  <a:cubicBezTo>
                    <a:pt x="16296" y="47371"/>
                    <a:pt x="12477" y="46482"/>
                    <a:pt x="9421"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1" y="2540"/>
                  </a:cubicBezTo>
                  <a:cubicBezTo>
                    <a:pt x="12477" y="889"/>
                    <a:pt x="16424" y="0"/>
                    <a:pt x="21134" y="0"/>
                  </a:cubicBezTo>
                  <a:cubicBezTo>
                    <a:pt x="25335"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1" y="34544"/>
                  </a:cubicBezTo>
                  <a:cubicBezTo>
                    <a:pt x="10312" y="36830"/>
                    <a:pt x="11840" y="38608"/>
                    <a:pt x="13750" y="39624"/>
                  </a:cubicBezTo>
                  <a:cubicBezTo>
                    <a:pt x="15660" y="40640"/>
                    <a:pt x="18078" y="41275"/>
                    <a:pt x="20879"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19" y="45339"/>
                    <a:pt x="28900" y="46101"/>
                  </a:cubicBezTo>
                  <a:cubicBezTo>
                    <a:pt x="26481" y="46863"/>
                    <a:pt x="23680" y="47371"/>
                    <a:pt x="20625" y="47371"/>
                  </a:cubicBezTo>
                  <a:close/>
                  <a:moveTo>
                    <a:pt x="8021" y="19939"/>
                  </a:moveTo>
                  <a:lnTo>
                    <a:pt x="32592" y="19939"/>
                  </a:lnTo>
                  <a:cubicBezTo>
                    <a:pt x="32592" y="17399"/>
                    <a:pt x="32338" y="15240"/>
                    <a:pt x="31701" y="13589"/>
                  </a:cubicBezTo>
                  <a:cubicBezTo>
                    <a:pt x="31065" y="11811"/>
                    <a:pt x="30301" y="10414"/>
                    <a:pt x="29282" y="9398"/>
                  </a:cubicBezTo>
                  <a:cubicBezTo>
                    <a:pt x="28264" y="8255"/>
                    <a:pt x="26991" y="7493"/>
                    <a:pt x="25590" y="6985"/>
                  </a:cubicBezTo>
                  <a:cubicBezTo>
                    <a:pt x="24190" y="6477"/>
                    <a:pt x="22535" y="6223"/>
                    <a:pt x="20752" y="6223"/>
                  </a:cubicBezTo>
                  <a:cubicBezTo>
                    <a:pt x="18078" y="6223"/>
                    <a:pt x="15914" y="6731"/>
                    <a:pt x="14005" y="7747"/>
                  </a:cubicBezTo>
                  <a:cubicBezTo>
                    <a:pt x="12222" y="8763"/>
                    <a:pt x="10694" y="10160"/>
                    <a:pt x="9803" y="12192"/>
                  </a:cubicBezTo>
                  <a:cubicBezTo>
                    <a:pt x="8785" y="14224"/>
                    <a:pt x="8275" y="16764"/>
                    <a:pt x="8021" y="19939"/>
                  </a:cubicBezTo>
                  <a:close/>
                </a:path>
              </a:pathLst>
            </a:custGeom>
            <a:solidFill>
              <a:srgbClr val="1D4966"/>
            </a:solidFill>
            <a:ln w="0" cap="flat">
              <a:noFill/>
              <a:prstDash val="solid"/>
              <a:miter/>
            </a:ln>
          </p:spPr>
          <p:txBody>
            <a:bodyPr rtlCol="0" anchor="ctr"/>
            <a:lstStyle/>
            <a:p>
              <a:endParaRPr lang="en-AD" sz="2400"/>
            </a:p>
          </p:txBody>
        </p:sp>
        <p:sp>
          <p:nvSpPr>
            <p:cNvPr id="406" name="Freeform 405">
              <a:extLst>
                <a:ext uri="{FF2B5EF4-FFF2-40B4-BE49-F238E27FC236}">
                  <a16:creationId xmlns:a16="http://schemas.microsoft.com/office/drawing/2014/main" id="{FE684C9D-AE70-7B30-CEAE-D3B880C2F15F}"/>
                </a:ext>
              </a:extLst>
            </p:cNvPr>
            <p:cNvSpPr/>
            <p:nvPr/>
          </p:nvSpPr>
          <p:spPr>
            <a:xfrm>
              <a:off x="3493774" y="1599946"/>
              <a:ext cx="37557" cy="47624"/>
            </a:xfrm>
            <a:custGeom>
              <a:avLst/>
              <a:gdLst>
                <a:gd name="connsiteX0" fmla="*/ 18843 w 37557"/>
                <a:gd name="connsiteY0" fmla="*/ 47244 h 47624"/>
                <a:gd name="connsiteX1" fmla="*/ 10694 w 37557"/>
                <a:gd name="connsiteY1" fmla="*/ 46355 h 47624"/>
                <a:gd name="connsiteX2" fmla="*/ 4838 w 37557"/>
                <a:gd name="connsiteY2" fmla="*/ 43561 h 47624"/>
                <a:gd name="connsiteX3" fmla="*/ 1273 w 37557"/>
                <a:gd name="connsiteY3" fmla="*/ 39243 h 47624"/>
                <a:gd name="connsiteX4" fmla="*/ 0 w 37557"/>
                <a:gd name="connsiteY4" fmla="*/ 33528 h 47624"/>
                <a:gd name="connsiteX5" fmla="*/ 0 w 37557"/>
                <a:gd name="connsiteY5" fmla="*/ 32766 h 47624"/>
                <a:gd name="connsiteX6" fmla="*/ 0 w 37557"/>
                <a:gd name="connsiteY6" fmla="*/ 32131 h 47624"/>
                <a:gd name="connsiteX7" fmla="*/ 7512 w 37557"/>
                <a:gd name="connsiteY7" fmla="*/ 32131 h 47624"/>
                <a:gd name="connsiteX8" fmla="*/ 7512 w 37557"/>
                <a:gd name="connsiteY8" fmla="*/ 32766 h 47624"/>
                <a:gd name="connsiteX9" fmla="*/ 7512 w 37557"/>
                <a:gd name="connsiteY9" fmla="*/ 33274 h 47624"/>
                <a:gd name="connsiteX10" fmla="*/ 9167 w 37557"/>
                <a:gd name="connsiteY10" fmla="*/ 37973 h 47624"/>
                <a:gd name="connsiteX11" fmla="*/ 13368 w 37557"/>
                <a:gd name="connsiteY11" fmla="*/ 40386 h 47624"/>
                <a:gd name="connsiteX12" fmla="*/ 19352 w 37557"/>
                <a:gd name="connsiteY12" fmla="*/ 41021 h 47624"/>
                <a:gd name="connsiteX13" fmla="*/ 24572 w 37557"/>
                <a:gd name="connsiteY13" fmla="*/ 40259 h 47624"/>
                <a:gd name="connsiteX14" fmla="*/ 28391 w 37557"/>
                <a:gd name="connsiteY14" fmla="*/ 37973 h 47624"/>
                <a:gd name="connsiteX15" fmla="*/ 29792 w 37557"/>
                <a:gd name="connsiteY15" fmla="*/ 34163 h 47624"/>
                <a:gd name="connsiteX16" fmla="*/ 27882 w 37557"/>
                <a:gd name="connsiteY16" fmla="*/ 29845 h 47624"/>
                <a:gd name="connsiteX17" fmla="*/ 23044 w 37557"/>
                <a:gd name="connsiteY17" fmla="*/ 27432 h 47624"/>
                <a:gd name="connsiteX18" fmla="*/ 16678 w 37557"/>
                <a:gd name="connsiteY18" fmla="*/ 25654 h 47624"/>
                <a:gd name="connsiteX19" fmla="*/ 11204 w 37557"/>
                <a:gd name="connsiteY19" fmla="*/ 23876 h 47624"/>
                <a:gd name="connsiteX20" fmla="*/ 6238 w 37557"/>
                <a:gd name="connsiteY20" fmla="*/ 21590 h 47624"/>
                <a:gd name="connsiteX21" fmla="*/ 2673 w 37557"/>
                <a:gd name="connsiteY21" fmla="*/ 18034 h 47624"/>
                <a:gd name="connsiteX22" fmla="*/ 1273 w 37557"/>
                <a:gd name="connsiteY22" fmla="*/ 12446 h 47624"/>
                <a:gd name="connsiteX23" fmla="*/ 2546 w 37557"/>
                <a:gd name="connsiteY23" fmla="*/ 7112 h 47624"/>
                <a:gd name="connsiteX24" fmla="*/ 6111 w 37557"/>
                <a:gd name="connsiteY24" fmla="*/ 3175 h 47624"/>
                <a:gd name="connsiteX25" fmla="*/ 11713 w 37557"/>
                <a:gd name="connsiteY25" fmla="*/ 762 h 47624"/>
                <a:gd name="connsiteX26" fmla="*/ 19097 w 37557"/>
                <a:gd name="connsiteY26" fmla="*/ 0 h 47624"/>
                <a:gd name="connsiteX27" fmla="*/ 26609 w 37557"/>
                <a:gd name="connsiteY27" fmla="*/ 889 h 47624"/>
                <a:gd name="connsiteX28" fmla="*/ 31956 w 37557"/>
                <a:gd name="connsiteY28" fmla="*/ 3556 h 47624"/>
                <a:gd name="connsiteX29" fmla="*/ 35139 w 37557"/>
                <a:gd name="connsiteY29" fmla="*/ 7493 h 47624"/>
                <a:gd name="connsiteX30" fmla="*/ 36157 w 37557"/>
                <a:gd name="connsiteY30" fmla="*/ 12192 h 47624"/>
                <a:gd name="connsiteX31" fmla="*/ 36157 w 37557"/>
                <a:gd name="connsiteY31" fmla="*/ 13208 h 47624"/>
                <a:gd name="connsiteX32" fmla="*/ 36157 w 37557"/>
                <a:gd name="connsiteY32" fmla="*/ 13970 h 47624"/>
                <a:gd name="connsiteX33" fmla="*/ 28773 w 37557"/>
                <a:gd name="connsiteY33" fmla="*/ 13970 h 47624"/>
                <a:gd name="connsiteX34" fmla="*/ 28773 w 37557"/>
                <a:gd name="connsiteY34" fmla="*/ 13081 h 47624"/>
                <a:gd name="connsiteX35" fmla="*/ 27882 w 37557"/>
                <a:gd name="connsiteY35" fmla="*/ 9779 h 47624"/>
                <a:gd name="connsiteX36" fmla="*/ 24826 w 37557"/>
                <a:gd name="connsiteY36" fmla="*/ 7239 h 47624"/>
                <a:gd name="connsiteX37" fmla="*/ 18715 w 37557"/>
                <a:gd name="connsiteY37" fmla="*/ 6223 h 47624"/>
                <a:gd name="connsiteX38" fmla="*/ 14387 w 37557"/>
                <a:gd name="connsiteY38" fmla="*/ 6604 h 47624"/>
                <a:gd name="connsiteX39" fmla="*/ 11331 w 37557"/>
                <a:gd name="connsiteY39" fmla="*/ 7874 h 47624"/>
                <a:gd name="connsiteX40" fmla="*/ 9549 w 37557"/>
                <a:gd name="connsiteY40" fmla="*/ 9779 h 47624"/>
                <a:gd name="connsiteX41" fmla="*/ 8912 w 37557"/>
                <a:gd name="connsiteY41" fmla="*/ 12192 h 47624"/>
                <a:gd name="connsiteX42" fmla="*/ 10440 w 37557"/>
                <a:gd name="connsiteY42" fmla="*/ 15621 h 47624"/>
                <a:gd name="connsiteX43" fmla="*/ 14387 w 37557"/>
                <a:gd name="connsiteY43" fmla="*/ 17653 h 47624"/>
                <a:gd name="connsiteX44" fmla="*/ 19734 w 37557"/>
                <a:gd name="connsiteY44" fmla="*/ 19431 h 47624"/>
                <a:gd name="connsiteX45" fmla="*/ 25972 w 37557"/>
                <a:gd name="connsiteY45" fmla="*/ 21209 h 47624"/>
                <a:gd name="connsiteX46" fmla="*/ 31701 w 37557"/>
                <a:gd name="connsiteY46" fmla="*/ 23495 h 47624"/>
                <a:gd name="connsiteX47" fmla="*/ 35903 w 37557"/>
                <a:gd name="connsiteY47" fmla="*/ 27305 h 47624"/>
                <a:gd name="connsiteX48" fmla="*/ 37558 w 37557"/>
                <a:gd name="connsiteY48" fmla="*/ 33528 h 47624"/>
                <a:gd name="connsiteX49" fmla="*/ 36157 w 37557"/>
                <a:gd name="connsiteY49" fmla="*/ 39878 h 47624"/>
                <a:gd name="connsiteX50" fmla="*/ 32211 w 37557"/>
                <a:gd name="connsiteY50" fmla="*/ 44323 h 47624"/>
                <a:gd name="connsiteX51" fmla="*/ 26227 w 37557"/>
                <a:gd name="connsiteY51" fmla="*/ 46863 h 47624"/>
                <a:gd name="connsiteX52" fmla="*/ 18715 w 37557"/>
                <a:gd name="connsiteY52" fmla="*/ 47625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557" h="47624">
                  <a:moveTo>
                    <a:pt x="18843" y="47244"/>
                  </a:moveTo>
                  <a:cubicBezTo>
                    <a:pt x="15787" y="47244"/>
                    <a:pt x="12986" y="46990"/>
                    <a:pt x="10694" y="46355"/>
                  </a:cubicBezTo>
                  <a:cubicBezTo>
                    <a:pt x="8275" y="45720"/>
                    <a:pt x="6366" y="44831"/>
                    <a:pt x="4838" y="43561"/>
                  </a:cubicBezTo>
                  <a:cubicBezTo>
                    <a:pt x="3310" y="42291"/>
                    <a:pt x="2165" y="40894"/>
                    <a:pt x="1273" y="39243"/>
                  </a:cubicBezTo>
                  <a:cubicBezTo>
                    <a:pt x="509" y="37592"/>
                    <a:pt x="0" y="35687"/>
                    <a:pt x="0" y="33528"/>
                  </a:cubicBezTo>
                  <a:lnTo>
                    <a:pt x="0" y="32766"/>
                  </a:lnTo>
                  <a:cubicBezTo>
                    <a:pt x="0" y="32766"/>
                    <a:pt x="0" y="32258"/>
                    <a:pt x="0" y="32131"/>
                  </a:cubicBezTo>
                  <a:lnTo>
                    <a:pt x="7512" y="32131"/>
                  </a:lnTo>
                  <a:cubicBezTo>
                    <a:pt x="7512" y="32131"/>
                    <a:pt x="7512" y="32512"/>
                    <a:pt x="7512" y="32766"/>
                  </a:cubicBezTo>
                  <a:lnTo>
                    <a:pt x="7512" y="33274"/>
                  </a:lnTo>
                  <a:cubicBezTo>
                    <a:pt x="7512" y="35306"/>
                    <a:pt x="8148" y="36830"/>
                    <a:pt x="9167" y="37973"/>
                  </a:cubicBezTo>
                  <a:cubicBezTo>
                    <a:pt x="10185" y="39116"/>
                    <a:pt x="11586" y="39878"/>
                    <a:pt x="13368" y="40386"/>
                  </a:cubicBezTo>
                  <a:cubicBezTo>
                    <a:pt x="15150" y="40894"/>
                    <a:pt x="17188" y="41021"/>
                    <a:pt x="19352" y="41021"/>
                  </a:cubicBezTo>
                  <a:cubicBezTo>
                    <a:pt x="21262" y="41021"/>
                    <a:pt x="23044" y="40767"/>
                    <a:pt x="24572" y="40259"/>
                  </a:cubicBezTo>
                  <a:cubicBezTo>
                    <a:pt x="26227" y="39751"/>
                    <a:pt x="27500" y="38989"/>
                    <a:pt x="28391" y="37973"/>
                  </a:cubicBezTo>
                  <a:cubicBezTo>
                    <a:pt x="29282" y="36957"/>
                    <a:pt x="29792" y="35687"/>
                    <a:pt x="29792" y="34163"/>
                  </a:cubicBezTo>
                  <a:cubicBezTo>
                    <a:pt x="29792" y="32258"/>
                    <a:pt x="29155" y="30861"/>
                    <a:pt x="27882" y="29845"/>
                  </a:cubicBezTo>
                  <a:cubicBezTo>
                    <a:pt x="26609" y="28829"/>
                    <a:pt x="24954" y="28067"/>
                    <a:pt x="23044" y="27432"/>
                  </a:cubicBezTo>
                  <a:cubicBezTo>
                    <a:pt x="21007" y="26797"/>
                    <a:pt x="18970" y="26289"/>
                    <a:pt x="16678" y="25654"/>
                  </a:cubicBezTo>
                  <a:cubicBezTo>
                    <a:pt x="14896" y="25146"/>
                    <a:pt x="12986" y="24511"/>
                    <a:pt x="11204" y="23876"/>
                  </a:cubicBezTo>
                  <a:cubicBezTo>
                    <a:pt x="9421" y="23241"/>
                    <a:pt x="7766" y="22479"/>
                    <a:pt x="6238" y="21590"/>
                  </a:cubicBezTo>
                  <a:cubicBezTo>
                    <a:pt x="4711" y="20701"/>
                    <a:pt x="3565" y="19431"/>
                    <a:pt x="2673" y="18034"/>
                  </a:cubicBezTo>
                  <a:cubicBezTo>
                    <a:pt x="1783" y="16510"/>
                    <a:pt x="1273" y="14732"/>
                    <a:pt x="1273" y="12446"/>
                  </a:cubicBezTo>
                  <a:cubicBezTo>
                    <a:pt x="1273" y="10414"/>
                    <a:pt x="1655" y="8636"/>
                    <a:pt x="2546" y="7112"/>
                  </a:cubicBezTo>
                  <a:cubicBezTo>
                    <a:pt x="3437" y="5588"/>
                    <a:pt x="4584" y="4191"/>
                    <a:pt x="6111" y="3175"/>
                  </a:cubicBezTo>
                  <a:cubicBezTo>
                    <a:pt x="7639" y="2032"/>
                    <a:pt x="9549" y="1270"/>
                    <a:pt x="11713" y="762"/>
                  </a:cubicBezTo>
                  <a:cubicBezTo>
                    <a:pt x="13877" y="254"/>
                    <a:pt x="16424" y="0"/>
                    <a:pt x="19097" y="0"/>
                  </a:cubicBezTo>
                  <a:cubicBezTo>
                    <a:pt x="22026" y="0"/>
                    <a:pt x="24445" y="254"/>
                    <a:pt x="26609" y="889"/>
                  </a:cubicBezTo>
                  <a:cubicBezTo>
                    <a:pt x="28773" y="1524"/>
                    <a:pt x="30555" y="2413"/>
                    <a:pt x="31956" y="3556"/>
                  </a:cubicBezTo>
                  <a:cubicBezTo>
                    <a:pt x="33356" y="4699"/>
                    <a:pt x="34502" y="5969"/>
                    <a:pt x="35139" y="7493"/>
                  </a:cubicBezTo>
                  <a:cubicBezTo>
                    <a:pt x="35775" y="9017"/>
                    <a:pt x="36157" y="10541"/>
                    <a:pt x="36157" y="12192"/>
                  </a:cubicBezTo>
                  <a:lnTo>
                    <a:pt x="36157" y="13208"/>
                  </a:lnTo>
                  <a:cubicBezTo>
                    <a:pt x="36157" y="13208"/>
                    <a:pt x="36157" y="13716"/>
                    <a:pt x="36157" y="13970"/>
                  </a:cubicBezTo>
                  <a:lnTo>
                    <a:pt x="28773" y="13970"/>
                  </a:lnTo>
                  <a:lnTo>
                    <a:pt x="28773" y="13081"/>
                  </a:lnTo>
                  <a:cubicBezTo>
                    <a:pt x="28773" y="11938"/>
                    <a:pt x="28518" y="10795"/>
                    <a:pt x="27882" y="9779"/>
                  </a:cubicBezTo>
                  <a:cubicBezTo>
                    <a:pt x="27245" y="8763"/>
                    <a:pt x="26227" y="7874"/>
                    <a:pt x="24826" y="7239"/>
                  </a:cubicBezTo>
                  <a:cubicBezTo>
                    <a:pt x="23299" y="6604"/>
                    <a:pt x="21389" y="6223"/>
                    <a:pt x="18715" y="6223"/>
                  </a:cubicBezTo>
                  <a:cubicBezTo>
                    <a:pt x="17060" y="6223"/>
                    <a:pt x="15660" y="6350"/>
                    <a:pt x="14387" y="6604"/>
                  </a:cubicBezTo>
                  <a:cubicBezTo>
                    <a:pt x="13113" y="6858"/>
                    <a:pt x="12222" y="7239"/>
                    <a:pt x="11331" y="7874"/>
                  </a:cubicBezTo>
                  <a:cubicBezTo>
                    <a:pt x="10567" y="8382"/>
                    <a:pt x="9931" y="9017"/>
                    <a:pt x="9549" y="9779"/>
                  </a:cubicBezTo>
                  <a:cubicBezTo>
                    <a:pt x="9167" y="10541"/>
                    <a:pt x="8912" y="11303"/>
                    <a:pt x="8912" y="12192"/>
                  </a:cubicBezTo>
                  <a:cubicBezTo>
                    <a:pt x="8912" y="13716"/>
                    <a:pt x="9421" y="14859"/>
                    <a:pt x="10440" y="15621"/>
                  </a:cubicBezTo>
                  <a:cubicBezTo>
                    <a:pt x="11458" y="16383"/>
                    <a:pt x="12731" y="17145"/>
                    <a:pt x="14387" y="17653"/>
                  </a:cubicBezTo>
                  <a:cubicBezTo>
                    <a:pt x="16042" y="18161"/>
                    <a:pt x="17824" y="18796"/>
                    <a:pt x="19734" y="19431"/>
                  </a:cubicBezTo>
                  <a:cubicBezTo>
                    <a:pt x="21771" y="20066"/>
                    <a:pt x="23808" y="20574"/>
                    <a:pt x="25972" y="21209"/>
                  </a:cubicBezTo>
                  <a:cubicBezTo>
                    <a:pt x="28136" y="21844"/>
                    <a:pt x="30046" y="22606"/>
                    <a:pt x="31701" y="23495"/>
                  </a:cubicBezTo>
                  <a:cubicBezTo>
                    <a:pt x="33484" y="24384"/>
                    <a:pt x="34884" y="25654"/>
                    <a:pt x="35903" y="27305"/>
                  </a:cubicBezTo>
                  <a:cubicBezTo>
                    <a:pt x="36921" y="28829"/>
                    <a:pt x="37558" y="30988"/>
                    <a:pt x="37558" y="33528"/>
                  </a:cubicBezTo>
                  <a:cubicBezTo>
                    <a:pt x="37558" y="35941"/>
                    <a:pt x="37049" y="38100"/>
                    <a:pt x="36157" y="39878"/>
                  </a:cubicBezTo>
                  <a:cubicBezTo>
                    <a:pt x="35266" y="41656"/>
                    <a:pt x="33866" y="43180"/>
                    <a:pt x="32211" y="44323"/>
                  </a:cubicBezTo>
                  <a:cubicBezTo>
                    <a:pt x="30555" y="45466"/>
                    <a:pt x="28518" y="46355"/>
                    <a:pt x="26227" y="46863"/>
                  </a:cubicBezTo>
                  <a:cubicBezTo>
                    <a:pt x="23935" y="47371"/>
                    <a:pt x="21516" y="47625"/>
                    <a:pt x="18715" y="47625"/>
                  </a:cubicBezTo>
                  <a:close/>
                </a:path>
              </a:pathLst>
            </a:custGeom>
            <a:solidFill>
              <a:srgbClr val="1D4966"/>
            </a:solidFill>
            <a:ln w="0" cap="flat">
              <a:noFill/>
              <a:prstDash val="solid"/>
              <a:miter/>
            </a:ln>
          </p:spPr>
          <p:txBody>
            <a:bodyPr rtlCol="0" anchor="ctr"/>
            <a:lstStyle/>
            <a:p>
              <a:endParaRPr lang="en-AD" sz="2400"/>
            </a:p>
          </p:txBody>
        </p:sp>
        <p:sp>
          <p:nvSpPr>
            <p:cNvPr id="407" name="Freeform 406">
              <a:extLst>
                <a:ext uri="{FF2B5EF4-FFF2-40B4-BE49-F238E27FC236}">
                  <a16:creationId xmlns:a16="http://schemas.microsoft.com/office/drawing/2014/main" id="{45CC9007-F797-24B4-33C2-5719FC70E74B}"/>
                </a:ext>
              </a:extLst>
            </p:cNvPr>
            <p:cNvSpPr/>
            <p:nvPr/>
          </p:nvSpPr>
          <p:spPr>
            <a:xfrm>
              <a:off x="3537443" y="1599819"/>
              <a:ext cx="40486" cy="47370"/>
            </a:xfrm>
            <a:custGeom>
              <a:avLst/>
              <a:gdLst>
                <a:gd name="connsiteX0" fmla="*/ 20752 w 40486"/>
                <a:gd name="connsiteY0" fmla="*/ 47371 h 47370"/>
                <a:gd name="connsiteX1" fmla="*/ 9422 w 40486"/>
                <a:gd name="connsiteY1" fmla="*/ 44831 h 47370"/>
                <a:gd name="connsiteX2" fmla="*/ 2419 w 40486"/>
                <a:gd name="connsiteY2" fmla="*/ 37084 h 47370"/>
                <a:gd name="connsiteX3" fmla="*/ 0 w 40486"/>
                <a:gd name="connsiteY3" fmla="*/ 23749 h 47370"/>
                <a:gd name="connsiteX4" fmla="*/ 2419 w 40486"/>
                <a:gd name="connsiteY4" fmla="*/ 10287 h 47370"/>
                <a:gd name="connsiteX5" fmla="*/ 9422 w 40486"/>
                <a:gd name="connsiteY5" fmla="*/ 2540 h 47370"/>
                <a:gd name="connsiteX6" fmla="*/ 21134 w 40486"/>
                <a:gd name="connsiteY6" fmla="*/ 0 h 47370"/>
                <a:gd name="connsiteX7" fmla="*/ 31829 w 40486"/>
                <a:gd name="connsiteY7" fmla="*/ 2413 h 47370"/>
                <a:gd name="connsiteX8" fmla="*/ 38322 w 40486"/>
                <a:gd name="connsiteY8" fmla="*/ 9779 h 47370"/>
                <a:gd name="connsiteX9" fmla="*/ 40486 w 40486"/>
                <a:gd name="connsiteY9" fmla="*/ 21971 h 47370"/>
                <a:gd name="connsiteX10" fmla="*/ 40486 w 40486"/>
                <a:gd name="connsiteY10" fmla="*/ 25654 h 47370"/>
                <a:gd name="connsiteX11" fmla="*/ 7766 w 40486"/>
                <a:gd name="connsiteY11" fmla="*/ 25654 h 47370"/>
                <a:gd name="connsiteX12" fmla="*/ 9422 w 40486"/>
                <a:gd name="connsiteY12" fmla="*/ 34544 h 47370"/>
                <a:gd name="connsiteX13" fmla="*/ 13750 w 40486"/>
                <a:gd name="connsiteY13" fmla="*/ 39624 h 47370"/>
                <a:gd name="connsiteX14" fmla="*/ 20880 w 40486"/>
                <a:gd name="connsiteY14" fmla="*/ 41275 h 47370"/>
                <a:gd name="connsiteX15" fmla="*/ 25972 w 40486"/>
                <a:gd name="connsiteY15" fmla="*/ 40513 h 47370"/>
                <a:gd name="connsiteX16" fmla="*/ 29664 w 40486"/>
                <a:gd name="connsiteY16" fmla="*/ 38354 h 47370"/>
                <a:gd name="connsiteX17" fmla="*/ 31956 w 40486"/>
                <a:gd name="connsiteY17" fmla="*/ 35052 h 47370"/>
                <a:gd name="connsiteX18" fmla="*/ 32847 w 40486"/>
                <a:gd name="connsiteY18" fmla="*/ 30861 h 47370"/>
                <a:gd name="connsiteX19" fmla="*/ 40231 w 40486"/>
                <a:gd name="connsiteY19" fmla="*/ 30861 h 47370"/>
                <a:gd name="connsiteX20" fmla="*/ 38831 w 40486"/>
                <a:gd name="connsiteY20" fmla="*/ 37592 h 47370"/>
                <a:gd name="connsiteX21" fmla="*/ 35011 w 40486"/>
                <a:gd name="connsiteY21" fmla="*/ 42799 h 47370"/>
                <a:gd name="connsiteX22" fmla="*/ 28901 w 40486"/>
                <a:gd name="connsiteY22" fmla="*/ 46101 h 47370"/>
                <a:gd name="connsiteX23" fmla="*/ 20625 w 40486"/>
                <a:gd name="connsiteY23" fmla="*/ 47371 h 47370"/>
                <a:gd name="connsiteX24" fmla="*/ 8148 w 40486"/>
                <a:gd name="connsiteY24" fmla="*/ 19939 h 47370"/>
                <a:gd name="connsiteX25" fmla="*/ 32720 w 40486"/>
                <a:gd name="connsiteY25" fmla="*/ 19939 h 47370"/>
                <a:gd name="connsiteX26" fmla="*/ 31829 w 40486"/>
                <a:gd name="connsiteY26" fmla="*/ 13589 h 47370"/>
                <a:gd name="connsiteX27" fmla="*/ 29410 w 40486"/>
                <a:gd name="connsiteY27" fmla="*/ 9398 h 47370"/>
                <a:gd name="connsiteX28" fmla="*/ 25718 w 40486"/>
                <a:gd name="connsiteY28" fmla="*/ 6985 h 47370"/>
                <a:gd name="connsiteX29" fmla="*/ 20880 w 40486"/>
                <a:gd name="connsiteY29" fmla="*/ 6223 h 47370"/>
                <a:gd name="connsiteX30" fmla="*/ 14132 w 40486"/>
                <a:gd name="connsiteY30" fmla="*/ 7747 h 47370"/>
                <a:gd name="connsiteX31" fmla="*/ 9931 w 40486"/>
                <a:gd name="connsiteY31" fmla="*/ 12192 h 47370"/>
                <a:gd name="connsiteX32" fmla="*/ 8148 w 40486"/>
                <a:gd name="connsiteY32" fmla="*/ 19939 h 4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486" h="47370">
                  <a:moveTo>
                    <a:pt x="20752" y="47371"/>
                  </a:moveTo>
                  <a:cubicBezTo>
                    <a:pt x="16296" y="47371"/>
                    <a:pt x="12477" y="46482"/>
                    <a:pt x="9422" y="44831"/>
                  </a:cubicBezTo>
                  <a:cubicBezTo>
                    <a:pt x="6366" y="43180"/>
                    <a:pt x="3947" y="40513"/>
                    <a:pt x="2419" y="37084"/>
                  </a:cubicBezTo>
                  <a:cubicBezTo>
                    <a:pt x="891" y="33528"/>
                    <a:pt x="0" y="29083"/>
                    <a:pt x="0" y="23749"/>
                  </a:cubicBezTo>
                  <a:cubicBezTo>
                    <a:pt x="0" y="18415"/>
                    <a:pt x="764" y="13843"/>
                    <a:pt x="2419" y="10287"/>
                  </a:cubicBezTo>
                  <a:cubicBezTo>
                    <a:pt x="3947" y="6858"/>
                    <a:pt x="6366" y="4191"/>
                    <a:pt x="9422" y="2540"/>
                  </a:cubicBezTo>
                  <a:cubicBezTo>
                    <a:pt x="12477" y="889"/>
                    <a:pt x="16424" y="0"/>
                    <a:pt x="21134" y="0"/>
                  </a:cubicBezTo>
                  <a:cubicBezTo>
                    <a:pt x="25336" y="0"/>
                    <a:pt x="29028" y="762"/>
                    <a:pt x="31829" y="2413"/>
                  </a:cubicBezTo>
                  <a:cubicBezTo>
                    <a:pt x="34757" y="4064"/>
                    <a:pt x="36921" y="6477"/>
                    <a:pt x="38322" y="9779"/>
                  </a:cubicBezTo>
                  <a:cubicBezTo>
                    <a:pt x="39849" y="13081"/>
                    <a:pt x="40486" y="17145"/>
                    <a:pt x="40486" y="21971"/>
                  </a:cubicBezTo>
                  <a:lnTo>
                    <a:pt x="40486" y="25654"/>
                  </a:lnTo>
                  <a:lnTo>
                    <a:pt x="7766" y="25654"/>
                  </a:lnTo>
                  <a:cubicBezTo>
                    <a:pt x="7766" y="29337"/>
                    <a:pt x="8403" y="32258"/>
                    <a:pt x="9422" y="34544"/>
                  </a:cubicBezTo>
                  <a:cubicBezTo>
                    <a:pt x="10312" y="36830"/>
                    <a:pt x="11841" y="38608"/>
                    <a:pt x="13750" y="39624"/>
                  </a:cubicBezTo>
                  <a:cubicBezTo>
                    <a:pt x="15660" y="40640"/>
                    <a:pt x="18079" y="41275"/>
                    <a:pt x="20880" y="41275"/>
                  </a:cubicBezTo>
                  <a:cubicBezTo>
                    <a:pt x="22789" y="41275"/>
                    <a:pt x="24572" y="41021"/>
                    <a:pt x="25972" y="40513"/>
                  </a:cubicBezTo>
                  <a:cubicBezTo>
                    <a:pt x="27500" y="40005"/>
                    <a:pt x="28646" y="39370"/>
                    <a:pt x="29664" y="38354"/>
                  </a:cubicBezTo>
                  <a:cubicBezTo>
                    <a:pt x="30683" y="37465"/>
                    <a:pt x="31447" y="36322"/>
                    <a:pt x="31956" y="35052"/>
                  </a:cubicBezTo>
                  <a:cubicBezTo>
                    <a:pt x="32465" y="33782"/>
                    <a:pt x="32720" y="32385"/>
                    <a:pt x="32847" y="30861"/>
                  </a:cubicBezTo>
                  <a:lnTo>
                    <a:pt x="40231" y="30861"/>
                  </a:lnTo>
                  <a:cubicBezTo>
                    <a:pt x="40231" y="33274"/>
                    <a:pt x="39722" y="35560"/>
                    <a:pt x="38831" y="37592"/>
                  </a:cubicBezTo>
                  <a:cubicBezTo>
                    <a:pt x="37940" y="39624"/>
                    <a:pt x="36667" y="41402"/>
                    <a:pt x="35011" y="42799"/>
                  </a:cubicBezTo>
                  <a:cubicBezTo>
                    <a:pt x="33356" y="44196"/>
                    <a:pt x="31320" y="45339"/>
                    <a:pt x="28901" y="46101"/>
                  </a:cubicBezTo>
                  <a:cubicBezTo>
                    <a:pt x="26482" y="46863"/>
                    <a:pt x="23681" y="47371"/>
                    <a:pt x="20625" y="47371"/>
                  </a:cubicBezTo>
                  <a:close/>
                  <a:moveTo>
                    <a:pt x="8148" y="19939"/>
                  </a:moveTo>
                  <a:lnTo>
                    <a:pt x="32720" y="19939"/>
                  </a:lnTo>
                  <a:cubicBezTo>
                    <a:pt x="32720" y="17399"/>
                    <a:pt x="32465" y="15240"/>
                    <a:pt x="31829" y="13589"/>
                  </a:cubicBezTo>
                  <a:cubicBezTo>
                    <a:pt x="31192" y="11811"/>
                    <a:pt x="30428" y="10414"/>
                    <a:pt x="29410" y="9398"/>
                  </a:cubicBezTo>
                  <a:cubicBezTo>
                    <a:pt x="28391" y="8255"/>
                    <a:pt x="27118" y="7493"/>
                    <a:pt x="25718" y="6985"/>
                  </a:cubicBezTo>
                  <a:cubicBezTo>
                    <a:pt x="24317" y="6477"/>
                    <a:pt x="22662" y="6223"/>
                    <a:pt x="20880" y="6223"/>
                  </a:cubicBezTo>
                  <a:cubicBezTo>
                    <a:pt x="18206" y="6223"/>
                    <a:pt x="16042" y="6731"/>
                    <a:pt x="14132" y="7747"/>
                  </a:cubicBezTo>
                  <a:cubicBezTo>
                    <a:pt x="12350" y="8763"/>
                    <a:pt x="10822" y="10160"/>
                    <a:pt x="9931" y="12192"/>
                  </a:cubicBezTo>
                  <a:cubicBezTo>
                    <a:pt x="8912" y="14224"/>
                    <a:pt x="8403" y="16764"/>
                    <a:pt x="8148" y="19939"/>
                  </a:cubicBezTo>
                  <a:close/>
                </a:path>
              </a:pathLst>
            </a:custGeom>
            <a:solidFill>
              <a:srgbClr val="1D4966"/>
            </a:solidFill>
            <a:ln w="0" cap="flat">
              <a:noFill/>
              <a:prstDash val="solid"/>
              <a:miter/>
            </a:ln>
          </p:spPr>
          <p:txBody>
            <a:bodyPr rtlCol="0" anchor="ctr"/>
            <a:lstStyle/>
            <a:p>
              <a:endParaRPr lang="en-AD" sz="2400"/>
            </a:p>
          </p:txBody>
        </p:sp>
        <p:sp>
          <p:nvSpPr>
            <p:cNvPr id="408" name="Freeform 407">
              <a:extLst>
                <a:ext uri="{FF2B5EF4-FFF2-40B4-BE49-F238E27FC236}">
                  <a16:creationId xmlns:a16="http://schemas.microsoft.com/office/drawing/2014/main" id="{BDDDEA47-D1D4-BD3D-7C39-B5433740A284}"/>
                </a:ext>
              </a:extLst>
            </p:cNvPr>
            <p:cNvSpPr/>
            <p:nvPr/>
          </p:nvSpPr>
          <p:spPr>
            <a:xfrm>
              <a:off x="3584167" y="1599691"/>
              <a:ext cx="43668" cy="47497"/>
            </a:xfrm>
            <a:custGeom>
              <a:avLst/>
              <a:gdLst>
                <a:gd name="connsiteX0" fmla="*/ 14387 w 43668"/>
                <a:gd name="connsiteY0" fmla="*/ 47498 h 47497"/>
                <a:gd name="connsiteX1" fmla="*/ 9421 w 43668"/>
                <a:gd name="connsiteY1" fmla="*/ 46863 h 47497"/>
                <a:gd name="connsiteX2" fmla="*/ 4711 w 43668"/>
                <a:gd name="connsiteY2" fmla="*/ 44831 h 47497"/>
                <a:gd name="connsiteX3" fmla="*/ 1273 w 43668"/>
                <a:gd name="connsiteY3" fmla="*/ 41021 h 47497"/>
                <a:gd name="connsiteX4" fmla="*/ 0 w 43668"/>
                <a:gd name="connsiteY4" fmla="*/ 34798 h 47497"/>
                <a:gd name="connsiteX5" fmla="*/ 2292 w 43668"/>
                <a:gd name="connsiteY5" fmla="*/ 27178 h 47497"/>
                <a:gd name="connsiteX6" fmla="*/ 8530 w 43668"/>
                <a:gd name="connsiteY6" fmla="*/ 22479 h 47497"/>
                <a:gd name="connsiteX7" fmla="*/ 18078 w 43668"/>
                <a:gd name="connsiteY7" fmla="*/ 20193 h 47497"/>
                <a:gd name="connsiteX8" fmla="*/ 30046 w 43668"/>
                <a:gd name="connsiteY8" fmla="*/ 19558 h 47497"/>
                <a:gd name="connsiteX9" fmla="*/ 30046 w 43668"/>
                <a:gd name="connsiteY9" fmla="*/ 14351 h 47497"/>
                <a:gd name="connsiteX10" fmla="*/ 29155 w 43668"/>
                <a:gd name="connsiteY10" fmla="*/ 10033 h 47497"/>
                <a:gd name="connsiteX11" fmla="*/ 26099 w 43668"/>
                <a:gd name="connsiteY11" fmla="*/ 7239 h 47497"/>
                <a:gd name="connsiteX12" fmla="*/ 19861 w 43668"/>
                <a:gd name="connsiteY12" fmla="*/ 6223 h 47497"/>
                <a:gd name="connsiteX13" fmla="*/ 13623 w 43668"/>
                <a:gd name="connsiteY13" fmla="*/ 7239 h 47497"/>
                <a:gd name="connsiteX14" fmla="*/ 10440 w 43668"/>
                <a:gd name="connsiteY14" fmla="*/ 9779 h 47497"/>
                <a:gd name="connsiteX15" fmla="*/ 9549 w 43668"/>
                <a:gd name="connsiteY15" fmla="*/ 13208 h 47497"/>
                <a:gd name="connsiteX16" fmla="*/ 9549 w 43668"/>
                <a:gd name="connsiteY16" fmla="*/ 14478 h 47497"/>
                <a:gd name="connsiteX17" fmla="*/ 2164 w 43668"/>
                <a:gd name="connsiteY17" fmla="*/ 14478 h 47497"/>
                <a:gd name="connsiteX18" fmla="*/ 2164 w 43668"/>
                <a:gd name="connsiteY18" fmla="*/ 13589 h 47497"/>
                <a:gd name="connsiteX19" fmla="*/ 2164 w 43668"/>
                <a:gd name="connsiteY19" fmla="*/ 12573 h 47497"/>
                <a:gd name="connsiteX20" fmla="*/ 4456 w 43668"/>
                <a:gd name="connsiteY20" fmla="*/ 5588 h 47497"/>
                <a:gd name="connsiteX21" fmla="*/ 10949 w 43668"/>
                <a:gd name="connsiteY21" fmla="*/ 1397 h 47497"/>
                <a:gd name="connsiteX22" fmla="*/ 20497 w 43668"/>
                <a:gd name="connsiteY22" fmla="*/ 0 h 47497"/>
                <a:gd name="connsiteX23" fmla="*/ 30046 w 43668"/>
                <a:gd name="connsiteY23" fmla="*/ 1651 h 47497"/>
                <a:gd name="connsiteX24" fmla="*/ 35775 w 43668"/>
                <a:gd name="connsiteY24" fmla="*/ 6350 h 47497"/>
                <a:gd name="connsiteX25" fmla="*/ 37685 w 43668"/>
                <a:gd name="connsiteY25" fmla="*/ 13589 h 47497"/>
                <a:gd name="connsiteX26" fmla="*/ 37685 w 43668"/>
                <a:gd name="connsiteY26" fmla="*/ 38100 h 47497"/>
                <a:gd name="connsiteX27" fmla="*/ 38449 w 43668"/>
                <a:gd name="connsiteY27" fmla="*/ 40386 h 47497"/>
                <a:gd name="connsiteX28" fmla="*/ 40358 w 43668"/>
                <a:gd name="connsiteY28" fmla="*/ 41021 h 47497"/>
                <a:gd name="connsiteX29" fmla="*/ 43669 w 43668"/>
                <a:gd name="connsiteY29" fmla="*/ 41021 h 47497"/>
                <a:gd name="connsiteX30" fmla="*/ 43669 w 43668"/>
                <a:gd name="connsiteY30" fmla="*/ 45974 h 47497"/>
                <a:gd name="connsiteX31" fmla="*/ 40995 w 43668"/>
                <a:gd name="connsiteY31" fmla="*/ 46863 h 47497"/>
                <a:gd name="connsiteX32" fmla="*/ 37685 w 43668"/>
                <a:gd name="connsiteY32" fmla="*/ 47244 h 47497"/>
                <a:gd name="connsiteX33" fmla="*/ 33993 w 43668"/>
                <a:gd name="connsiteY33" fmla="*/ 46355 h 47497"/>
                <a:gd name="connsiteX34" fmla="*/ 31701 w 43668"/>
                <a:gd name="connsiteY34" fmla="*/ 43815 h 47497"/>
                <a:gd name="connsiteX35" fmla="*/ 30683 w 43668"/>
                <a:gd name="connsiteY35" fmla="*/ 40259 h 47497"/>
                <a:gd name="connsiteX36" fmla="*/ 30046 w 43668"/>
                <a:gd name="connsiteY36" fmla="*/ 40259 h 47497"/>
                <a:gd name="connsiteX37" fmla="*/ 26099 w 43668"/>
                <a:gd name="connsiteY37" fmla="*/ 44069 h 47497"/>
                <a:gd name="connsiteX38" fmla="*/ 20752 w 43668"/>
                <a:gd name="connsiteY38" fmla="*/ 46482 h 47497"/>
                <a:gd name="connsiteX39" fmla="*/ 14387 w 43668"/>
                <a:gd name="connsiteY39" fmla="*/ 47371 h 47497"/>
                <a:gd name="connsiteX40" fmla="*/ 16296 w 43668"/>
                <a:gd name="connsiteY40" fmla="*/ 41148 h 47497"/>
                <a:gd name="connsiteX41" fmla="*/ 21516 w 43668"/>
                <a:gd name="connsiteY41" fmla="*/ 40259 h 47497"/>
                <a:gd name="connsiteX42" fmla="*/ 25845 w 43668"/>
                <a:gd name="connsiteY42" fmla="*/ 37846 h 47497"/>
                <a:gd name="connsiteX43" fmla="*/ 28900 w 43668"/>
                <a:gd name="connsiteY43" fmla="*/ 34036 h 47497"/>
                <a:gd name="connsiteX44" fmla="*/ 30046 w 43668"/>
                <a:gd name="connsiteY44" fmla="*/ 29083 h 47497"/>
                <a:gd name="connsiteX45" fmla="*/ 30046 w 43668"/>
                <a:gd name="connsiteY45" fmla="*/ 25273 h 47497"/>
                <a:gd name="connsiteX46" fmla="*/ 18078 w 43668"/>
                <a:gd name="connsiteY46" fmla="*/ 26035 h 47497"/>
                <a:gd name="connsiteX47" fmla="*/ 10567 w 43668"/>
                <a:gd name="connsiteY47" fmla="*/ 28829 h 47497"/>
                <a:gd name="connsiteX48" fmla="*/ 7893 w 43668"/>
                <a:gd name="connsiteY48" fmla="*/ 34417 h 47497"/>
                <a:gd name="connsiteX49" fmla="*/ 8912 w 43668"/>
                <a:gd name="connsiteY49" fmla="*/ 38227 h 47497"/>
                <a:gd name="connsiteX50" fmla="*/ 11840 w 43668"/>
                <a:gd name="connsiteY50" fmla="*/ 40386 h 47497"/>
                <a:gd name="connsiteX51" fmla="*/ 16296 w 43668"/>
                <a:gd name="connsiteY51" fmla="*/ 4114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668" h="47497">
                  <a:moveTo>
                    <a:pt x="14387" y="47498"/>
                  </a:moveTo>
                  <a:cubicBezTo>
                    <a:pt x="12731" y="47498"/>
                    <a:pt x="11076" y="47244"/>
                    <a:pt x="9421" y="46863"/>
                  </a:cubicBezTo>
                  <a:cubicBezTo>
                    <a:pt x="7766" y="46482"/>
                    <a:pt x="6238" y="45847"/>
                    <a:pt x="4711" y="44831"/>
                  </a:cubicBezTo>
                  <a:cubicBezTo>
                    <a:pt x="3310" y="43942"/>
                    <a:pt x="2164" y="42672"/>
                    <a:pt x="1273" y="41021"/>
                  </a:cubicBezTo>
                  <a:cubicBezTo>
                    <a:pt x="382" y="39370"/>
                    <a:pt x="0" y="37338"/>
                    <a:pt x="0" y="34798"/>
                  </a:cubicBezTo>
                  <a:cubicBezTo>
                    <a:pt x="0" y="31750"/>
                    <a:pt x="764" y="29083"/>
                    <a:pt x="2292" y="27178"/>
                  </a:cubicBezTo>
                  <a:cubicBezTo>
                    <a:pt x="3819" y="25146"/>
                    <a:pt x="5856" y="23622"/>
                    <a:pt x="8530" y="22479"/>
                  </a:cubicBezTo>
                  <a:cubicBezTo>
                    <a:pt x="11204" y="21336"/>
                    <a:pt x="14387" y="20574"/>
                    <a:pt x="18078" y="20193"/>
                  </a:cubicBezTo>
                  <a:cubicBezTo>
                    <a:pt x="21771" y="19812"/>
                    <a:pt x="25717" y="19558"/>
                    <a:pt x="30046" y="19558"/>
                  </a:cubicBezTo>
                  <a:lnTo>
                    <a:pt x="30046" y="14351"/>
                  </a:lnTo>
                  <a:cubicBezTo>
                    <a:pt x="30046" y="12700"/>
                    <a:pt x="29792" y="11303"/>
                    <a:pt x="29155" y="10033"/>
                  </a:cubicBezTo>
                  <a:cubicBezTo>
                    <a:pt x="28518" y="8763"/>
                    <a:pt x="27500" y="7874"/>
                    <a:pt x="26099" y="7239"/>
                  </a:cubicBezTo>
                  <a:cubicBezTo>
                    <a:pt x="24572" y="6604"/>
                    <a:pt x="22535" y="6223"/>
                    <a:pt x="19861" y="6223"/>
                  </a:cubicBezTo>
                  <a:cubicBezTo>
                    <a:pt x="17188" y="6223"/>
                    <a:pt x="15150" y="6604"/>
                    <a:pt x="13623" y="7239"/>
                  </a:cubicBezTo>
                  <a:cubicBezTo>
                    <a:pt x="12095" y="7874"/>
                    <a:pt x="11076" y="8763"/>
                    <a:pt x="10440" y="9779"/>
                  </a:cubicBezTo>
                  <a:cubicBezTo>
                    <a:pt x="9803" y="10795"/>
                    <a:pt x="9549" y="11938"/>
                    <a:pt x="9549" y="13208"/>
                  </a:cubicBezTo>
                  <a:lnTo>
                    <a:pt x="9549" y="14478"/>
                  </a:lnTo>
                  <a:lnTo>
                    <a:pt x="2164" y="14478"/>
                  </a:lnTo>
                  <a:cubicBezTo>
                    <a:pt x="2164" y="14478"/>
                    <a:pt x="2164" y="13843"/>
                    <a:pt x="2164" y="13589"/>
                  </a:cubicBezTo>
                  <a:lnTo>
                    <a:pt x="2164" y="12573"/>
                  </a:lnTo>
                  <a:cubicBezTo>
                    <a:pt x="2164" y="9779"/>
                    <a:pt x="2928" y="7493"/>
                    <a:pt x="4456" y="5588"/>
                  </a:cubicBezTo>
                  <a:cubicBezTo>
                    <a:pt x="5984" y="3683"/>
                    <a:pt x="8148" y="2286"/>
                    <a:pt x="10949" y="1397"/>
                  </a:cubicBezTo>
                  <a:cubicBezTo>
                    <a:pt x="13750" y="508"/>
                    <a:pt x="16933" y="0"/>
                    <a:pt x="20497" y="0"/>
                  </a:cubicBezTo>
                  <a:cubicBezTo>
                    <a:pt x="24317" y="0"/>
                    <a:pt x="27500" y="508"/>
                    <a:pt x="30046" y="1651"/>
                  </a:cubicBezTo>
                  <a:cubicBezTo>
                    <a:pt x="32592" y="2794"/>
                    <a:pt x="34502" y="4318"/>
                    <a:pt x="35775" y="6350"/>
                  </a:cubicBezTo>
                  <a:cubicBezTo>
                    <a:pt x="37049" y="8382"/>
                    <a:pt x="37685" y="10795"/>
                    <a:pt x="37685" y="13589"/>
                  </a:cubicBezTo>
                  <a:lnTo>
                    <a:pt x="37685" y="38100"/>
                  </a:lnTo>
                  <a:cubicBezTo>
                    <a:pt x="37685" y="39243"/>
                    <a:pt x="37940" y="40005"/>
                    <a:pt x="38449" y="40386"/>
                  </a:cubicBezTo>
                  <a:cubicBezTo>
                    <a:pt x="38958" y="40767"/>
                    <a:pt x="39595" y="41021"/>
                    <a:pt x="40358" y="41021"/>
                  </a:cubicBezTo>
                  <a:lnTo>
                    <a:pt x="43669" y="41021"/>
                  </a:lnTo>
                  <a:lnTo>
                    <a:pt x="43669" y="45974"/>
                  </a:lnTo>
                  <a:cubicBezTo>
                    <a:pt x="42905" y="46355"/>
                    <a:pt x="42014" y="46609"/>
                    <a:pt x="40995" y="46863"/>
                  </a:cubicBezTo>
                  <a:cubicBezTo>
                    <a:pt x="39977" y="47117"/>
                    <a:pt x="38831" y="47244"/>
                    <a:pt x="37685" y="47244"/>
                  </a:cubicBezTo>
                  <a:cubicBezTo>
                    <a:pt x="36157" y="47244"/>
                    <a:pt x="35011" y="46990"/>
                    <a:pt x="33993" y="46355"/>
                  </a:cubicBezTo>
                  <a:cubicBezTo>
                    <a:pt x="32974" y="45720"/>
                    <a:pt x="32211" y="44958"/>
                    <a:pt x="31701" y="43815"/>
                  </a:cubicBezTo>
                  <a:cubicBezTo>
                    <a:pt x="31192" y="42799"/>
                    <a:pt x="30810" y="41529"/>
                    <a:pt x="30683" y="40259"/>
                  </a:cubicBezTo>
                  <a:lnTo>
                    <a:pt x="30046" y="40259"/>
                  </a:lnTo>
                  <a:cubicBezTo>
                    <a:pt x="29028" y="41656"/>
                    <a:pt x="27754" y="42926"/>
                    <a:pt x="26099" y="44069"/>
                  </a:cubicBezTo>
                  <a:cubicBezTo>
                    <a:pt x="24572" y="45085"/>
                    <a:pt x="22789" y="45974"/>
                    <a:pt x="20752" y="46482"/>
                  </a:cubicBezTo>
                  <a:cubicBezTo>
                    <a:pt x="18843" y="47117"/>
                    <a:pt x="16678" y="47371"/>
                    <a:pt x="14387" y="47371"/>
                  </a:cubicBezTo>
                  <a:close/>
                  <a:moveTo>
                    <a:pt x="16296" y="41148"/>
                  </a:moveTo>
                  <a:cubicBezTo>
                    <a:pt x="18078" y="41148"/>
                    <a:pt x="19861" y="40894"/>
                    <a:pt x="21516" y="40259"/>
                  </a:cubicBezTo>
                  <a:cubicBezTo>
                    <a:pt x="23171" y="39624"/>
                    <a:pt x="24572" y="38862"/>
                    <a:pt x="25845" y="37846"/>
                  </a:cubicBezTo>
                  <a:cubicBezTo>
                    <a:pt x="27118" y="36830"/>
                    <a:pt x="28136" y="35560"/>
                    <a:pt x="28900" y="34036"/>
                  </a:cubicBezTo>
                  <a:cubicBezTo>
                    <a:pt x="29664" y="32512"/>
                    <a:pt x="30046" y="30861"/>
                    <a:pt x="30046" y="29083"/>
                  </a:cubicBezTo>
                  <a:lnTo>
                    <a:pt x="30046" y="25273"/>
                  </a:lnTo>
                  <a:cubicBezTo>
                    <a:pt x="25335" y="25273"/>
                    <a:pt x="21389" y="25527"/>
                    <a:pt x="18078" y="26035"/>
                  </a:cubicBezTo>
                  <a:cubicBezTo>
                    <a:pt x="14769" y="26543"/>
                    <a:pt x="12222" y="27432"/>
                    <a:pt x="10567" y="28829"/>
                  </a:cubicBezTo>
                  <a:cubicBezTo>
                    <a:pt x="8785" y="30099"/>
                    <a:pt x="7893" y="32004"/>
                    <a:pt x="7893" y="34417"/>
                  </a:cubicBezTo>
                  <a:cubicBezTo>
                    <a:pt x="7893" y="35941"/>
                    <a:pt x="8275" y="37211"/>
                    <a:pt x="8912" y="38227"/>
                  </a:cubicBezTo>
                  <a:cubicBezTo>
                    <a:pt x="9549" y="39243"/>
                    <a:pt x="10567" y="39878"/>
                    <a:pt x="11840" y="40386"/>
                  </a:cubicBezTo>
                  <a:cubicBezTo>
                    <a:pt x="13113" y="40894"/>
                    <a:pt x="14514" y="41148"/>
                    <a:pt x="16296" y="41148"/>
                  </a:cubicBezTo>
                  <a:close/>
                </a:path>
              </a:pathLst>
            </a:custGeom>
            <a:solidFill>
              <a:srgbClr val="1D4966"/>
            </a:solidFill>
            <a:ln w="0" cap="flat">
              <a:noFill/>
              <a:prstDash val="solid"/>
              <a:miter/>
            </a:ln>
          </p:spPr>
          <p:txBody>
            <a:bodyPr rtlCol="0" anchor="ctr"/>
            <a:lstStyle/>
            <a:p>
              <a:endParaRPr lang="en-AD" sz="2400"/>
            </a:p>
          </p:txBody>
        </p:sp>
        <p:sp>
          <p:nvSpPr>
            <p:cNvPr id="409" name="Freeform 408">
              <a:extLst>
                <a:ext uri="{FF2B5EF4-FFF2-40B4-BE49-F238E27FC236}">
                  <a16:creationId xmlns:a16="http://schemas.microsoft.com/office/drawing/2014/main" id="{3BDEF8EE-3B82-9A26-01FE-C3CE4936CA21}"/>
                </a:ext>
              </a:extLst>
            </p:cNvPr>
            <p:cNvSpPr/>
            <p:nvPr/>
          </p:nvSpPr>
          <p:spPr>
            <a:xfrm>
              <a:off x="3634074" y="1599819"/>
              <a:ext cx="21771" cy="46482"/>
            </a:xfrm>
            <a:custGeom>
              <a:avLst/>
              <a:gdLst>
                <a:gd name="connsiteX0" fmla="*/ 0 w 21771"/>
                <a:gd name="connsiteY0" fmla="*/ 46355 h 46482"/>
                <a:gd name="connsiteX1" fmla="*/ 0 w 21771"/>
                <a:gd name="connsiteY1" fmla="*/ 1016 h 46482"/>
                <a:gd name="connsiteX2" fmla="*/ 6111 w 21771"/>
                <a:gd name="connsiteY2" fmla="*/ 1016 h 46482"/>
                <a:gd name="connsiteX3" fmla="*/ 6748 w 21771"/>
                <a:gd name="connsiteY3" fmla="*/ 8509 h 46482"/>
                <a:gd name="connsiteX4" fmla="*/ 7384 w 21771"/>
                <a:gd name="connsiteY4" fmla="*/ 8509 h 46482"/>
                <a:gd name="connsiteX5" fmla="*/ 9294 w 21771"/>
                <a:gd name="connsiteY5" fmla="*/ 4445 h 46482"/>
                <a:gd name="connsiteX6" fmla="*/ 12604 w 21771"/>
                <a:gd name="connsiteY6" fmla="*/ 1270 h 46482"/>
                <a:gd name="connsiteX7" fmla="*/ 17697 w 21771"/>
                <a:gd name="connsiteY7" fmla="*/ 0 h 46482"/>
                <a:gd name="connsiteX8" fmla="*/ 20116 w 21771"/>
                <a:gd name="connsiteY8" fmla="*/ 254 h 46482"/>
                <a:gd name="connsiteX9" fmla="*/ 21771 w 21771"/>
                <a:gd name="connsiteY9" fmla="*/ 762 h 46482"/>
                <a:gd name="connsiteX10" fmla="*/ 21771 w 21771"/>
                <a:gd name="connsiteY10" fmla="*/ 7747 h 46482"/>
                <a:gd name="connsiteX11" fmla="*/ 18970 w 21771"/>
                <a:gd name="connsiteY11" fmla="*/ 7747 h 46482"/>
                <a:gd name="connsiteX12" fmla="*/ 13878 w 21771"/>
                <a:gd name="connsiteY12" fmla="*/ 8763 h 46482"/>
                <a:gd name="connsiteX13" fmla="*/ 10440 w 21771"/>
                <a:gd name="connsiteY13" fmla="*/ 11557 h 46482"/>
                <a:gd name="connsiteX14" fmla="*/ 8403 w 21771"/>
                <a:gd name="connsiteY14" fmla="*/ 15875 h 46482"/>
                <a:gd name="connsiteX15" fmla="*/ 7766 w 21771"/>
                <a:gd name="connsiteY15" fmla="*/ 21209 h 46482"/>
                <a:gd name="connsiteX16" fmla="*/ 7766 w 21771"/>
                <a:gd name="connsiteY16" fmla="*/ 46482 h 46482"/>
                <a:gd name="connsiteX17" fmla="*/ 127 w 21771"/>
                <a:gd name="connsiteY17" fmla="*/ 46482 h 4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1" h="46482">
                  <a:moveTo>
                    <a:pt x="0" y="46355"/>
                  </a:moveTo>
                  <a:lnTo>
                    <a:pt x="0" y="1016"/>
                  </a:lnTo>
                  <a:lnTo>
                    <a:pt x="6111" y="1016"/>
                  </a:lnTo>
                  <a:lnTo>
                    <a:pt x="6748" y="8509"/>
                  </a:lnTo>
                  <a:lnTo>
                    <a:pt x="7384" y="8509"/>
                  </a:lnTo>
                  <a:cubicBezTo>
                    <a:pt x="7894" y="7112"/>
                    <a:pt x="8530" y="5715"/>
                    <a:pt x="9294" y="4445"/>
                  </a:cubicBezTo>
                  <a:cubicBezTo>
                    <a:pt x="10058" y="3175"/>
                    <a:pt x="11204" y="2032"/>
                    <a:pt x="12604" y="1270"/>
                  </a:cubicBezTo>
                  <a:cubicBezTo>
                    <a:pt x="14005" y="381"/>
                    <a:pt x="15660" y="0"/>
                    <a:pt x="17697" y="0"/>
                  </a:cubicBezTo>
                  <a:cubicBezTo>
                    <a:pt x="18588" y="0"/>
                    <a:pt x="19352" y="0"/>
                    <a:pt x="20116" y="254"/>
                  </a:cubicBezTo>
                  <a:cubicBezTo>
                    <a:pt x="20880" y="381"/>
                    <a:pt x="21389" y="508"/>
                    <a:pt x="21771" y="762"/>
                  </a:cubicBezTo>
                  <a:lnTo>
                    <a:pt x="21771" y="7747"/>
                  </a:lnTo>
                  <a:lnTo>
                    <a:pt x="18970" y="7747"/>
                  </a:lnTo>
                  <a:cubicBezTo>
                    <a:pt x="17060" y="7747"/>
                    <a:pt x="15278" y="8128"/>
                    <a:pt x="13878" y="8763"/>
                  </a:cubicBezTo>
                  <a:cubicBezTo>
                    <a:pt x="12477" y="9398"/>
                    <a:pt x="11331" y="10414"/>
                    <a:pt x="10440" y="11557"/>
                  </a:cubicBezTo>
                  <a:cubicBezTo>
                    <a:pt x="9549" y="12827"/>
                    <a:pt x="8785" y="14224"/>
                    <a:pt x="8403" y="15875"/>
                  </a:cubicBezTo>
                  <a:cubicBezTo>
                    <a:pt x="8021" y="17526"/>
                    <a:pt x="7766" y="19304"/>
                    <a:pt x="7766" y="21209"/>
                  </a:cubicBezTo>
                  <a:lnTo>
                    <a:pt x="7766" y="46482"/>
                  </a:lnTo>
                  <a:lnTo>
                    <a:pt x="127" y="46482"/>
                  </a:lnTo>
                  <a:close/>
                </a:path>
              </a:pathLst>
            </a:custGeom>
            <a:solidFill>
              <a:srgbClr val="1D4966"/>
            </a:solidFill>
            <a:ln w="0" cap="flat">
              <a:noFill/>
              <a:prstDash val="solid"/>
              <a:miter/>
            </a:ln>
          </p:spPr>
          <p:txBody>
            <a:bodyPr rtlCol="0" anchor="ctr"/>
            <a:lstStyle/>
            <a:p>
              <a:endParaRPr lang="en-AD" sz="2400"/>
            </a:p>
          </p:txBody>
        </p:sp>
        <p:sp>
          <p:nvSpPr>
            <p:cNvPr id="410" name="Freeform 409">
              <a:extLst>
                <a:ext uri="{FF2B5EF4-FFF2-40B4-BE49-F238E27FC236}">
                  <a16:creationId xmlns:a16="http://schemas.microsoft.com/office/drawing/2014/main" id="{22D6E522-B52B-25BB-CBFC-AE9A870C2373}"/>
                </a:ext>
              </a:extLst>
            </p:cNvPr>
            <p:cNvSpPr/>
            <p:nvPr/>
          </p:nvSpPr>
          <p:spPr>
            <a:xfrm>
              <a:off x="3659919" y="1599691"/>
              <a:ext cx="38321" cy="47625"/>
            </a:xfrm>
            <a:custGeom>
              <a:avLst/>
              <a:gdLst>
                <a:gd name="connsiteX0" fmla="*/ 20116 w 38321"/>
                <a:gd name="connsiteY0" fmla="*/ 47498 h 47625"/>
                <a:gd name="connsiteX1" fmla="*/ 9040 w 38321"/>
                <a:gd name="connsiteY1" fmla="*/ 44958 h 47625"/>
                <a:gd name="connsiteX2" fmla="*/ 2292 w 38321"/>
                <a:gd name="connsiteY2" fmla="*/ 37084 h 47625"/>
                <a:gd name="connsiteX3" fmla="*/ 0 w 38321"/>
                <a:gd name="connsiteY3" fmla="*/ 23749 h 47625"/>
                <a:gd name="connsiteX4" fmla="*/ 2292 w 38321"/>
                <a:gd name="connsiteY4" fmla="*/ 10414 h 47625"/>
                <a:gd name="connsiteX5" fmla="*/ 9167 w 38321"/>
                <a:gd name="connsiteY5" fmla="*/ 2540 h 47625"/>
                <a:gd name="connsiteX6" fmla="*/ 20370 w 38321"/>
                <a:gd name="connsiteY6" fmla="*/ 0 h 47625"/>
                <a:gd name="connsiteX7" fmla="*/ 28391 w 38321"/>
                <a:gd name="connsiteY7" fmla="*/ 1270 h 47625"/>
                <a:gd name="connsiteX8" fmla="*/ 33993 w 38321"/>
                <a:gd name="connsiteY8" fmla="*/ 4826 h 47625"/>
                <a:gd name="connsiteX9" fmla="*/ 37303 w 38321"/>
                <a:gd name="connsiteY9" fmla="*/ 10414 h 47625"/>
                <a:gd name="connsiteX10" fmla="*/ 38322 w 38321"/>
                <a:gd name="connsiteY10" fmla="*/ 17907 h 47625"/>
                <a:gd name="connsiteX11" fmla="*/ 30683 w 38321"/>
                <a:gd name="connsiteY11" fmla="*/ 17907 h 47625"/>
                <a:gd name="connsiteX12" fmla="*/ 29664 w 38321"/>
                <a:gd name="connsiteY12" fmla="*/ 11430 h 47625"/>
                <a:gd name="connsiteX13" fmla="*/ 26227 w 38321"/>
                <a:gd name="connsiteY13" fmla="*/ 7620 h 47625"/>
                <a:gd name="connsiteX14" fmla="*/ 20116 w 38321"/>
                <a:gd name="connsiteY14" fmla="*/ 6350 h 47625"/>
                <a:gd name="connsiteX15" fmla="*/ 13496 w 38321"/>
                <a:gd name="connsiteY15" fmla="*/ 8001 h 47625"/>
                <a:gd name="connsiteX16" fmla="*/ 9294 w 38321"/>
                <a:gd name="connsiteY16" fmla="*/ 13335 h 47625"/>
                <a:gd name="connsiteX17" fmla="*/ 7766 w 38321"/>
                <a:gd name="connsiteY17" fmla="*/ 22860 h 47625"/>
                <a:gd name="connsiteX18" fmla="*/ 7766 w 38321"/>
                <a:gd name="connsiteY18" fmla="*/ 24638 h 47625"/>
                <a:gd name="connsiteX19" fmla="*/ 9167 w 38321"/>
                <a:gd name="connsiteY19" fmla="*/ 33909 h 47625"/>
                <a:gd name="connsiteX20" fmla="*/ 13368 w 38321"/>
                <a:gd name="connsiteY20" fmla="*/ 39370 h 47625"/>
                <a:gd name="connsiteX21" fmla="*/ 20116 w 38321"/>
                <a:gd name="connsiteY21" fmla="*/ 41148 h 47625"/>
                <a:gd name="connsiteX22" fmla="*/ 26354 w 38321"/>
                <a:gd name="connsiteY22" fmla="*/ 39751 h 47625"/>
                <a:gd name="connsiteX23" fmla="*/ 29792 w 38321"/>
                <a:gd name="connsiteY23" fmla="*/ 35814 h 47625"/>
                <a:gd name="connsiteX24" fmla="*/ 30810 w 38321"/>
                <a:gd name="connsiteY24" fmla="*/ 29591 h 47625"/>
                <a:gd name="connsiteX25" fmla="*/ 38194 w 38321"/>
                <a:gd name="connsiteY25" fmla="*/ 29591 h 47625"/>
                <a:gd name="connsiteX26" fmla="*/ 37176 w 38321"/>
                <a:gd name="connsiteY26" fmla="*/ 36703 h 47625"/>
                <a:gd name="connsiteX27" fmla="*/ 33866 w 38321"/>
                <a:gd name="connsiteY27" fmla="*/ 42418 h 47625"/>
                <a:gd name="connsiteX28" fmla="*/ 28137 w 38321"/>
                <a:gd name="connsiteY28" fmla="*/ 46228 h 47625"/>
                <a:gd name="connsiteX29" fmla="*/ 19861 w 38321"/>
                <a:gd name="connsiteY29"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321" h="47625">
                  <a:moveTo>
                    <a:pt x="20116" y="47498"/>
                  </a:moveTo>
                  <a:cubicBezTo>
                    <a:pt x="15787" y="47498"/>
                    <a:pt x="12095" y="46609"/>
                    <a:pt x="9040" y="44958"/>
                  </a:cubicBezTo>
                  <a:cubicBezTo>
                    <a:pt x="6111" y="43307"/>
                    <a:pt x="3820" y="40640"/>
                    <a:pt x="2292" y="37084"/>
                  </a:cubicBezTo>
                  <a:cubicBezTo>
                    <a:pt x="764" y="33528"/>
                    <a:pt x="0" y="29083"/>
                    <a:pt x="0" y="23749"/>
                  </a:cubicBezTo>
                  <a:cubicBezTo>
                    <a:pt x="0" y="18415"/>
                    <a:pt x="764" y="13970"/>
                    <a:pt x="2292" y="10414"/>
                  </a:cubicBezTo>
                  <a:cubicBezTo>
                    <a:pt x="3820" y="6858"/>
                    <a:pt x="6111" y="4318"/>
                    <a:pt x="9167" y="2540"/>
                  </a:cubicBezTo>
                  <a:cubicBezTo>
                    <a:pt x="12222" y="762"/>
                    <a:pt x="15914" y="0"/>
                    <a:pt x="20370" y="0"/>
                  </a:cubicBezTo>
                  <a:cubicBezTo>
                    <a:pt x="23426" y="0"/>
                    <a:pt x="26227" y="381"/>
                    <a:pt x="28391" y="1270"/>
                  </a:cubicBezTo>
                  <a:cubicBezTo>
                    <a:pt x="30683" y="2032"/>
                    <a:pt x="32593" y="3302"/>
                    <a:pt x="33993" y="4826"/>
                  </a:cubicBezTo>
                  <a:cubicBezTo>
                    <a:pt x="35521" y="6350"/>
                    <a:pt x="36540" y="8255"/>
                    <a:pt x="37303" y="10414"/>
                  </a:cubicBezTo>
                  <a:cubicBezTo>
                    <a:pt x="38067" y="12573"/>
                    <a:pt x="38322" y="15113"/>
                    <a:pt x="38322" y="17907"/>
                  </a:cubicBezTo>
                  <a:lnTo>
                    <a:pt x="30683" y="17907"/>
                  </a:lnTo>
                  <a:cubicBezTo>
                    <a:pt x="30683" y="15240"/>
                    <a:pt x="30301" y="13081"/>
                    <a:pt x="29664" y="11430"/>
                  </a:cubicBezTo>
                  <a:cubicBezTo>
                    <a:pt x="28901" y="9779"/>
                    <a:pt x="27755" y="8509"/>
                    <a:pt x="26227" y="7620"/>
                  </a:cubicBezTo>
                  <a:cubicBezTo>
                    <a:pt x="24699" y="6731"/>
                    <a:pt x="22662" y="6350"/>
                    <a:pt x="20116" y="6350"/>
                  </a:cubicBezTo>
                  <a:cubicBezTo>
                    <a:pt x="17569" y="6350"/>
                    <a:pt x="15405" y="6858"/>
                    <a:pt x="13496" y="8001"/>
                  </a:cubicBezTo>
                  <a:cubicBezTo>
                    <a:pt x="11713" y="9144"/>
                    <a:pt x="10185" y="10922"/>
                    <a:pt x="9294" y="13335"/>
                  </a:cubicBezTo>
                  <a:cubicBezTo>
                    <a:pt x="8276" y="15748"/>
                    <a:pt x="7766" y="18923"/>
                    <a:pt x="7766" y="22860"/>
                  </a:cubicBezTo>
                  <a:lnTo>
                    <a:pt x="7766" y="24638"/>
                  </a:lnTo>
                  <a:cubicBezTo>
                    <a:pt x="7766" y="28321"/>
                    <a:pt x="8276" y="31496"/>
                    <a:pt x="9167" y="33909"/>
                  </a:cubicBezTo>
                  <a:cubicBezTo>
                    <a:pt x="10058" y="36322"/>
                    <a:pt x="11459" y="38227"/>
                    <a:pt x="13368" y="39370"/>
                  </a:cubicBezTo>
                  <a:cubicBezTo>
                    <a:pt x="15150" y="40513"/>
                    <a:pt x="17442" y="41148"/>
                    <a:pt x="20116" y="41148"/>
                  </a:cubicBezTo>
                  <a:cubicBezTo>
                    <a:pt x="22789" y="41148"/>
                    <a:pt x="24826" y="40640"/>
                    <a:pt x="26354" y="39751"/>
                  </a:cubicBezTo>
                  <a:cubicBezTo>
                    <a:pt x="27882" y="38862"/>
                    <a:pt x="29028" y="37465"/>
                    <a:pt x="29792" y="35814"/>
                  </a:cubicBezTo>
                  <a:cubicBezTo>
                    <a:pt x="30556" y="34036"/>
                    <a:pt x="30810" y="32004"/>
                    <a:pt x="30810" y="29591"/>
                  </a:cubicBezTo>
                  <a:lnTo>
                    <a:pt x="38194" y="29591"/>
                  </a:lnTo>
                  <a:cubicBezTo>
                    <a:pt x="38194" y="32131"/>
                    <a:pt x="37812" y="34417"/>
                    <a:pt x="37176" y="36703"/>
                  </a:cubicBezTo>
                  <a:cubicBezTo>
                    <a:pt x="36412" y="38862"/>
                    <a:pt x="35394" y="40767"/>
                    <a:pt x="33866" y="42418"/>
                  </a:cubicBezTo>
                  <a:cubicBezTo>
                    <a:pt x="32338" y="44069"/>
                    <a:pt x="30428" y="45339"/>
                    <a:pt x="28137" y="46228"/>
                  </a:cubicBezTo>
                  <a:cubicBezTo>
                    <a:pt x="25845" y="47117"/>
                    <a:pt x="23044" y="47625"/>
                    <a:pt x="19861" y="47625"/>
                  </a:cubicBezTo>
                  <a:close/>
                </a:path>
              </a:pathLst>
            </a:custGeom>
            <a:solidFill>
              <a:srgbClr val="1D4966"/>
            </a:solidFill>
            <a:ln w="0" cap="flat">
              <a:noFill/>
              <a:prstDash val="solid"/>
              <a:miter/>
            </a:ln>
          </p:spPr>
          <p:txBody>
            <a:bodyPr rtlCol="0" anchor="ctr"/>
            <a:lstStyle/>
            <a:p>
              <a:endParaRPr lang="en-AD" sz="2400"/>
            </a:p>
          </p:txBody>
        </p:sp>
        <p:sp>
          <p:nvSpPr>
            <p:cNvPr id="411" name="Freeform 410">
              <a:extLst>
                <a:ext uri="{FF2B5EF4-FFF2-40B4-BE49-F238E27FC236}">
                  <a16:creationId xmlns:a16="http://schemas.microsoft.com/office/drawing/2014/main" id="{9975E054-643B-D59C-4A11-837E10829B7C}"/>
                </a:ext>
              </a:extLst>
            </p:cNvPr>
            <p:cNvSpPr/>
            <p:nvPr/>
          </p:nvSpPr>
          <p:spPr>
            <a:xfrm>
              <a:off x="3706771" y="1583816"/>
              <a:ext cx="37430" cy="62484"/>
            </a:xfrm>
            <a:custGeom>
              <a:avLst/>
              <a:gdLst>
                <a:gd name="connsiteX0" fmla="*/ 127 w 37430"/>
                <a:gd name="connsiteY0" fmla="*/ 62357 h 62484"/>
                <a:gd name="connsiteX1" fmla="*/ 127 w 37430"/>
                <a:gd name="connsiteY1" fmla="*/ 0 h 62484"/>
                <a:gd name="connsiteX2" fmla="*/ 7766 w 37430"/>
                <a:gd name="connsiteY2" fmla="*/ 0 h 62484"/>
                <a:gd name="connsiteX3" fmla="*/ 7766 w 37430"/>
                <a:gd name="connsiteY3" fmla="*/ 22733 h 62484"/>
                <a:gd name="connsiteX4" fmla="*/ 8403 w 37430"/>
                <a:gd name="connsiteY4" fmla="*/ 22733 h 62484"/>
                <a:gd name="connsiteX5" fmla="*/ 12350 w 37430"/>
                <a:gd name="connsiteY5" fmla="*/ 18923 h 62484"/>
                <a:gd name="connsiteX6" fmla="*/ 17188 w 37430"/>
                <a:gd name="connsiteY6" fmla="*/ 16764 h 62484"/>
                <a:gd name="connsiteX7" fmla="*/ 22916 w 37430"/>
                <a:gd name="connsiteY7" fmla="*/ 16002 h 62484"/>
                <a:gd name="connsiteX8" fmla="*/ 30428 w 37430"/>
                <a:gd name="connsiteY8" fmla="*/ 17526 h 62484"/>
                <a:gd name="connsiteX9" fmla="*/ 35520 w 37430"/>
                <a:gd name="connsiteY9" fmla="*/ 22225 h 62484"/>
                <a:gd name="connsiteX10" fmla="*/ 37430 w 37430"/>
                <a:gd name="connsiteY10" fmla="*/ 31115 h 62484"/>
                <a:gd name="connsiteX11" fmla="*/ 37430 w 37430"/>
                <a:gd name="connsiteY11" fmla="*/ 62357 h 62484"/>
                <a:gd name="connsiteX12" fmla="*/ 29792 w 37430"/>
                <a:gd name="connsiteY12" fmla="*/ 62357 h 62484"/>
                <a:gd name="connsiteX13" fmla="*/ 29792 w 37430"/>
                <a:gd name="connsiteY13" fmla="*/ 32131 h 62484"/>
                <a:gd name="connsiteX14" fmla="*/ 29028 w 37430"/>
                <a:gd name="connsiteY14" fmla="*/ 27432 h 62484"/>
                <a:gd name="connsiteX15" fmla="*/ 26991 w 37430"/>
                <a:gd name="connsiteY15" fmla="*/ 24638 h 62484"/>
                <a:gd name="connsiteX16" fmla="*/ 23935 w 37430"/>
                <a:gd name="connsiteY16" fmla="*/ 23114 h 62484"/>
                <a:gd name="connsiteX17" fmla="*/ 19988 w 37430"/>
                <a:gd name="connsiteY17" fmla="*/ 22733 h 62484"/>
                <a:gd name="connsiteX18" fmla="*/ 13877 w 37430"/>
                <a:gd name="connsiteY18" fmla="*/ 24257 h 62484"/>
                <a:gd name="connsiteX19" fmla="*/ 9294 w 37430"/>
                <a:gd name="connsiteY19" fmla="*/ 28702 h 62484"/>
                <a:gd name="connsiteX20" fmla="*/ 7639 w 37430"/>
                <a:gd name="connsiteY20" fmla="*/ 35814 h 62484"/>
                <a:gd name="connsiteX21" fmla="*/ 7639 w 37430"/>
                <a:gd name="connsiteY21" fmla="*/ 62484 h 62484"/>
                <a:gd name="connsiteX22" fmla="*/ 0 w 37430"/>
                <a:gd name="connsiteY22" fmla="*/ 62484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30" h="62484">
                  <a:moveTo>
                    <a:pt x="127" y="62357"/>
                  </a:moveTo>
                  <a:lnTo>
                    <a:pt x="127" y="0"/>
                  </a:lnTo>
                  <a:lnTo>
                    <a:pt x="7766" y="0"/>
                  </a:lnTo>
                  <a:lnTo>
                    <a:pt x="7766" y="22733"/>
                  </a:lnTo>
                  <a:lnTo>
                    <a:pt x="8403" y="22733"/>
                  </a:lnTo>
                  <a:cubicBezTo>
                    <a:pt x="9549" y="21209"/>
                    <a:pt x="10822" y="19939"/>
                    <a:pt x="12350" y="18923"/>
                  </a:cubicBezTo>
                  <a:cubicBezTo>
                    <a:pt x="13750" y="17907"/>
                    <a:pt x="15405" y="17272"/>
                    <a:pt x="17188" y="16764"/>
                  </a:cubicBezTo>
                  <a:cubicBezTo>
                    <a:pt x="18970" y="16256"/>
                    <a:pt x="20879" y="16002"/>
                    <a:pt x="22916" y="16002"/>
                  </a:cubicBezTo>
                  <a:cubicBezTo>
                    <a:pt x="25845" y="16002"/>
                    <a:pt x="28264" y="16510"/>
                    <a:pt x="30428" y="17526"/>
                  </a:cubicBezTo>
                  <a:cubicBezTo>
                    <a:pt x="32592" y="18542"/>
                    <a:pt x="34248" y="20066"/>
                    <a:pt x="35520" y="22225"/>
                  </a:cubicBezTo>
                  <a:cubicBezTo>
                    <a:pt x="36794" y="24384"/>
                    <a:pt x="37430" y="27305"/>
                    <a:pt x="37430" y="31115"/>
                  </a:cubicBezTo>
                  <a:lnTo>
                    <a:pt x="37430" y="62357"/>
                  </a:lnTo>
                  <a:lnTo>
                    <a:pt x="29792" y="62357"/>
                  </a:lnTo>
                  <a:lnTo>
                    <a:pt x="29792" y="32131"/>
                  </a:lnTo>
                  <a:cubicBezTo>
                    <a:pt x="29792" y="30226"/>
                    <a:pt x="29537" y="28702"/>
                    <a:pt x="29028" y="27432"/>
                  </a:cubicBezTo>
                  <a:cubicBezTo>
                    <a:pt x="28518" y="26162"/>
                    <a:pt x="27882" y="25273"/>
                    <a:pt x="26991" y="24638"/>
                  </a:cubicBezTo>
                  <a:cubicBezTo>
                    <a:pt x="26099" y="24003"/>
                    <a:pt x="25208" y="23495"/>
                    <a:pt x="23935" y="23114"/>
                  </a:cubicBezTo>
                  <a:cubicBezTo>
                    <a:pt x="22789" y="22860"/>
                    <a:pt x="21389" y="22733"/>
                    <a:pt x="19988" y="22733"/>
                  </a:cubicBezTo>
                  <a:cubicBezTo>
                    <a:pt x="17824" y="22733"/>
                    <a:pt x="15787" y="23241"/>
                    <a:pt x="13877" y="24257"/>
                  </a:cubicBezTo>
                  <a:cubicBezTo>
                    <a:pt x="11968" y="25273"/>
                    <a:pt x="10439" y="26670"/>
                    <a:pt x="9294" y="28702"/>
                  </a:cubicBezTo>
                  <a:cubicBezTo>
                    <a:pt x="8148" y="30607"/>
                    <a:pt x="7639" y="33020"/>
                    <a:pt x="7639" y="35814"/>
                  </a:cubicBezTo>
                  <a:lnTo>
                    <a:pt x="7639" y="62484"/>
                  </a:lnTo>
                  <a:lnTo>
                    <a:pt x="0" y="62484"/>
                  </a:lnTo>
                  <a:close/>
                </a:path>
              </a:pathLst>
            </a:custGeom>
            <a:solidFill>
              <a:srgbClr val="1D4966"/>
            </a:solidFill>
            <a:ln w="0" cap="flat">
              <a:noFill/>
              <a:prstDash val="solid"/>
              <a:miter/>
            </a:ln>
          </p:spPr>
          <p:txBody>
            <a:bodyPr rtlCol="0" anchor="ctr"/>
            <a:lstStyle/>
            <a:p>
              <a:endParaRPr lang="en-AD" sz="2400"/>
            </a:p>
          </p:txBody>
        </p:sp>
      </p:grpSp>
    </p:spTree>
    <p:extLst>
      <p:ext uri="{BB962C8B-B14F-4D97-AF65-F5344CB8AC3E}">
        <p14:creationId xmlns:p14="http://schemas.microsoft.com/office/powerpoint/2010/main" val="215284048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left">
    <p:bg>
      <p:bgPr>
        <a:solidFill>
          <a:schemeClr val="bg1"/>
        </a:solidFill>
        <a:effectLst/>
      </p:bgPr>
    </p:bg>
    <p:spTree>
      <p:nvGrpSpPr>
        <p:cNvPr id="1" name=""/>
        <p:cNvGrpSpPr/>
        <p:nvPr/>
      </p:nvGrpSpPr>
      <p:grpSpPr>
        <a:xfrm>
          <a:off x="0" y="0"/>
          <a:ext cx="0" cy="0"/>
          <a:chOff x="0" y="0"/>
          <a:chExt cx="0" cy="0"/>
        </a:xfrm>
      </p:grpSpPr>
      <p:sp>
        <p:nvSpPr>
          <p:cNvPr id="3" name="Picture Placeholder 13">
            <a:extLst>
              <a:ext uri="{FF2B5EF4-FFF2-40B4-BE49-F238E27FC236}">
                <a16:creationId xmlns:a16="http://schemas.microsoft.com/office/drawing/2014/main" id="{54539A10-8185-B943-C73A-D2F53BA2573A}"/>
              </a:ext>
            </a:extLst>
          </p:cNvPr>
          <p:cNvSpPr>
            <a:spLocks noGrp="1"/>
          </p:cNvSpPr>
          <p:nvPr>
            <p:ph type="pic" sz="quarter" idx="13" hasCustomPrompt="1"/>
          </p:nvPr>
        </p:nvSpPr>
        <p:spPr>
          <a:xfrm>
            <a:off x="-1" y="-1"/>
            <a:ext cx="4952999" cy="6854399"/>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2" name="Title 1"/>
          <p:cNvSpPr>
            <a:spLocks noGrp="1"/>
          </p:cNvSpPr>
          <p:nvPr>
            <p:ph type="title" hasCustomPrompt="1"/>
          </p:nvPr>
        </p:nvSpPr>
        <p:spPr>
          <a:xfrm>
            <a:off x="5486400" y="1454604"/>
            <a:ext cx="6220797" cy="1521816"/>
          </a:xfrm>
        </p:spPr>
        <p:txBody>
          <a:bodyPr anchor="b" anchorCtr="0">
            <a:normAutofit/>
          </a:bodyPr>
          <a:lstStyle>
            <a:lvl1pPr>
              <a:defRPr sz="3200"/>
            </a:lvl1pPr>
          </a:lstStyle>
          <a:p>
            <a:r>
              <a:rPr lang="en-GB"/>
              <a:t>Click to edit title</a:t>
            </a:r>
            <a:endParaRPr lang="en-US"/>
          </a:p>
        </p:txBody>
      </p:sp>
      <p:sp>
        <p:nvSpPr>
          <p:cNvPr id="7" name="Slide Number Placeholder 6">
            <a:extLst>
              <a:ext uri="{FF2B5EF4-FFF2-40B4-BE49-F238E27FC236}">
                <a16:creationId xmlns:a16="http://schemas.microsoft.com/office/drawing/2014/main" id="{96290682-9E77-E549-9559-0CA4A34AD1E0}"/>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5486399" y="3019863"/>
            <a:ext cx="622079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5" name="Text Placeholder 4">
            <a:extLst>
              <a:ext uri="{FF2B5EF4-FFF2-40B4-BE49-F238E27FC236}">
                <a16:creationId xmlns:a16="http://schemas.microsoft.com/office/drawing/2014/main" id="{D36350C5-566C-7FB1-6655-42DCFD6FA2F0}"/>
              </a:ext>
            </a:extLst>
          </p:cNvPr>
          <p:cNvSpPr>
            <a:spLocks noGrp="1"/>
          </p:cNvSpPr>
          <p:nvPr>
            <p:ph type="body" sz="quarter" idx="14"/>
          </p:nvPr>
        </p:nvSpPr>
        <p:spPr>
          <a:xfrm>
            <a:off x="5486400" y="3668185"/>
            <a:ext cx="6220797" cy="2552700"/>
          </a:xfrm>
          <a:prstGeom prst="rect">
            <a:avLst/>
          </a:prstGeom>
        </p:spPr>
        <p:txBody>
          <a:bodyPr/>
          <a:lstStyle>
            <a:lvl1pPr marL="304792" indent="-304792">
              <a:buClr>
                <a:schemeClr val="tx2"/>
              </a:buClr>
              <a:buFont typeface="+mj-lt"/>
              <a:buAutoNum type="arabicPeriod"/>
              <a:defRPr/>
            </a:lvl1pPr>
            <a:lvl2pPr marL="544786" indent="-304792">
              <a:buClr>
                <a:schemeClr val="tx2"/>
              </a:buClr>
              <a:buFont typeface="+mj-lt"/>
              <a:buAutoNum type="arabicPeriod"/>
              <a:defRPr/>
            </a:lvl2pPr>
            <a:lvl3pPr marL="784780" indent="-304792">
              <a:buClr>
                <a:schemeClr val="tx2"/>
              </a:buClr>
              <a:buFont typeface="+mj-lt"/>
              <a:buAutoNum type="arabicPeriod"/>
              <a:defRPr/>
            </a:lvl3pPr>
            <a:lvl4pPr marL="1024774" indent="-304792">
              <a:buClr>
                <a:schemeClr val="tx2"/>
              </a:buClr>
              <a:buFont typeface="+mj-lt"/>
              <a:buAutoNum type="arabicPeriod"/>
              <a:defRPr/>
            </a:lvl4pPr>
            <a:lvl5pPr marL="1264768" indent="-304792">
              <a:buClr>
                <a:schemeClr val="tx2"/>
              </a:buClr>
              <a:buFont typeface="+mj-lt"/>
              <a:buAutoNum type="arabicPerio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1438617410"/>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173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1 column &amp; picture right">
    <p:bg>
      <p:bgPr>
        <a:solidFill>
          <a:schemeClr val="bg1"/>
        </a:solidFill>
        <a:effectLst/>
      </p:bgPr>
    </p:b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0E685C61-33B4-7DE5-2D4E-EF4E162DFD06}"/>
              </a:ext>
            </a:extLst>
          </p:cNvPr>
          <p:cNvSpPr>
            <a:spLocks noGrp="1"/>
          </p:cNvSpPr>
          <p:nvPr>
            <p:ph type="body" sz="quarter" idx="14" hasCustomPrompt="1"/>
          </p:nvPr>
        </p:nvSpPr>
        <p:spPr>
          <a:xfrm>
            <a:off x="480001" y="3032349"/>
            <a:ext cx="5904001"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7" name="Group 6">
            <a:extLst>
              <a:ext uri="{FF2B5EF4-FFF2-40B4-BE49-F238E27FC236}">
                <a16:creationId xmlns:a16="http://schemas.microsoft.com/office/drawing/2014/main" id="{6AB50CF0-EA52-FCC8-BF29-3A767A429DD2}"/>
              </a:ext>
            </a:extLst>
          </p:cNvPr>
          <p:cNvGrpSpPr/>
          <p:nvPr userDrawn="1"/>
        </p:nvGrpSpPr>
        <p:grpSpPr>
          <a:xfrm>
            <a:off x="480001" y="465348"/>
            <a:ext cx="1085908" cy="821904"/>
            <a:chOff x="1001339" y="887094"/>
            <a:chExt cx="814431" cy="616428"/>
          </a:xfrm>
        </p:grpSpPr>
        <p:sp>
          <p:nvSpPr>
            <p:cNvPr id="8" name="Freeform 7">
              <a:extLst>
                <a:ext uri="{FF2B5EF4-FFF2-40B4-BE49-F238E27FC236}">
                  <a16:creationId xmlns:a16="http://schemas.microsoft.com/office/drawing/2014/main" id="{2FFD8C9E-832E-0D4E-0DB2-387C60E34B58}"/>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E0C5FFEA-587C-D5A5-76CE-3E4A9EC84323}"/>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B230242B-55EC-40C5-43DE-5EF89434EE14}"/>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3" name="Title 12">
            <a:extLst>
              <a:ext uri="{FF2B5EF4-FFF2-40B4-BE49-F238E27FC236}">
                <a16:creationId xmlns:a16="http://schemas.microsoft.com/office/drawing/2014/main" id="{33E193A8-03C3-06A7-C306-44D921512444}"/>
              </a:ext>
            </a:extLst>
          </p:cNvPr>
          <p:cNvSpPr>
            <a:spLocks noGrp="1"/>
          </p:cNvSpPr>
          <p:nvPr>
            <p:ph type="title" hasCustomPrompt="1"/>
          </p:nvPr>
        </p:nvSpPr>
        <p:spPr>
          <a:xfrm>
            <a:off x="480001" y="2168956"/>
            <a:ext cx="5904001" cy="806400"/>
          </a:xfrm>
        </p:spPr>
        <p:txBody>
          <a:bodyPr anchor="b" anchorCtr="0"/>
          <a:lstStyle/>
          <a:p>
            <a:r>
              <a:rPr lang="en-GB"/>
              <a:t>Click to edit Title</a:t>
            </a:r>
            <a:endParaRPr lang="en-AD"/>
          </a:p>
        </p:txBody>
      </p:sp>
      <p:sp>
        <p:nvSpPr>
          <p:cNvPr id="17" name="Rectangle 16">
            <a:extLst>
              <a:ext uri="{FF2B5EF4-FFF2-40B4-BE49-F238E27FC236}">
                <a16:creationId xmlns:a16="http://schemas.microsoft.com/office/drawing/2014/main" id="{7F7ACFDB-926D-861C-E807-86D09F3BFEAE}"/>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3" name="Slide Number Placeholder 6">
            <a:extLst>
              <a:ext uri="{FF2B5EF4-FFF2-40B4-BE49-F238E27FC236}">
                <a16:creationId xmlns:a16="http://schemas.microsoft.com/office/drawing/2014/main" id="{4F13B68D-052A-86E9-1342-CECA7E7C0C8F}"/>
              </a:ext>
            </a:extLst>
          </p:cNvPr>
          <p:cNvSpPr>
            <a:spLocks noGrp="1"/>
          </p:cNvSpPr>
          <p:nvPr>
            <p:ph type="sldNum" sz="quarter" idx="15"/>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1A1ED84F-8DAA-0BD9-E502-0E7D14540960}"/>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Picture Placeholder 13">
            <a:extLst>
              <a:ext uri="{FF2B5EF4-FFF2-40B4-BE49-F238E27FC236}">
                <a16:creationId xmlns:a16="http://schemas.microsoft.com/office/drawing/2014/main" id="{781AE3B5-B9EA-9536-61BE-CD866730579C}"/>
              </a:ext>
            </a:extLst>
          </p:cNvPr>
          <p:cNvSpPr>
            <a:spLocks noGrp="1"/>
          </p:cNvSpPr>
          <p:nvPr>
            <p:ph type="pic" sz="quarter" idx="13" hasCustomPrompt="1"/>
          </p:nvPr>
        </p:nvSpPr>
        <p:spPr>
          <a:xfrm>
            <a:off x="7849406" y="846534"/>
            <a:ext cx="3732189" cy="5164935"/>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12" name="Text Placeholder 11">
            <a:extLst>
              <a:ext uri="{FF2B5EF4-FFF2-40B4-BE49-F238E27FC236}">
                <a16:creationId xmlns:a16="http://schemas.microsoft.com/office/drawing/2014/main" id="{E74519A0-94D6-E602-EC9C-CD556D3E041E}"/>
              </a:ext>
            </a:extLst>
          </p:cNvPr>
          <p:cNvSpPr>
            <a:spLocks noGrp="1"/>
          </p:cNvSpPr>
          <p:nvPr>
            <p:ph type="body" sz="quarter" idx="16"/>
          </p:nvPr>
        </p:nvSpPr>
        <p:spPr>
          <a:xfrm>
            <a:off x="480485" y="3694177"/>
            <a:ext cx="5903383" cy="2295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30945594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column l&amp; picture righ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DE52B53-2E2A-DDD2-16B7-B1472446E7F9}"/>
              </a:ext>
            </a:extLst>
          </p:cNvPr>
          <p:cNvSpPr/>
          <p:nvPr userDrawn="1"/>
        </p:nvSpPr>
        <p:spPr>
          <a:xfrm>
            <a:off x="7239000" y="0"/>
            <a:ext cx="4953000" cy="6858000"/>
          </a:xfrm>
          <a:prstGeom prst="rect">
            <a:avLst/>
          </a:prstGeom>
          <a:solidFill>
            <a:schemeClr val="accent1">
              <a:alpha val="1005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 name="Title 1"/>
          <p:cNvSpPr>
            <a:spLocks noGrp="1"/>
          </p:cNvSpPr>
          <p:nvPr>
            <p:ph type="title" hasCustomPrompt="1"/>
          </p:nvPr>
        </p:nvSpPr>
        <p:spPr>
          <a:xfrm>
            <a:off x="480002" y="307201"/>
            <a:ext cx="6090940" cy="782924"/>
          </a:xfrm>
        </p:spPr>
        <p:txBody>
          <a:bodyPr>
            <a:normAutofit/>
          </a:bodyPr>
          <a:lstStyle>
            <a:lvl1pPr>
              <a:defRPr sz="3200"/>
            </a:lvl1pPr>
          </a:lstStyle>
          <a:p>
            <a:r>
              <a:rPr lang="en-GB"/>
              <a:t>Click to edit title</a:t>
            </a:r>
            <a:endParaRPr lang="en-US"/>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480002" y="1090124"/>
            <a:ext cx="6090940"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15" name="Picture Placeholder 13">
            <a:extLst>
              <a:ext uri="{FF2B5EF4-FFF2-40B4-BE49-F238E27FC236}">
                <a16:creationId xmlns:a16="http://schemas.microsoft.com/office/drawing/2014/main" id="{1F2A000D-622C-AA0F-68A6-969FC0591912}"/>
              </a:ext>
            </a:extLst>
          </p:cNvPr>
          <p:cNvSpPr>
            <a:spLocks noGrp="1"/>
          </p:cNvSpPr>
          <p:nvPr>
            <p:ph type="pic" sz="quarter" idx="13" hasCustomPrompt="1"/>
          </p:nvPr>
        </p:nvSpPr>
        <p:spPr>
          <a:xfrm>
            <a:off x="7705725" y="2111134"/>
            <a:ext cx="4001476" cy="3775317"/>
          </a:xfrm>
          <a:prstGeom prst="rect">
            <a:avLst/>
          </a:prstGeo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16" name="TextBox 15">
            <a:extLst>
              <a:ext uri="{FF2B5EF4-FFF2-40B4-BE49-F238E27FC236}">
                <a16:creationId xmlns:a16="http://schemas.microsoft.com/office/drawing/2014/main" id="{EAFD0985-BB40-8566-3F99-5B9D0BD3716B}"/>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3" name="Slide Number Placeholder 6">
            <a:extLst>
              <a:ext uri="{FF2B5EF4-FFF2-40B4-BE49-F238E27FC236}">
                <a16:creationId xmlns:a16="http://schemas.microsoft.com/office/drawing/2014/main" id="{1B0B5123-2789-2FD5-EE59-CB47BE10AED5}"/>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
        <p:nvSpPr>
          <p:cNvPr id="14" name="Text Placeholder 13">
            <a:extLst>
              <a:ext uri="{FF2B5EF4-FFF2-40B4-BE49-F238E27FC236}">
                <a16:creationId xmlns:a16="http://schemas.microsoft.com/office/drawing/2014/main" id="{2A0300F7-4148-73C3-0475-866B99D76BE8}"/>
              </a:ext>
            </a:extLst>
          </p:cNvPr>
          <p:cNvSpPr>
            <a:spLocks noGrp="1"/>
          </p:cNvSpPr>
          <p:nvPr>
            <p:ph type="body" sz="quarter" idx="14"/>
          </p:nvPr>
        </p:nvSpPr>
        <p:spPr>
          <a:xfrm>
            <a:off x="479194" y="2029884"/>
            <a:ext cx="6090940" cy="3856567"/>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427650870"/>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2684747" cy="3985195"/>
          </a:xfrm>
          <a:prstGeom prst="rect">
            <a:avLst/>
          </a:prstGeom>
        </p:spPr>
        <p:txBody>
          <a:bodyPr>
            <a:normAutofit/>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58680866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4000"/>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4" y="2051538"/>
            <a:ext cx="9749365" cy="3985195"/>
          </a:xfrm>
          <a:prstGeom prst="rect">
            <a:avLst/>
          </a:prstGeom>
        </p:spPr>
        <p:txBody>
          <a:bodyPr>
            <a:normAutofit/>
          </a:bodyPr>
          <a:lstStyle>
            <a:lvl1pPr marL="228594" indent="-228594">
              <a:buFont typeface="Arial" panose="020B0604020202020204" pitchFamily="34" charset="0"/>
              <a:buChar char="•"/>
              <a:defRPr/>
            </a:lvl1pPr>
          </a:lstStyle>
          <a:p>
            <a:pPr lvl="0"/>
            <a:r>
              <a:rPr lang="en-US"/>
              <a:t>Click to edit Master text styles</a:t>
            </a:r>
          </a:p>
        </p:txBody>
      </p:sp>
    </p:spTree>
    <p:extLst>
      <p:ext uri="{BB962C8B-B14F-4D97-AF65-F5344CB8AC3E}">
        <p14:creationId xmlns:p14="http://schemas.microsoft.com/office/powerpoint/2010/main" val="53191119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ain Point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0623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7" name="Text Placeholder 6">
            <a:extLst>
              <a:ext uri="{FF2B5EF4-FFF2-40B4-BE49-F238E27FC236}">
                <a16:creationId xmlns:a16="http://schemas.microsoft.com/office/drawing/2014/main" id="{BBA05D27-22EF-38DC-A45E-21E954542754}"/>
              </a:ext>
            </a:extLst>
          </p:cNvPr>
          <p:cNvSpPr>
            <a:spLocks noGrp="1"/>
          </p:cNvSpPr>
          <p:nvPr>
            <p:ph type="body" sz="quarter" idx="15"/>
          </p:nvPr>
        </p:nvSpPr>
        <p:spPr>
          <a:xfrm>
            <a:off x="480483" y="2010511"/>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2" name="Text Placeholder 6">
            <a:extLst>
              <a:ext uri="{FF2B5EF4-FFF2-40B4-BE49-F238E27FC236}">
                <a16:creationId xmlns:a16="http://schemas.microsoft.com/office/drawing/2014/main" id="{17451B65-0EA0-1238-A6FC-77E374CEC11B}"/>
              </a:ext>
            </a:extLst>
          </p:cNvPr>
          <p:cNvSpPr>
            <a:spLocks noGrp="1"/>
          </p:cNvSpPr>
          <p:nvPr>
            <p:ph type="body" sz="quarter" idx="16"/>
          </p:nvPr>
        </p:nvSpPr>
        <p:spPr>
          <a:xfrm>
            <a:off x="480483" y="3034424"/>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5" name="Text Placeholder 6">
            <a:extLst>
              <a:ext uri="{FF2B5EF4-FFF2-40B4-BE49-F238E27FC236}">
                <a16:creationId xmlns:a16="http://schemas.microsoft.com/office/drawing/2014/main" id="{F1F84C08-1D49-7A10-BE8D-12209772B69D}"/>
              </a:ext>
            </a:extLst>
          </p:cNvPr>
          <p:cNvSpPr>
            <a:spLocks noGrp="1"/>
          </p:cNvSpPr>
          <p:nvPr>
            <p:ph type="body" sz="quarter" idx="17"/>
          </p:nvPr>
        </p:nvSpPr>
        <p:spPr>
          <a:xfrm>
            <a:off x="480483" y="4058337"/>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6" name="Text Placeholder 6">
            <a:extLst>
              <a:ext uri="{FF2B5EF4-FFF2-40B4-BE49-F238E27FC236}">
                <a16:creationId xmlns:a16="http://schemas.microsoft.com/office/drawing/2014/main" id="{C65C3041-609B-76D3-5BA2-0FEF39ECF998}"/>
              </a:ext>
            </a:extLst>
          </p:cNvPr>
          <p:cNvSpPr>
            <a:spLocks noGrp="1"/>
          </p:cNvSpPr>
          <p:nvPr>
            <p:ph type="body" sz="quarter" idx="18"/>
          </p:nvPr>
        </p:nvSpPr>
        <p:spPr>
          <a:xfrm>
            <a:off x="480483" y="5082251"/>
            <a:ext cx="11226716" cy="579120"/>
          </a:xfrm>
          <a:prstGeom prst="rect">
            <a:avLst/>
          </a:prstGeom>
        </p:spPr>
        <p:txBody>
          <a:bodyPr anchor="ctr" anchorCtr="0">
            <a:normAutofit/>
          </a:bodyPr>
          <a:lstStyle>
            <a:lvl1pPr marL="0" indent="0" algn="ctr">
              <a:buNone/>
              <a:defRPr/>
            </a:lvl1pPr>
          </a:lstStyle>
          <a:p>
            <a:pPr lvl="0"/>
            <a:r>
              <a:rPr lang="en-US"/>
              <a:t>Click to edit Master text styles</a:t>
            </a:r>
          </a:p>
        </p:txBody>
      </p:sp>
      <p:sp>
        <p:nvSpPr>
          <p:cNvPr id="8" name="Oval 6">
            <a:extLst>
              <a:ext uri="{FF2B5EF4-FFF2-40B4-BE49-F238E27FC236}">
                <a16:creationId xmlns:a16="http://schemas.microsoft.com/office/drawing/2014/main" id="{230717C6-217D-B42B-D584-6C338DE8E372}"/>
              </a:ext>
            </a:extLst>
          </p:cNvPr>
          <p:cNvSpPr>
            <a:spLocks noChangeArrowheads="1"/>
          </p:cNvSpPr>
          <p:nvPr userDrawn="1"/>
        </p:nvSpPr>
        <p:spPr bwMode="auto">
          <a:xfrm>
            <a:off x="6005687" y="2731757"/>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9" name="Oval 6">
            <a:extLst>
              <a:ext uri="{FF2B5EF4-FFF2-40B4-BE49-F238E27FC236}">
                <a16:creationId xmlns:a16="http://schemas.microsoft.com/office/drawing/2014/main" id="{1B015604-0705-1399-0AD4-0EC275BFBAA6}"/>
              </a:ext>
            </a:extLst>
          </p:cNvPr>
          <p:cNvSpPr>
            <a:spLocks noChangeArrowheads="1"/>
          </p:cNvSpPr>
          <p:nvPr userDrawn="1"/>
        </p:nvSpPr>
        <p:spPr bwMode="auto">
          <a:xfrm>
            <a:off x="6005687" y="3763388"/>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
        <p:nvSpPr>
          <p:cNvPr id="10" name="Oval 6">
            <a:extLst>
              <a:ext uri="{FF2B5EF4-FFF2-40B4-BE49-F238E27FC236}">
                <a16:creationId xmlns:a16="http://schemas.microsoft.com/office/drawing/2014/main" id="{39790355-E5A9-FF0D-DFE4-31D974FF4853}"/>
              </a:ext>
            </a:extLst>
          </p:cNvPr>
          <p:cNvSpPr>
            <a:spLocks noChangeArrowheads="1"/>
          </p:cNvSpPr>
          <p:nvPr userDrawn="1"/>
        </p:nvSpPr>
        <p:spPr bwMode="auto">
          <a:xfrm>
            <a:off x="6005687" y="4771572"/>
            <a:ext cx="180628" cy="179464"/>
          </a:xfrm>
          <a:prstGeom prst="ellipse">
            <a:avLst/>
          </a:prstGeom>
          <a:solidFill>
            <a:schemeClr val="tx2"/>
          </a:solidFill>
          <a:ln>
            <a:noFill/>
          </a:ln>
        </p:spPr>
        <p:txBody>
          <a:bodyPr vert="horz" wrap="square" lIns="121920" tIns="60960" rIns="121920" bIns="60960" numCol="1" anchor="t" anchorCtr="0" compatLnSpc="1">
            <a:prstTxWarp prst="textNoShape">
              <a:avLst/>
            </a:prstTxWarp>
            <a:normAutofit fontScale="25000" lnSpcReduction="20000"/>
          </a:bodyPr>
          <a:lstStyle/>
          <a:p>
            <a:pPr>
              <a:lnSpc>
                <a:spcPts val="1867"/>
              </a:lnSpc>
            </a:pPr>
            <a:endParaRPr lang="en-US" sz="1200">
              <a:latin typeface="+mj-lt"/>
            </a:endParaRPr>
          </a:p>
        </p:txBody>
      </p:sp>
    </p:spTree>
    <p:extLst>
      <p:ext uri="{BB962C8B-B14F-4D97-AF65-F5344CB8AC3E}">
        <p14:creationId xmlns:p14="http://schemas.microsoft.com/office/powerpoint/2010/main" val="331721847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BCA523-DC78-48C1-2767-42438B5A3FD5}"/>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3" name="Footer Placeholder 2">
            <a:extLst>
              <a:ext uri="{FF2B5EF4-FFF2-40B4-BE49-F238E27FC236}">
                <a16:creationId xmlns:a16="http://schemas.microsoft.com/office/drawing/2014/main" id="{4744C579-1637-CBC2-6908-BEC347F28F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C8DE05E-2EA2-3183-166F-7BE7E53DED43}"/>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33962069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96EEF7D-1ABE-8DD6-0CD0-14265E66F7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1" y="1725492"/>
            <a:ext cx="11227199" cy="1540693"/>
          </a:xfrm>
        </p:spPr>
        <p:txBody>
          <a:bodyPr anchor="b" anchorCtr="0">
            <a:normAutofit/>
          </a:bodyPr>
          <a:lstStyle>
            <a:lvl1pPr algn="ctr">
              <a:defRPr sz="3733">
                <a:solidFill>
                  <a:schemeClr val="bg1"/>
                </a:solidFill>
              </a:defRPr>
            </a:lvl1pPr>
          </a:lstStyle>
          <a:p>
            <a:r>
              <a:rPr lang="en-GB"/>
              <a:t>Click to edit Section title</a:t>
            </a:r>
            <a:endParaRPr lang="en-US"/>
          </a:p>
        </p:txBody>
      </p:sp>
      <p:grpSp>
        <p:nvGrpSpPr>
          <p:cNvPr id="10" name="Group 9">
            <a:extLst>
              <a:ext uri="{FF2B5EF4-FFF2-40B4-BE49-F238E27FC236}">
                <a16:creationId xmlns:a16="http://schemas.microsoft.com/office/drawing/2014/main" id="{A418A26A-1CE7-6A65-87BD-545E6B1EF597}"/>
              </a:ext>
            </a:extLst>
          </p:cNvPr>
          <p:cNvGrpSpPr/>
          <p:nvPr userDrawn="1"/>
        </p:nvGrpSpPr>
        <p:grpSpPr>
          <a:xfrm>
            <a:off x="5550645" y="773217"/>
            <a:ext cx="1085908" cy="821904"/>
            <a:chOff x="1001339" y="887094"/>
            <a:chExt cx="814431" cy="616428"/>
          </a:xfrm>
        </p:grpSpPr>
        <p:sp>
          <p:nvSpPr>
            <p:cNvPr id="11" name="Freeform 10">
              <a:extLst>
                <a:ext uri="{FF2B5EF4-FFF2-40B4-BE49-F238E27FC236}">
                  <a16:creationId xmlns:a16="http://schemas.microsoft.com/office/drawing/2014/main" id="{30FB55EE-19A3-C1BC-0447-97E58E4D771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bg1"/>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FC4EF02E-8974-5DA8-4735-88CCCC3F75C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B23401E6-F085-31C6-7190-EE95376A6A6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bg1"/>
            </a:solidFill>
            <a:ln w="0" cap="flat">
              <a:noFill/>
              <a:prstDash val="solid"/>
              <a:miter/>
            </a:ln>
          </p:spPr>
          <p:txBody>
            <a:bodyPr rtlCol="0" anchor="ctr"/>
            <a:lstStyle/>
            <a:p>
              <a:endParaRPr lang="en-AD" sz="2400"/>
            </a:p>
          </p:txBody>
        </p:sp>
      </p:grpSp>
      <p:sp>
        <p:nvSpPr>
          <p:cNvPr id="5" name="Text Placeholder 16">
            <a:extLst>
              <a:ext uri="{FF2B5EF4-FFF2-40B4-BE49-F238E27FC236}">
                <a16:creationId xmlns:a16="http://schemas.microsoft.com/office/drawing/2014/main" id="{AEAD3B24-9902-395F-E3F0-DCACA31071F9}"/>
              </a:ext>
            </a:extLst>
          </p:cNvPr>
          <p:cNvSpPr>
            <a:spLocks noGrp="1"/>
          </p:cNvSpPr>
          <p:nvPr>
            <p:ph type="body" sz="quarter" idx="11"/>
          </p:nvPr>
        </p:nvSpPr>
        <p:spPr>
          <a:xfrm>
            <a:off x="1563158" y="3561190"/>
            <a:ext cx="9065684" cy="1863996"/>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US"/>
              <a:t>Click to edit Master text styles</a:t>
            </a:r>
          </a:p>
        </p:txBody>
      </p:sp>
      <p:sp>
        <p:nvSpPr>
          <p:cNvPr id="16" name="Rectangle 15">
            <a:extLst>
              <a:ext uri="{FF2B5EF4-FFF2-40B4-BE49-F238E27FC236}">
                <a16:creationId xmlns:a16="http://schemas.microsoft.com/office/drawing/2014/main" id="{AB2EBD45-EA4C-76FF-982F-C1D8DB27FCF2}"/>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7" name="TextBox 16">
            <a:extLst>
              <a:ext uri="{FF2B5EF4-FFF2-40B4-BE49-F238E27FC236}">
                <a16:creationId xmlns:a16="http://schemas.microsoft.com/office/drawing/2014/main" id="{54C2F8B5-F1CF-6290-DB2A-3C6294CABBDC}"/>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8" name="Slide Number Placeholder 6">
            <a:extLst>
              <a:ext uri="{FF2B5EF4-FFF2-40B4-BE49-F238E27FC236}">
                <a16:creationId xmlns:a16="http://schemas.microsoft.com/office/drawing/2014/main" id="{62C17109-13DC-AED0-8072-6C8D0C8C9854}"/>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56502817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number">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2A308BB-D0E7-5A70-AC9A-C28E8E3442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8636"/>
            <a:ext cx="12252960" cy="6875272"/>
          </a:xfrm>
          <a:prstGeom prst="rect">
            <a:avLst/>
          </a:prstGeom>
        </p:spPr>
      </p:pic>
      <p:sp>
        <p:nvSpPr>
          <p:cNvPr id="2" name="Title 1"/>
          <p:cNvSpPr>
            <a:spLocks noGrp="1"/>
          </p:cNvSpPr>
          <p:nvPr>
            <p:ph type="title" hasCustomPrompt="1"/>
          </p:nvPr>
        </p:nvSpPr>
        <p:spPr>
          <a:xfrm>
            <a:off x="480000" y="1814360"/>
            <a:ext cx="11232000" cy="1660800"/>
          </a:xfrm>
        </p:spPr>
        <p:txBody>
          <a:bodyPr anchor="b" anchorCtr="0">
            <a:normAutofit/>
          </a:bodyPr>
          <a:lstStyle>
            <a:lvl1pPr algn="ctr">
              <a:defRPr sz="10666">
                <a:solidFill>
                  <a:schemeClr val="bg1"/>
                </a:solidFill>
              </a:defRPr>
            </a:lvl1pPr>
          </a:lstStyle>
          <a:p>
            <a:r>
              <a:rPr lang="en-GB"/>
              <a:t>00%</a:t>
            </a:r>
            <a:endParaRPr lang="en-US"/>
          </a:p>
        </p:txBody>
      </p:sp>
      <p:grpSp>
        <p:nvGrpSpPr>
          <p:cNvPr id="8" name="Group 7">
            <a:extLst>
              <a:ext uri="{FF2B5EF4-FFF2-40B4-BE49-F238E27FC236}">
                <a16:creationId xmlns:a16="http://schemas.microsoft.com/office/drawing/2014/main" id="{62648347-84AF-1F78-710B-6CD01D4CC56D}"/>
              </a:ext>
            </a:extLst>
          </p:cNvPr>
          <p:cNvGrpSpPr/>
          <p:nvPr userDrawn="1"/>
        </p:nvGrpSpPr>
        <p:grpSpPr>
          <a:xfrm>
            <a:off x="5550645" y="773217"/>
            <a:ext cx="1085908" cy="821904"/>
            <a:chOff x="1001339" y="887094"/>
            <a:chExt cx="814431" cy="616428"/>
          </a:xfrm>
          <a:solidFill>
            <a:schemeClr val="bg1"/>
          </a:solidFill>
        </p:grpSpPr>
        <p:sp>
          <p:nvSpPr>
            <p:cNvPr id="9" name="Freeform 8">
              <a:extLst>
                <a:ext uri="{FF2B5EF4-FFF2-40B4-BE49-F238E27FC236}">
                  <a16:creationId xmlns:a16="http://schemas.microsoft.com/office/drawing/2014/main" id="{ADF33CD8-B2E4-E270-AC70-029DD16D2239}"/>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6D3E5A7A-EF2B-3B10-0F9A-D44282C0C1D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C3228EF9-7E94-B7F7-F043-E37DFEBD064E}"/>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7" name="Text Placeholder 16">
            <a:extLst>
              <a:ext uri="{FF2B5EF4-FFF2-40B4-BE49-F238E27FC236}">
                <a16:creationId xmlns:a16="http://schemas.microsoft.com/office/drawing/2014/main" id="{CFAC9775-690D-E752-5FEF-B3E0F8F26FCC}"/>
              </a:ext>
            </a:extLst>
          </p:cNvPr>
          <p:cNvSpPr>
            <a:spLocks noGrp="1"/>
          </p:cNvSpPr>
          <p:nvPr>
            <p:ph type="body" sz="quarter" idx="11" hasCustomPrompt="1"/>
          </p:nvPr>
        </p:nvSpPr>
        <p:spPr>
          <a:xfrm>
            <a:off x="1563158" y="3815341"/>
            <a:ext cx="9065684" cy="1864003"/>
          </a:xfrm>
          <a:prstGeom prst="rect">
            <a:avLst/>
          </a:prstGeom>
        </p:spPr>
        <p:txBody>
          <a:bodyPr>
            <a:normAutofit/>
          </a:bodyPr>
          <a:lstStyle>
            <a:lvl1pPr marL="0" indent="0" algn="ctr">
              <a:lnSpc>
                <a:spcPts val="2133"/>
              </a:lnSpc>
              <a:spcBef>
                <a:spcPts val="0"/>
              </a:spcBef>
              <a:spcAft>
                <a:spcPts val="0"/>
              </a:spcAft>
              <a:buNone/>
              <a:defRPr sz="1600">
                <a:solidFill>
                  <a:schemeClr val="bg1"/>
                </a:solidFill>
              </a:defRPr>
            </a:lvl1pPr>
            <a:lvl2pPr marL="239994" indent="0" algn="ctr">
              <a:buNone/>
              <a:defRPr>
                <a:solidFill>
                  <a:schemeClr val="bg1"/>
                </a:solidFill>
              </a:defRPr>
            </a:lvl2pPr>
            <a:lvl3pPr marL="479988" indent="0" algn="ctr">
              <a:buNone/>
              <a:defRPr>
                <a:solidFill>
                  <a:schemeClr val="bg1"/>
                </a:solidFill>
              </a:defRPr>
            </a:lvl3pPr>
            <a:lvl4pPr marL="719982" indent="0" algn="ctr">
              <a:buNone/>
              <a:defRPr>
                <a:solidFill>
                  <a:schemeClr val="bg1"/>
                </a:solidFill>
              </a:defRPr>
            </a:lvl4pPr>
            <a:lvl5pPr marL="959976" indent="0" algn="ctr">
              <a:buNone/>
              <a:defRPr>
                <a:solidFill>
                  <a:schemeClr val="bg1"/>
                </a:solidFill>
              </a:defRPr>
            </a:lvl5pPr>
          </a:lstStyle>
          <a:p>
            <a:pPr lvl="0"/>
            <a:r>
              <a:rPr lang="en-GB"/>
              <a:t>Click to edit text</a:t>
            </a:r>
          </a:p>
        </p:txBody>
      </p:sp>
      <p:sp>
        <p:nvSpPr>
          <p:cNvPr id="20" name="Rectangle 19">
            <a:extLst>
              <a:ext uri="{FF2B5EF4-FFF2-40B4-BE49-F238E27FC236}">
                <a16:creationId xmlns:a16="http://schemas.microsoft.com/office/drawing/2014/main" id="{CB620435-880C-04A5-303F-F59FE6D62528}"/>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21" name="TextBox 20">
            <a:extLst>
              <a:ext uri="{FF2B5EF4-FFF2-40B4-BE49-F238E27FC236}">
                <a16:creationId xmlns:a16="http://schemas.microsoft.com/office/drawing/2014/main" id="{DB5E17C2-257F-41E3-92C0-6300AC854DF8}"/>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2" name="Slide Number Placeholder 6">
            <a:extLst>
              <a:ext uri="{FF2B5EF4-FFF2-40B4-BE49-F238E27FC236}">
                <a16:creationId xmlns:a16="http://schemas.microsoft.com/office/drawing/2014/main" id="{C09EF497-2FF4-BB47-411E-25EACD197A37}"/>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184603566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normAutofit fontScale="55000" lnSpcReduction="20000"/>
            </a:bodyP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normAutofit/>
            </a:bodyP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normAutofit fontScale="92500" lnSpcReduction="10000"/>
            </a:bodyPr>
            <a:lstStyle/>
            <a:p>
              <a:endParaRPr lang="en-AD" sz="2400"/>
            </a:p>
          </p:txBody>
        </p:sp>
      </p:grpSp>
      <p:sp>
        <p:nvSpPr>
          <p:cNvPr id="32" name="Text Placeholder 13">
            <a:extLst>
              <a:ext uri="{FF2B5EF4-FFF2-40B4-BE49-F238E27FC236}">
                <a16:creationId xmlns:a16="http://schemas.microsoft.com/office/drawing/2014/main" id="{529B456B-0612-05FD-3E27-C2E6F22CD5AC}"/>
              </a:ext>
            </a:extLst>
          </p:cNvPr>
          <p:cNvSpPr>
            <a:spLocks noGrp="1"/>
          </p:cNvSpPr>
          <p:nvPr>
            <p:ph type="body" sz="quarter" idx="11"/>
          </p:nvPr>
        </p:nvSpPr>
        <p:spPr>
          <a:xfrm>
            <a:off x="480000"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Text Placeholder 13">
            <a:extLst>
              <a:ext uri="{FF2B5EF4-FFF2-40B4-BE49-F238E27FC236}">
                <a16:creationId xmlns:a16="http://schemas.microsoft.com/office/drawing/2014/main" id="{572B6D15-EC12-3FF2-6149-9E41804CB944}"/>
              </a:ext>
            </a:extLst>
          </p:cNvPr>
          <p:cNvSpPr>
            <a:spLocks noGrp="1"/>
          </p:cNvSpPr>
          <p:nvPr>
            <p:ph type="body" sz="quarter" idx="14"/>
          </p:nvPr>
        </p:nvSpPr>
        <p:spPr>
          <a:xfrm>
            <a:off x="6434233" y="1833926"/>
            <a:ext cx="5280000" cy="4062321"/>
          </a:xfrm>
          <a:prstGeom prst="rect">
            <a:avLst/>
          </a:prstGeom>
        </p:spPr>
        <p:txBody>
          <a:bodyPr>
            <a:normAutofit/>
          </a:bodyPr>
          <a:lstStyle>
            <a:lvl1pPr marL="0" indent="0">
              <a:lnSpc>
                <a:spcPts val="2133"/>
              </a:lnSpc>
              <a:spcBef>
                <a:spcPts val="800"/>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12072970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111099"/>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5" name="Content Placeholder 4">
            <a:extLst>
              <a:ext uri="{FF2B5EF4-FFF2-40B4-BE49-F238E27FC236}">
                <a16:creationId xmlns:a16="http://schemas.microsoft.com/office/drawing/2014/main" id="{0C095A20-9422-8C24-BCD8-3E083BF2E503}"/>
              </a:ext>
            </a:extLst>
          </p:cNvPr>
          <p:cNvSpPr>
            <a:spLocks noGrp="1"/>
          </p:cNvSpPr>
          <p:nvPr>
            <p:ph sz="quarter" idx="15"/>
          </p:nvPr>
        </p:nvSpPr>
        <p:spPr>
          <a:xfrm>
            <a:off x="480483" y="1833033"/>
            <a:ext cx="11226716" cy="4045855"/>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D"/>
          </a:p>
        </p:txBody>
      </p:sp>
    </p:spTree>
    <p:extLst>
      <p:ext uri="{BB962C8B-B14F-4D97-AF65-F5344CB8AC3E}">
        <p14:creationId xmlns:p14="http://schemas.microsoft.com/office/powerpoint/2010/main" val="6218291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amp; 3 column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4" name="Text Placeholder 13">
            <a:extLst>
              <a:ext uri="{FF2B5EF4-FFF2-40B4-BE49-F238E27FC236}">
                <a16:creationId xmlns:a16="http://schemas.microsoft.com/office/drawing/2014/main" id="{8BB18B9B-2391-D0A8-4FA3-2D01B1A6677C}"/>
              </a:ext>
            </a:extLst>
          </p:cNvPr>
          <p:cNvSpPr>
            <a:spLocks noGrp="1"/>
          </p:cNvSpPr>
          <p:nvPr>
            <p:ph type="body" sz="quarter" idx="11"/>
          </p:nvPr>
        </p:nvSpPr>
        <p:spPr>
          <a:xfrm>
            <a:off x="480000" y="2025690"/>
            <a:ext cx="3360000" cy="3870567"/>
          </a:xfrm>
          <a:prstGeom prst="rect">
            <a:avLst/>
          </a:prstGeom>
        </p:spPr>
        <p:txBody>
          <a:bodyPr>
            <a:normAutofit/>
          </a:bodyPr>
          <a:lstStyle>
            <a:lvl1pPr marL="0" indent="0">
              <a:lnSpc>
                <a:spcPts val="2000"/>
              </a:lnSpc>
              <a:spcBef>
                <a:spcPts val="667"/>
              </a:spcBef>
              <a:buNone/>
              <a:defRPr sz="160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5" name="Text Placeholder 13">
            <a:extLst>
              <a:ext uri="{FF2B5EF4-FFF2-40B4-BE49-F238E27FC236}">
                <a16:creationId xmlns:a16="http://schemas.microsoft.com/office/drawing/2014/main" id="{F67B3F0D-AB91-7CE1-6C01-B0E3E7CD90A2}"/>
              </a:ext>
            </a:extLst>
          </p:cNvPr>
          <p:cNvSpPr>
            <a:spLocks noGrp="1"/>
          </p:cNvSpPr>
          <p:nvPr>
            <p:ph type="body" sz="quarter" idx="12"/>
          </p:nvPr>
        </p:nvSpPr>
        <p:spPr>
          <a:xfrm>
            <a:off x="4413600" y="2025690"/>
            <a:ext cx="3360000" cy="3870567"/>
          </a:xfrm>
          <a:prstGeom prst="rect">
            <a:avLst/>
          </a:prstGeom>
        </p:spPr>
        <p:txBody>
          <a:bodyPr>
            <a:normAutofit/>
          </a:bodyPr>
          <a:lstStyle>
            <a:lvl1pPr marL="228594" indent="-228594">
              <a:lnSpc>
                <a:spcPts val="2000"/>
              </a:lnSpc>
              <a:spcBef>
                <a:spcPts val="667"/>
              </a:spcBef>
              <a:buFont typeface="Arial" panose="020B0604020202020204" pitchFamily="34" charset="0"/>
              <a:buChar char="•"/>
              <a:defRPr sz="1600">
                <a:solidFill>
                  <a:schemeClr val="accent1"/>
                </a:solidFill>
              </a:defRPr>
            </a:lvl1pPr>
            <a:lvl2pPr marL="468588" indent="-228594">
              <a:lnSpc>
                <a:spcPts val="1867"/>
              </a:lnSpc>
              <a:buFont typeface="Arial" panose="020B0604020202020204" pitchFamily="34" charset="0"/>
              <a:buChar char="•"/>
              <a:defRPr sz="1200"/>
            </a:lvl2pPr>
            <a:lvl3pPr>
              <a:defRPr sz="1333"/>
            </a:lvl3pPr>
            <a:lvl4pPr>
              <a:defRPr sz="1333"/>
            </a:lvl4pPr>
            <a:lvl5pPr>
              <a:defRPr sz="1333"/>
            </a:lvl5pPr>
          </a:lstStyle>
          <a:p>
            <a:pPr lvl="0"/>
            <a:r>
              <a:rPr lang="en-US"/>
              <a:t>Click to edit Master text styles</a:t>
            </a:r>
          </a:p>
        </p:txBody>
      </p:sp>
      <p:sp>
        <p:nvSpPr>
          <p:cNvPr id="6" name="Text Placeholder 13">
            <a:extLst>
              <a:ext uri="{FF2B5EF4-FFF2-40B4-BE49-F238E27FC236}">
                <a16:creationId xmlns:a16="http://schemas.microsoft.com/office/drawing/2014/main" id="{F4708A08-CFF0-F9CB-735D-A9872BE5F447}"/>
              </a:ext>
            </a:extLst>
          </p:cNvPr>
          <p:cNvSpPr>
            <a:spLocks noGrp="1"/>
          </p:cNvSpPr>
          <p:nvPr>
            <p:ph type="body" sz="quarter" idx="13"/>
          </p:nvPr>
        </p:nvSpPr>
        <p:spPr>
          <a:xfrm>
            <a:off x="8347200" y="2025690"/>
            <a:ext cx="3360000" cy="3870567"/>
          </a:xfrm>
          <a:prstGeom prst="rect">
            <a:avLst/>
          </a:prstGeom>
        </p:spPr>
        <p:txBody>
          <a:bodyPr>
            <a:normAutofit/>
          </a:bodyPr>
          <a:lstStyle>
            <a:lvl1pPr marL="304792" indent="-304792">
              <a:lnSpc>
                <a:spcPts val="2000"/>
              </a:lnSpc>
              <a:spcBef>
                <a:spcPts val="667"/>
              </a:spcBef>
              <a:buFont typeface="+mj-lt"/>
              <a:buAutoNum type="arabicPeriod"/>
              <a:defRPr sz="1600">
                <a:solidFill>
                  <a:schemeClr val="accent1"/>
                </a:solidFill>
              </a:defRPr>
            </a:lvl1pPr>
            <a:lvl2pPr>
              <a:defRPr sz="1333"/>
            </a:lvl2pPr>
            <a:lvl3pPr>
              <a:defRPr sz="1333"/>
            </a:lvl3pPr>
            <a:lvl4pPr>
              <a:defRPr sz="1333"/>
            </a:lvl4pPr>
            <a:lvl5pPr>
              <a:defRPr sz="1333"/>
            </a:lvl5pPr>
          </a:lstStyle>
          <a:p>
            <a:pPr lvl="0"/>
            <a:r>
              <a:rPr lang="en-US"/>
              <a:t>Click to edit Master text styles</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2" name="Slide Number Placeholder 6">
            <a:extLst>
              <a:ext uri="{FF2B5EF4-FFF2-40B4-BE49-F238E27FC236}">
                <a16:creationId xmlns:a16="http://schemas.microsoft.com/office/drawing/2014/main" id="{A0F3835F-1AE9-0CEA-CF48-AB83177FE23D}"/>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15" name="TextBox 14">
            <a:extLst>
              <a:ext uri="{FF2B5EF4-FFF2-40B4-BE49-F238E27FC236}">
                <a16:creationId xmlns:a16="http://schemas.microsoft.com/office/drawing/2014/main" id="{6565B623-F3BC-FCBD-2F85-CFEEA2B31039}"/>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2068109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ubtitle &amp; 3 columns with 3 rows">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F5B87DF-64A7-915F-1343-4C9181E8A581}"/>
              </a:ext>
            </a:extLst>
          </p:cNvPr>
          <p:cNvSpPr>
            <a:spLocks noGrp="1"/>
          </p:cNvSpPr>
          <p:nvPr>
            <p:ph type="body" sz="quarter" idx="10" hasCustomPrompt="1"/>
          </p:nvPr>
        </p:nvSpPr>
        <p:spPr>
          <a:xfrm>
            <a:off x="480001" y="1237151"/>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
        <p:nvSpPr>
          <p:cNvPr id="7" name="Title 1">
            <a:extLst>
              <a:ext uri="{FF2B5EF4-FFF2-40B4-BE49-F238E27FC236}">
                <a16:creationId xmlns:a16="http://schemas.microsoft.com/office/drawing/2014/main" id="{90DC08AD-00D4-C87C-EABC-12D92A72D5B7}"/>
              </a:ext>
            </a:extLst>
          </p:cNvPr>
          <p:cNvSpPr>
            <a:spLocks noGrp="1"/>
          </p:cNvSpPr>
          <p:nvPr>
            <p:ph type="title" hasCustomPrompt="1"/>
          </p:nvPr>
        </p:nvSpPr>
        <p:spPr>
          <a:xfrm>
            <a:off x="480001" y="307200"/>
            <a:ext cx="9749849" cy="796800"/>
          </a:xfrm>
        </p:spPr>
        <p:txBody>
          <a:bodyPr>
            <a:normAutofit/>
          </a:bodyPr>
          <a:lstStyle>
            <a:lvl1pPr>
              <a:defRPr sz="3200">
                <a:solidFill>
                  <a:schemeClr val="accent1"/>
                </a:solidFill>
              </a:defRPr>
            </a:lvl1pPr>
          </a:lstStyle>
          <a:p>
            <a:r>
              <a:rPr lang="en-GB"/>
              <a:t>Click to edit title</a:t>
            </a:r>
            <a:endParaRPr lang="en-US"/>
          </a:p>
        </p:txBody>
      </p:sp>
      <p:grpSp>
        <p:nvGrpSpPr>
          <p:cNvPr id="8" name="Group 7">
            <a:extLst>
              <a:ext uri="{FF2B5EF4-FFF2-40B4-BE49-F238E27FC236}">
                <a16:creationId xmlns:a16="http://schemas.microsoft.com/office/drawing/2014/main" id="{FF841DE7-FD41-2E4F-9904-83CD42CBD578}"/>
              </a:ext>
            </a:extLst>
          </p:cNvPr>
          <p:cNvGrpSpPr/>
          <p:nvPr userDrawn="1"/>
        </p:nvGrpSpPr>
        <p:grpSpPr>
          <a:xfrm>
            <a:off x="10621293" y="307200"/>
            <a:ext cx="1085908" cy="821904"/>
            <a:chOff x="1001339" y="887094"/>
            <a:chExt cx="814431" cy="616428"/>
          </a:xfrm>
        </p:grpSpPr>
        <p:sp>
          <p:nvSpPr>
            <p:cNvPr id="9" name="Freeform 8">
              <a:extLst>
                <a:ext uri="{FF2B5EF4-FFF2-40B4-BE49-F238E27FC236}">
                  <a16:creationId xmlns:a16="http://schemas.microsoft.com/office/drawing/2014/main" id="{C16F6C3D-0919-BBDF-30AA-AA02EDC41BD6}"/>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0819089F-C6C2-727A-5494-BEB35B3B7D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46B69ACE-C8CC-007F-5ACC-1B15D7DA0B9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6" name="Slide Number Placeholder 6">
            <a:extLst>
              <a:ext uri="{FF2B5EF4-FFF2-40B4-BE49-F238E27FC236}">
                <a16:creationId xmlns:a16="http://schemas.microsoft.com/office/drawing/2014/main" id="{542C785A-D33C-2A78-7E52-BB0501C6080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29" name="TextBox 28">
            <a:extLst>
              <a:ext uri="{FF2B5EF4-FFF2-40B4-BE49-F238E27FC236}">
                <a16:creationId xmlns:a16="http://schemas.microsoft.com/office/drawing/2014/main" id="{9B7F8EF1-4674-BD18-BBEC-7A3FEC012B5F}"/>
              </a:ext>
            </a:extLst>
          </p:cNvPr>
          <p:cNvSpPr txBox="1"/>
          <p:nvPr userDrawn="1"/>
        </p:nvSpPr>
        <p:spPr>
          <a:xfrm>
            <a:off x="479999" y="6474084"/>
            <a:ext cx="6054151" cy="184665"/>
          </a:xfrm>
          <a:prstGeom prst="rect">
            <a:avLst/>
          </a:prstGeom>
          <a:noFill/>
        </p:spPr>
        <p:txBody>
          <a:bodyPr wrap="square" lIns="0" tIns="0" rIns="0" bIns="0" rtlCol="0">
            <a:norm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5" name="Text Placeholder 27">
            <a:extLst>
              <a:ext uri="{FF2B5EF4-FFF2-40B4-BE49-F238E27FC236}">
                <a16:creationId xmlns:a16="http://schemas.microsoft.com/office/drawing/2014/main" id="{768D37A0-EEAB-F5B0-922D-B3E47EF3A1B9}"/>
              </a:ext>
            </a:extLst>
          </p:cNvPr>
          <p:cNvSpPr>
            <a:spLocks noGrp="1"/>
          </p:cNvSpPr>
          <p:nvPr>
            <p:ph type="body" sz="quarter" idx="11"/>
          </p:nvPr>
        </p:nvSpPr>
        <p:spPr>
          <a:xfrm>
            <a:off x="480000"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13" name="Text Placeholder 28">
            <a:extLst>
              <a:ext uri="{FF2B5EF4-FFF2-40B4-BE49-F238E27FC236}">
                <a16:creationId xmlns:a16="http://schemas.microsoft.com/office/drawing/2014/main" id="{68A20F4A-AEAD-C08D-B90C-CF4BE36C7A7A}"/>
              </a:ext>
            </a:extLst>
          </p:cNvPr>
          <p:cNvSpPr>
            <a:spLocks noGrp="1"/>
          </p:cNvSpPr>
          <p:nvPr>
            <p:ph type="body" sz="quarter" idx="15"/>
          </p:nvPr>
        </p:nvSpPr>
        <p:spPr>
          <a:xfrm>
            <a:off x="480000"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0" name="Text Placeholder 29">
            <a:extLst>
              <a:ext uri="{FF2B5EF4-FFF2-40B4-BE49-F238E27FC236}">
                <a16:creationId xmlns:a16="http://schemas.microsoft.com/office/drawing/2014/main" id="{970204C3-97C8-AA86-CBB2-B7A9E2779E98}"/>
              </a:ext>
            </a:extLst>
          </p:cNvPr>
          <p:cNvSpPr>
            <a:spLocks noGrp="1"/>
          </p:cNvSpPr>
          <p:nvPr>
            <p:ph type="body" sz="quarter" idx="16"/>
          </p:nvPr>
        </p:nvSpPr>
        <p:spPr>
          <a:xfrm>
            <a:off x="4415072"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1" name="Text Placeholder 30">
            <a:extLst>
              <a:ext uri="{FF2B5EF4-FFF2-40B4-BE49-F238E27FC236}">
                <a16:creationId xmlns:a16="http://schemas.microsoft.com/office/drawing/2014/main" id="{C1BF6A50-E88C-D974-86D5-AD200C4D9850}"/>
              </a:ext>
            </a:extLst>
          </p:cNvPr>
          <p:cNvSpPr>
            <a:spLocks noGrp="1"/>
          </p:cNvSpPr>
          <p:nvPr>
            <p:ph type="body" sz="quarter" idx="17"/>
          </p:nvPr>
        </p:nvSpPr>
        <p:spPr>
          <a:xfrm>
            <a:off x="4415072"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2" name="Text Placeholder 31">
            <a:extLst>
              <a:ext uri="{FF2B5EF4-FFF2-40B4-BE49-F238E27FC236}">
                <a16:creationId xmlns:a16="http://schemas.microsoft.com/office/drawing/2014/main" id="{AABEB539-3C35-0CB4-EC3A-262957E77755}"/>
              </a:ext>
            </a:extLst>
          </p:cNvPr>
          <p:cNvSpPr>
            <a:spLocks noGrp="1"/>
          </p:cNvSpPr>
          <p:nvPr>
            <p:ph type="body" sz="quarter" idx="18"/>
          </p:nvPr>
        </p:nvSpPr>
        <p:spPr>
          <a:xfrm>
            <a:off x="8350145" y="2056922"/>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3" name="Text Placeholder 32">
            <a:extLst>
              <a:ext uri="{FF2B5EF4-FFF2-40B4-BE49-F238E27FC236}">
                <a16:creationId xmlns:a16="http://schemas.microsoft.com/office/drawing/2014/main" id="{28BC6F34-B8FF-8481-E9B3-1934219B4F19}"/>
              </a:ext>
            </a:extLst>
          </p:cNvPr>
          <p:cNvSpPr>
            <a:spLocks noGrp="1"/>
          </p:cNvSpPr>
          <p:nvPr>
            <p:ph type="body" sz="quarter" idx="19"/>
          </p:nvPr>
        </p:nvSpPr>
        <p:spPr>
          <a:xfrm>
            <a:off x="8350145" y="2552737"/>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4" name="Text Placeholder 33">
            <a:extLst>
              <a:ext uri="{FF2B5EF4-FFF2-40B4-BE49-F238E27FC236}">
                <a16:creationId xmlns:a16="http://schemas.microsoft.com/office/drawing/2014/main" id="{EC97A2E5-4D53-3B23-E411-78F3FB1468E2}"/>
              </a:ext>
            </a:extLst>
          </p:cNvPr>
          <p:cNvSpPr>
            <a:spLocks noGrp="1"/>
          </p:cNvSpPr>
          <p:nvPr>
            <p:ph type="body" sz="quarter" idx="20"/>
          </p:nvPr>
        </p:nvSpPr>
        <p:spPr>
          <a:xfrm>
            <a:off x="480000"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5" name="Text Placeholder 34">
            <a:extLst>
              <a:ext uri="{FF2B5EF4-FFF2-40B4-BE49-F238E27FC236}">
                <a16:creationId xmlns:a16="http://schemas.microsoft.com/office/drawing/2014/main" id="{BAC0B6E7-C956-1868-25F7-FB80EE9931D1}"/>
              </a:ext>
            </a:extLst>
          </p:cNvPr>
          <p:cNvSpPr>
            <a:spLocks noGrp="1"/>
          </p:cNvSpPr>
          <p:nvPr>
            <p:ph type="body" sz="quarter" idx="21"/>
          </p:nvPr>
        </p:nvSpPr>
        <p:spPr>
          <a:xfrm>
            <a:off x="480000"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6" name="Text Placeholder 35">
            <a:extLst>
              <a:ext uri="{FF2B5EF4-FFF2-40B4-BE49-F238E27FC236}">
                <a16:creationId xmlns:a16="http://schemas.microsoft.com/office/drawing/2014/main" id="{69654EAB-5EE3-A04B-DF94-7F18795A8D8B}"/>
              </a:ext>
            </a:extLst>
          </p:cNvPr>
          <p:cNvSpPr>
            <a:spLocks noGrp="1"/>
          </p:cNvSpPr>
          <p:nvPr>
            <p:ph type="body" sz="quarter" idx="22"/>
          </p:nvPr>
        </p:nvSpPr>
        <p:spPr>
          <a:xfrm>
            <a:off x="4415072"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7" name="Text Placeholder 36">
            <a:extLst>
              <a:ext uri="{FF2B5EF4-FFF2-40B4-BE49-F238E27FC236}">
                <a16:creationId xmlns:a16="http://schemas.microsoft.com/office/drawing/2014/main" id="{D7BE0FC5-4345-2A43-3E3A-001FF96A97FC}"/>
              </a:ext>
            </a:extLst>
          </p:cNvPr>
          <p:cNvSpPr>
            <a:spLocks noGrp="1"/>
          </p:cNvSpPr>
          <p:nvPr>
            <p:ph type="body" sz="quarter" idx="23"/>
          </p:nvPr>
        </p:nvSpPr>
        <p:spPr>
          <a:xfrm>
            <a:off x="4415072"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
        <p:nvSpPr>
          <p:cNvPr id="38" name="Text Placeholder 37">
            <a:extLst>
              <a:ext uri="{FF2B5EF4-FFF2-40B4-BE49-F238E27FC236}">
                <a16:creationId xmlns:a16="http://schemas.microsoft.com/office/drawing/2014/main" id="{9625ADA8-359A-DE7B-220B-878FBEBCFBC7}"/>
              </a:ext>
            </a:extLst>
          </p:cNvPr>
          <p:cNvSpPr>
            <a:spLocks noGrp="1"/>
          </p:cNvSpPr>
          <p:nvPr>
            <p:ph type="body" sz="quarter" idx="24"/>
          </p:nvPr>
        </p:nvSpPr>
        <p:spPr>
          <a:xfrm>
            <a:off x="8350145" y="4171416"/>
            <a:ext cx="3360000" cy="336389"/>
          </a:xfrm>
          <a:prstGeom prst="rect">
            <a:avLst/>
          </a:prstGeom>
        </p:spPr>
        <p:txBody>
          <a:bodyPr anchor="b" anchorCtr="0">
            <a:normAutofit/>
          </a:bodyPr>
          <a:lstStyle>
            <a:lvl1pPr marL="0" indent="0" algn="ctr">
              <a:buNone/>
              <a:defRPr sz="1867">
                <a:solidFill>
                  <a:schemeClr val="tx2"/>
                </a:solidFill>
                <a:latin typeface="+mj-lt"/>
              </a:defRPr>
            </a:lvl1pPr>
          </a:lstStyle>
          <a:p>
            <a:pPr lvl="0"/>
            <a:r>
              <a:rPr lang="en-US"/>
              <a:t>Click to edit Master text styles</a:t>
            </a:r>
          </a:p>
        </p:txBody>
      </p:sp>
      <p:sp>
        <p:nvSpPr>
          <p:cNvPr id="39" name="Text Placeholder 38">
            <a:extLst>
              <a:ext uri="{FF2B5EF4-FFF2-40B4-BE49-F238E27FC236}">
                <a16:creationId xmlns:a16="http://schemas.microsoft.com/office/drawing/2014/main" id="{D5048D3D-E97C-0017-E74F-7167172F44F5}"/>
              </a:ext>
            </a:extLst>
          </p:cNvPr>
          <p:cNvSpPr>
            <a:spLocks noGrp="1"/>
          </p:cNvSpPr>
          <p:nvPr>
            <p:ph type="body" sz="quarter" idx="25"/>
          </p:nvPr>
        </p:nvSpPr>
        <p:spPr>
          <a:xfrm>
            <a:off x="8350145" y="4667231"/>
            <a:ext cx="3360000" cy="1409663"/>
          </a:xfrm>
          <a:prstGeom prst="rect">
            <a:avLst/>
          </a:prstGeom>
        </p:spPr>
        <p:txBody>
          <a:bodyPr>
            <a:normAutofit/>
          </a:bodyPr>
          <a:lstStyle>
            <a:lvl1pPr marL="0" indent="0" algn="ctr">
              <a:spcBef>
                <a:spcPts val="0"/>
              </a:spcBef>
              <a:spcAft>
                <a:spcPts val="0"/>
              </a:spcAft>
              <a:buNone/>
              <a:defRPr sz="1600"/>
            </a:lvl1pPr>
          </a:lstStyle>
          <a:p>
            <a:pPr lvl="0"/>
            <a:r>
              <a:rPr lang="en-US"/>
              <a:t>Click to edit Master text styles</a:t>
            </a:r>
          </a:p>
        </p:txBody>
      </p:sp>
    </p:spTree>
    <p:extLst>
      <p:ext uri="{BB962C8B-B14F-4D97-AF65-F5344CB8AC3E}">
        <p14:creationId xmlns:p14="http://schemas.microsoft.com/office/powerpoint/2010/main" val="24838776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19530855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in Points 2">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Oval 1">
            <a:extLst>
              <a:ext uri="{FF2B5EF4-FFF2-40B4-BE49-F238E27FC236}">
                <a16:creationId xmlns:a16="http://schemas.microsoft.com/office/drawing/2014/main" id="{BD3EFA12-B5EA-18D1-8C87-D6A4B3D2C861}"/>
              </a:ext>
            </a:extLst>
          </p:cNvPr>
          <p:cNvSpPr/>
          <p:nvPr userDrawn="1"/>
        </p:nvSpPr>
        <p:spPr>
          <a:xfrm>
            <a:off x="4412222"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5" name="Oval 4">
            <a:extLst>
              <a:ext uri="{FF2B5EF4-FFF2-40B4-BE49-F238E27FC236}">
                <a16:creationId xmlns:a16="http://schemas.microsoft.com/office/drawing/2014/main" id="{D93047EC-5F7D-208F-AFB6-B978A01F3C6D}"/>
              </a:ext>
            </a:extLst>
          </p:cNvPr>
          <p:cNvSpPr/>
          <p:nvPr userDrawn="1"/>
        </p:nvSpPr>
        <p:spPr>
          <a:xfrm>
            <a:off x="8344445" y="2536256"/>
            <a:ext cx="3359999" cy="3360000"/>
          </a:xfrm>
          <a:prstGeom prst="ellipse">
            <a:avLst/>
          </a:prstGeom>
          <a:solidFill>
            <a:schemeClr val="tx2"/>
          </a:solidFill>
          <a:ln w="0" cap="flat">
            <a:noFill/>
            <a:prstDash val="solid"/>
            <a:miter/>
          </a:ln>
        </p:spPr>
        <p:txBody>
          <a:bodyPr rtlCol="0" anchor="ctr"/>
          <a:lstStyle/>
          <a:p>
            <a:pPr>
              <a:lnSpc>
                <a:spcPts val="1867"/>
              </a:lnSpc>
            </a:pPr>
            <a:endParaRPr lang="en-AD" sz="1467"/>
          </a:p>
        </p:txBody>
      </p:sp>
      <p:sp>
        <p:nvSpPr>
          <p:cNvPr id="6" name="Oval 5">
            <a:extLst>
              <a:ext uri="{FF2B5EF4-FFF2-40B4-BE49-F238E27FC236}">
                <a16:creationId xmlns:a16="http://schemas.microsoft.com/office/drawing/2014/main" id="{5950A459-C3EE-94A3-BCEF-BD7A3174325E}"/>
              </a:ext>
            </a:extLst>
          </p:cNvPr>
          <p:cNvSpPr/>
          <p:nvPr userDrawn="1"/>
        </p:nvSpPr>
        <p:spPr>
          <a:xfrm>
            <a:off x="479999" y="2536256"/>
            <a:ext cx="3359999" cy="3360000"/>
          </a:xfrm>
          <a:prstGeom prst="ellipse">
            <a:avLst/>
          </a:prstGeom>
          <a:solidFill>
            <a:schemeClr val="tx1"/>
          </a:solidFill>
          <a:ln w="0" cap="flat">
            <a:noFill/>
            <a:prstDash val="solid"/>
            <a:miter/>
          </a:ln>
        </p:spPr>
        <p:txBody>
          <a:bodyPr rtlCol="0" anchor="ctr"/>
          <a:lstStyle/>
          <a:p>
            <a:pPr>
              <a:lnSpc>
                <a:spcPts val="1867"/>
              </a:lnSpc>
            </a:pPr>
            <a:endParaRPr lang="en-AD" sz="1467"/>
          </a:p>
        </p:txBody>
      </p:sp>
      <p:sp>
        <p:nvSpPr>
          <p:cNvPr id="15" name="Text Placeholder 18">
            <a:extLst>
              <a:ext uri="{FF2B5EF4-FFF2-40B4-BE49-F238E27FC236}">
                <a16:creationId xmlns:a16="http://schemas.microsoft.com/office/drawing/2014/main" id="{15F2F45E-CCC5-D2C1-EDA5-84B3BAD1F276}"/>
              </a:ext>
            </a:extLst>
          </p:cNvPr>
          <p:cNvSpPr>
            <a:spLocks noGrp="1"/>
          </p:cNvSpPr>
          <p:nvPr>
            <p:ph type="body" sz="quarter" idx="15"/>
          </p:nvPr>
        </p:nvSpPr>
        <p:spPr>
          <a:xfrm>
            <a:off x="728134"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6" name="Text Placeholder 18">
            <a:extLst>
              <a:ext uri="{FF2B5EF4-FFF2-40B4-BE49-F238E27FC236}">
                <a16:creationId xmlns:a16="http://schemas.microsoft.com/office/drawing/2014/main" id="{125A635C-A77A-4EB9-997F-CA64BF012A7E}"/>
              </a:ext>
            </a:extLst>
          </p:cNvPr>
          <p:cNvSpPr>
            <a:spLocks noGrp="1"/>
          </p:cNvSpPr>
          <p:nvPr>
            <p:ph type="body" sz="quarter" idx="16"/>
          </p:nvPr>
        </p:nvSpPr>
        <p:spPr>
          <a:xfrm>
            <a:off x="4655841"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7" name="Text Placeholder 18">
            <a:extLst>
              <a:ext uri="{FF2B5EF4-FFF2-40B4-BE49-F238E27FC236}">
                <a16:creationId xmlns:a16="http://schemas.microsoft.com/office/drawing/2014/main" id="{24EED960-BBA0-6EA8-714F-54CE5B4410CA}"/>
              </a:ext>
            </a:extLst>
          </p:cNvPr>
          <p:cNvSpPr>
            <a:spLocks noGrp="1"/>
          </p:cNvSpPr>
          <p:nvPr>
            <p:ph type="body" sz="quarter" idx="17"/>
          </p:nvPr>
        </p:nvSpPr>
        <p:spPr>
          <a:xfrm>
            <a:off x="8592278" y="3811753"/>
            <a:ext cx="2874433" cy="1807999"/>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18" name="Text Placeholder 22">
            <a:extLst>
              <a:ext uri="{FF2B5EF4-FFF2-40B4-BE49-F238E27FC236}">
                <a16:creationId xmlns:a16="http://schemas.microsoft.com/office/drawing/2014/main" id="{91693202-A0C1-3ABC-6467-587C6B1D2E0E}"/>
              </a:ext>
            </a:extLst>
          </p:cNvPr>
          <p:cNvSpPr>
            <a:spLocks noGrp="1"/>
          </p:cNvSpPr>
          <p:nvPr>
            <p:ph type="body" sz="quarter" idx="18" hasCustomPrompt="1"/>
          </p:nvPr>
        </p:nvSpPr>
        <p:spPr>
          <a:xfrm>
            <a:off x="1493274"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19" name="Text Placeholder 22">
            <a:extLst>
              <a:ext uri="{FF2B5EF4-FFF2-40B4-BE49-F238E27FC236}">
                <a16:creationId xmlns:a16="http://schemas.microsoft.com/office/drawing/2014/main" id="{1478FC6B-377C-853E-F4C7-5E50E3C1B7BB}"/>
              </a:ext>
            </a:extLst>
          </p:cNvPr>
          <p:cNvSpPr>
            <a:spLocks noGrp="1"/>
          </p:cNvSpPr>
          <p:nvPr>
            <p:ph type="body" sz="quarter" idx="19" hasCustomPrompt="1"/>
          </p:nvPr>
        </p:nvSpPr>
        <p:spPr>
          <a:xfrm>
            <a:off x="5423926"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0" name="Text Placeholder 22">
            <a:extLst>
              <a:ext uri="{FF2B5EF4-FFF2-40B4-BE49-F238E27FC236}">
                <a16:creationId xmlns:a16="http://schemas.microsoft.com/office/drawing/2014/main" id="{B0F20950-9A8D-CE63-A9B5-406D7BCDE4F8}"/>
              </a:ext>
            </a:extLst>
          </p:cNvPr>
          <p:cNvSpPr>
            <a:spLocks noGrp="1"/>
          </p:cNvSpPr>
          <p:nvPr>
            <p:ph type="body" sz="quarter" idx="20" hasCustomPrompt="1"/>
          </p:nvPr>
        </p:nvSpPr>
        <p:spPr>
          <a:xfrm>
            <a:off x="9360363" y="2509493"/>
            <a:ext cx="1322916" cy="1267884"/>
          </a:xfrm>
          <a:prstGeom prst="rect">
            <a:avLst/>
          </a:prstGeom>
        </p:spPr>
        <p:txBody>
          <a:bodyPr anchor="ctr" anchorCtr="0">
            <a:normAutofit/>
          </a:bodyPr>
          <a:lstStyle>
            <a:lvl1pPr marL="0" indent="0" algn="ctr">
              <a:buNone/>
              <a:defRPr sz="6400">
                <a:solidFill>
                  <a:schemeClr val="bg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238046862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ain Points 3">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Freeform 1">
            <a:extLst>
              <a:ext uri="{FF2B5EF4-FFF2-40B4-BE49-F238E27FC236}">
                <a16:creationId xmlns:a16="http://schemas.microsoft.com/office/drawing/2014/main" id="{7FC68C33-E029-6C22-0762-EC6581267FEF}"/>
              </a:ext>
            </a:extLst>
          </p:cNvPr>
          <p:cNvSpPr/>
          <p:nvPr userDrawn="1"/>
        </p:nvSpPr>
        <p:spPr>
          <a:xfrm>
            <a:off x="4412222"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5" name="Freeform 4">
            <a:extLst>
              <a:ext uri="{FF2B5EF4-FFF2-40B4-BE49-F238E27FC236}">
                <a16:creationId xmlns:a16="http://schemas.microsoft.com/office/drawing/2014/main" id="{879D6BC5-8D63-5278-B1D2-94F5A9DF891E}"/>
              </a:ext>
            </a:extLst>
          </p:cNvPr>
          <p:cNvSpPr/>
          <p:nvPr userDrawn="1"/>
        </p:nvSpPr>
        <p:spPr>
          <a:xfrm>
            <a:off x="8344445"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1"/>
          </a:solidFill>
          <a:ln w="0" cap="flat">
            <a:noFill/>
            <a:prstDash val="solid"/>
            <a:miter/>
          </a:ln>
        </p:spPr>
        <p:txBody>
          <a:bodyPr rtlCol="0" anchor="ctr">
            <a:normAutofit/>
          </a:bodyPr>
          <a:lstStyle/>
          <a:p>
            <a:pPr>
              <a:lnSpc>
                <a:spcPts val="1867"/>
              </a:lnSpc>
            </a:pPr>
            <a:endParaRPr lang="en-AD" sz="1467"/>
          </a:p>
        </p:txBody>
      </p:sp>
      <p:sp>
        <p:nvSpPr>
          <p:cNvPr id="6" name="Freeform 5">
            <a:extLst>
              <a:ext uri="{FF2B5EF4-FFF2-40B4-BE49-F238E27FC236}">
                <a16:creationId xmlns:a16="http://schemas.microsoft.com/office/drawing/2014/main" id="{2F8011D0-DE62-A449-C043-5F9B6FBF8E6C}"/>
              </a:ext>
            </a:extLst>
          </p:cNvPr>
          <p:cNvSpPr/>
          <p:nvPr userDrawn="1"/>
        </p:nvSpPr>
        <p:spPr>
          <a:xfrm>
            <a:off x="9300177" y="1812723"/>
            <a:ext cx="1448535" cy="1449112"/>
          </a:xfrm>
          <a:custGeom>
            <a:avLst/>
            <a:gdLst>
              <a:gd name="connsiteX0" fmla="*/ 1271413 w 1271413"/>
              <a:gd name="connsiteY0" fmla="*/ 635960 h 1271920"/>
              <a:gd name="connsiteX1" fmla="*/ 635706 w 1271413"/>
              <a:gd name="connsiteY1" fmla="*/ 1271920 h 1271920"/>
              <a:gd name="connsiteX2" fmla="*/ 0 w 1271413"/>
              <a:gd name="connsiteY2" fmla="*/ 635960 h 1271920"/>
              <a:gd name="connsiteX3" fmla="*/ 635706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6" y="1271920"/>
                </a:cubicBezTo>
                <a:cubicBezTo>
                  <a:pt x="284615" y="1271920"/>
                  <a:pt x="0" y="987191"/>
                  <a:pt x="0" y="635960"/>
                </a:cubicBezTo>
                <a:cubicBezTo>
                  <a:pt x="0" y="284729"/>
                  <a:pt x="284615" y="0"/>
                  <a:pt x="635706"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7" name="Freeform 6">
            <a:extLst>
              <a:ext uri="{FF2B5EF4-FFF2-40B4-BE49-F238E27FC236}">
                <a16:creationId xmlns:a16="http://schemas.microsoft.com/office/drawing/2014/main" id="{DA94656C-A3EC-662B-9E00-92E0A5D9EE61}"/>
              </a:ext>
            </a:extLst>
          </p:cNvPr>
          <p:cNvSpPr/>
          <p:nvPr userDrawn="1"/>
        </p:nvSpPr>
        <p:spPr>
          <a:xfrm>
            <a:off x="5367954" y="1812723"/>
            <a:ext cx="1448535" cy="1449112"/>
          </a:xfrm>
          <a:custGeom>
            <a:avLst/>
            <a:gdLst>
              <a:gd name="connsiteX0" fmla="*/ 1271414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4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4" y="635960"/>
                </a:moveTo>
                <a:cubicBezTo>
                  <a:pt x="1271414" y="987191"/>
                  <a:pt x="986798" y="1271920"/>
                  <a:pt x="635707" y="1271920"/>
                </a:cubicBezTo>
                <a:cubicBezTo>
                  <a:pt x="284616" y="1271920"/>
                  <a:pt x="0" y="987191"/>
                  <a:pt x="0" y="635960"/>
                </a:cubicBezTo>
                <a:cubicBezTo>
                  <a:pt x="0" y="284729"/>
                  <a:pt x="284616" y="0"/>
                  <a:pt x="635707" y="0"/>
                </a:cubicBezTo>
                <a:cubicBezTo>
                  <a:pt x="986798" y="0"/>
                  <a:pt x="1271414" y="284729"/>
                  <a:pt x="1271414"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8" name="Freeform 7">
            <a:extLst>
              <a:ext uri="{FF2B5EF4-FFF2-40B4-BE49-F238E27FC236}">
                <a16:creationId xmlns:a16="http://schemas.microsoft.com/office/drawing/2014/main" id="{C39C3043-69AE-A3AA-A59E-D2C1E1295FFB}"/>
              </a:ext>
            </a:extLst>
          </p:cNvPr>
          <p:cNvSpPr/>
          <p:nvPr userDrawn="1"/>
        </p:nvSpPr>
        <p:spPr>
          <a:xfrm>
            <a:off x="479999" y="2536256"/>
            <a:ext cx="3359999" cy="3360000"/>
          </a:xfrm>
          <a:custGeom>
            <a:avLst/>
            <a:gdLst>
              <a:gd name="connsiteX0" fmla="*/ 0 w 2712305"/>
              <a:gd name="connsiteY0" fmla="*/ 0 h 3436728"/>
              <a:gd name="connsiteX1" fmla="*/ 2712306 w 2712305"/>
              <a:gd name="connsiteY1" fmla="*/ 0 h 3436728"/>
              <a:gd name="connsiteX2" fmla="*/ 2712306 w 2712305"/>
              <a:gd name="connsiteY2" fmla="*/ 3436728 h 3436728"/>
              <a:gd name="connsiteX3" fmla="*/ 0 w 2712305"/>
              <a:gd name="connsiteY3" fmla="*/ 3436728 h 3436728"/>
            </a:gdLst>
            <a:ahLst/>
            <a:cxnLst>
              <a:cxn ang="0">
                <a:pos x="connsiteX0" y="connsiteY0"/>
              </a:cxn>
              <a:cxn ang="0">
                <a:pos x="connsiteX1" y="connsiteY1"/>
              </a:cxn>
              <a:cxn ang="0">
                <a:pos x="connsiteX2" y="connsiteY2"/>
              </a:cxn>
              <a:cxn ang="0">
                <a:pos x="connsiteX3" y="connsiteY3"/>
              </a:cxn>
            </a:cxnLst>
            <a:rect l="l" t="t" r="r" b="b"/>
            <a:pathLst>
              <a:path w="2712305" h="3436728">
                <a:moveTo>
                  <a:pt x="0" y="0"/>
                </a:moveTo>
                <a:lnTo>
                  <a:pt x="2712306" y="0"/>
                </a:lnTo>
                <a:lnTo>
                  <a:pt x="2712306" y="3436728"/>
                </a:lnTo>
                <a:lnTo>
                  <a:pt x="0" y="3436728"/>
                </a:lnTo>
                <a:close/>
              </a:path>
            </a:pathLst>
          </a:custGeom>
          <a:solidFill>
            <a:schemeClr val="tx2"/>
          </a:solidFill>
          <a:ln w="0" cap="flat">
            <a:noFill/>
            <a:prstDash val="solid"/>
            <a:miter/>
          </a:ln>
        </p:spPr>
        <p:txBody>
          <a:bodyPr rtlCol="0" anchor="ctr">
            <a:normAutofit/>
          </a:bodyPr>
          <a:lstStyle/>
          <a:p>
            <a:pPr>
              <a:lnSpc>
                <a:spcPts val="1867"/>
              </a:lnSpc>
            </a:pPr>
            <a:endParaRPr lang="en-AD" sz="1467"/>
          </a:p>
        </p:txBody>
      </p:sp>
      <p:sp>
        <p:nvSpPr>
          <p:cNvPr id="9" name="Freeform 8">
            <a:extLst>
              <a:ext uri="{FF2B5EF4-FFF2-40B4-BE49-F238E27FC236}">
                <a16:creationId xmlns:a16="http://schemas.microsoft.com/office/drawing/2014/main" id="{76FFDF97-71F7-F237-8E41-CD102B85FB06}"/>
              </a:ext>
            </a:extLst>
          </p:cNvPr>
          <p:cNvSpPr/>
          <p:nvPr userDrawn="1"/>
        </p:nvSpPr>
        <p:spPr>
          <a:xfrm>
            <a:off x="1435731" y="1812723"/>
            <a:ext cx="1448535" cy="1449112"/>
          </a:xfrm>
          <a:custGeom>
            <a:avLst/>
            <a:gdLst>
              <a:gd name="connsiteX0" fmla="*/ 1271413 w 1271413"/>
              <a:gd name="connsiteY0" fmla="*/ 635960 h 1271920"/>
              <a:gd name="connsiteX1" fmla="*/ 635707 w 1271413"/>
              <a:gd name="connsiteY1" fmla="*/ 1271920 h 1271920"/>
              <a:gd name="connsiteX2" fmla="*/ 0 w 1271413"/>
              <a:gd name="connsiteY2" fmla="*/ 635960 h 1271920"/>
              <a:gd name="connsiteX3" fmla="*/ 635707 w 1271413"/>
              <a:gd name="connsiteY3" fmla="*/ 0 h 1271920"/>
              <a:gd name="connsiteX4" fmla="*/ 1271413 w 1271413"/>
              <a:gd name="connsiteY4" fmla="*/ 635960 h 127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13" h="1271920">
                <a:moveTo>
                  <a:pt x="1271413" y="635960"/>
                </a:moveTo>
                <a:cubicBezTo>
                  <a:pt x="1271413" y="987191"/>
                  <a:pt x="986798" y="1271920"/>
                  <a:pt x="635707" y="1271920"/>
                </a:cubicBezTo>
                <a:cubicBezTo>
                  <a:pt x="284616" y="1271920"/>
                  <a:pt x="0" y="987191"/>
                  <a:pt x="0" y="635960"/>
                </a:cubicBezTo>
                <a:cubicBezTo>
                  <a:pt x="0" y="284729"/>
                  <a:pt x="284616" y="0"/>
                  <a:pt x="635707" y="0"/>
                </a:cubicBezTo>
                <a:cubicBezTo>
                  <a:pt x="986798" y="0"/>
                  <a:pt x="1271413" y="284729"/>
                  <a:pt x="1271413" y="635960"/>
                </a:cubicBezTo>
                <a:close/>
              </a:path>
            </a:pathLst>
          </a:custGeom>
          <a:solidFill>
            <a:srgbClr val="FFFFFF"/>
          </a:solidFill>
          <a:ln w="0" cap="flat">
            <a:noFill/>
            <a:prstDash val="solid"/>
            <a:miter/>
          </a:ln>
        </p:spPr>
        <p:txBody>
          <a:bodyPr rtlCol="0" anchor="ctr">
            <a:normAutofit/>
          </a:bodyPr>
          <a:lstStyle/>
          <a:p>
            <a:pPr>
              <a:lnSpc>
                <a:spcPts val="1867"/>
              </a:lnSpc>
            </a:pPr>
            <a:endParaRPr lang="en-AD" sz="1467"/>
          </a:p>
        </p:txBody>
      </p:sp>
      <p:sp>
        <p:nvSpPr>
          <p:cNvPr id="19" name="Text Placeholder 18">
            <a:extLst>
              <a:ext uri="{FF2B5EF4-FFF2-40B4-BE49-F238E27FC236}">
                <a16:creationId xmlns:a16="http://schemas.microsoft.com/office/drawing/2014/main" id="{158AF768-21A9-A7F4-D716-466F7075126E}"/>
              </a:ext>
            </a:extLst>
          </p:cNvPr>
          <p:cNvSpPr>
            <a:spLocks noGrp="1"/>
          </p:cNvSpPr>
          <p:nvPr>
            <p:ph type="body" sz="quarter" idx="15"/>
          </p:nvPr>
        </p:nvSpPr>
        <p:spPr>
          <a:xfrm>
            <a:off x="728134"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0" name="Text Placeholder 18">
            <a:extLst>
              <a:ext uri="{FF2B5EF4-FFF2-40B4-BE49-F238E27FC236}">
                <a16:creationId xmlns:a16="http://schemas.microsoft.com/office/drawing/2014/main" id="{EC9FDA71-85F6-DE5B-52B7-F9E3A5CD2388}"/>
              </a:ext>
            </a:extLst>
          </p:cNvPr>
          <p:cNvSpPr>
            <a:spLocks noGrp="1"/>
          </p:cNvSpPr>
          <p:nvPr>
            <p:ph type="body" sz="quarter" idx="16"/>
          </p:nvPr>
        </p:nvSpPr>
        <p:spPr>
          <a:xfrm>
            <a:off x="4655841"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1" name="Text Placeholder 18">
            <a:extLst>
              <a:ext uri="{FF2B5EF4-FFF2-40B4-BE49-F238E27FC236}">
                <a16:creationId xmlns:a16="http://schemas.microsoft.com/office/drawing/2014/main" id="{F924DA4B-FFBB-F222-E5ED-ECE36B483B8E}"/>
              </a:ext>
            </a:extLst>
          </p:cNvPr>
          <p:cNvSpPr>
            <a:spLocks noGrp="1"/>
          </p:cNvSpPr>
          <p:nvPr>
            <p:ph type="body" sz="quarter" idx="17"/>
          </p:nvPr>
        </p:nvSpPr>
        <p:spPr>
          <a:xfrm>
            <a:off x="8592278" y="3448051"/>
            <a:ext cx="2874433" cy="2171700"/>
          </a:xfrm>
          <a:prstGeom prst="rect">
            <a:avLst/>
          </a:prstGeom>
        </p:spPr>
        <p:txBody>
          <a:bodyPr>
            <a:normAutofit/>
          </a:bodyPr>
          <a:lstStyle>
            <a:lvl1pPr marL="0" indent="0" algn="ctr">
              <a:lnSpc>
                <a:spcPts val="2133"/>
              </a:lnSpc>
              <a:spcBef>
                <a:spcPts val="0"/>
              </a:spcBef>
              <a:spcAft>
                <a:spcPts val="0"/>
              </a:spcAft>
              <a:buNone/>
              <a:defRPr>
                <a:solidFill>
                  <a:schemeClr val="bg1"/>
                </a:solidFill>
                <a:latin typeface="+mj-lt"/>
              </a:defRPr>
            </a:lvl1pPr>
            <a:lvl2pPr marL="167996" indent="0" algn="ctr">
              <a:buNone/>
              <a:defRPr>
                <a:solidFill>
                  <a:schemeClr val="bg1"/>
                </a:solidFill>
              </a:defRPr>
            </a:lvl2pPr>
            <a:lvl3pPr marL="335992" indent="0" algn="ctr">
              <a:buNone/>
              <a:defRPr>
                <a:solidFill>
                  <a:schemeClr val="bg1"/>
                </a:solidFill>
              </a:defRPr>
            </a:lvl3pPr>
            <a:lvl4pPr marL="503987" indent="0" algn="ctr">
              <a:buNone/>
              <a:defRPr>
                <a:solidFill>
                  <a:schemeClr val="bg1"/>
                </a:solidFill>
              </a:defRPr>
            </a:lvl4pPr>
            <a:lvl5pPr marL="671983" indent="0" algn="ctr">
              <a:buNone/>
              <a:defRPr>
                <a:solidFill>
                  <a:schemeClr val="bg1"/>
                </a:solidFill>
              </a:defRPr>
            </a:lvl5pPr>
          </a:lstStyle>
          <a:p>
            <a:pPr lvl="0"/>
            <a:r>
              <a:rPr lang="en-US"/>
              <a:t>Click to edit Master text styles</a:t>
            </a:r>
          </a:p>
        </p:txBody>
      </p:sp>
      <p:sp>
        <p:nvSpPr>
          <p:cNvPr id="23" name="Text Placeholder 22">
            <a:extLst>
              <a:ext uri="{FF2B5EF4-FFF2-40B4-BE49-F238E27FC236}">
                <a16:creationId xmlns:a16="http://schemas.microsoft.com/office/drawing/2014/main" id="{55720C65-C33F-8DA5-0847-AF133FE44783}"/>
              </a:ext>
            </a:extLst>
          </p:cNvPr>
          <p:cNvSpPr>
            <a:spLocks noGrp="1"/>
          </p:cNvSpPr>
          <p:nvPr>
            <p:ph type="body" sz="quarter" idx="18" hasCustomPrompt="1"/>
          </p:nvPr>
        </p:nvSpPr>
        <p:spPr>
          <a:xfrm>
            <a:off x="1493274"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1</a:t>
            </a:r>
          </a:p>
        </p:txBody>
      </p:sp>
      <p:sp>
        <p:nvSpPr>
          <p:cNvPr id="24" name="Text Placeholder 22">
            <a:extLst>
              <a:ext uri="{FF2B5EF4-FFF2-40B4-BE49-F238E27FC236}">
                <a16:creationId xmlns:a16="http://schemas.microsoft.com/office/drawing/2014/main" id="{8AB935E3-9ED2-CD07-AC0A-F49FDF41FEDD}"/>
              </a:ext>
            </a:extLst>
          </p:cNvPr>
          <p:cNvSpPr>
            <a:spLocks noGrp="1"/>
          </p:cNvSpPr>
          <p:nvPr>
            <p:ph type="body" sz="quarter" idx="19" hasCustomPrompt="1"/>
          </p:nvPr>
        </p:nvSpPr>
        <p:spPr>
          <a:xfrm>
            <a:off x="5423926" y="1794789"/>
            <a:ext cx="1322916" cy="1267884"/>
          </a:xfrm>
          <a:prstGeom prst="rect">
            <a:avLst/>
          </a:prstGeom>
        </p:spPr>
        <p:txBody>
          <a:bodyPr anchor="ctr" anchorCtr="0">
            <a:normAutofit/>
          </a:bodyPr>
          <a:lstStyle>
            <a:lvl1pPr marL="0" indent="0" algn="ctr">
              <a:buNone/>
              <a:defRPr sz="6400">
                <a:solidFill>
                  <a:schemeClr val="tx2"/>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2</a:t>
            </a:r>
          </a:p>
        </p:txBody>
      </p:sp>
      <p:sp>
        <p:nvSpPr>
          <p:cNvPr id="25" name="Text Placeholder 22">
            <a:extLst>
              <a:ext uri="{FF2B5EF4-FFF2-40B4-BE49-F238E27FC236}">
                <a16:creationId xmlns:a16="http://schemas.microsoft.com/office/drawing/2014/main" id="{9B512850-2B9C-8D95-E0DD-D4C810D8FD3A}"/>
              </a:ext>
            </a:extLst>
          </p:cNvPr>
          <p:cNvSpPr>
            <a:spLocks noGrp="1"/>
          </p:cNvSpPr>
          <p:nvPr>
            <p:ph type="body" sz="quarter" idx="20" hasCustomPrompt="1"/>
          </p:nvPr>
        </p:nvSpPr>
        <p:spPr>
          <a:xfrm>
            <a:off x="9360363" y="1794789"/>
            <a:ext cx="1322916" cy="1267884"/>
          </a:xfrm>
          <a:prstGeom prst="rect">
            <a:avLst/>
          </a:prstGeom>
        </p:spPr>
        <p:txBody>
          <a:bodyPr anchor="ctr" anchorCtr="0">
            <a:normAutofit/>
          </a:bodyPr>
          <a:lstStyle>
            <a:lvl1pPr marL="0" indent="0" algn="ctr">
              <a:buNone/>
              <a:defRPr sz="6400">
                <a:solidFill>
                  <a:schemeClr val="accent1"/>
                </a:solidFill>
                <a:latin typeface="+mj-lt"/>
              </a:defRPr>
            </a:lvl1pPr>
            <a:lvl2pPr marL="167996" indent="0">
              <a:buNone/>
              <a:defRPr sz="6400"/>
            </a:lvl2pPr>
            <a:lvl3pPr marL="335992" indent="0">
              <a:buNone/>
              <a:defRPr sz="6400"/>
            </a:lvl3pPr>
            <a:lvl4pPr marL="503987" indent="0">
              <a:buNone/>
              <a:defRPr sz="6400"/>
            </a:lvl4pPr>
            <a:lvl5pPr marL="671983" indent="0">
              <a:buNone/>
              <a:defRPr sz="6400"/>
            </a:lvl5pPr>
          </a:lstStyle>
          <a:p>
            <a:pPr lvl="0"/>
            <a:r>
              <a:rPr lang="en-AD"/>
              <a:t>3</a:t>
            </a:r>
          </a:p>
        </p:txBody>
      </p:sp>
    </p:spTree>
    <p:extLst>
      <p:ext uri="{BB962C8B-B14F-4D97-AF65-F5344CB8AC3E}">
        <p14:creationId xmlns:p14="http://schemas.microsoft.com/office/powerpoint/2010/main" val="27611447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ain Points &amp; Picture">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59E8831-5E10-4C6B-1131-1761E1ABA6E8}"/>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C85BE271-9887-5F65-0927-A1D0E947759B}"/>
              </a:ext>
            </a:extLst>
          </p:cNvPr>
          <p:cNvSpPr>
            <a:spLocks noGrp="1"/>
          </p:cNvSpPr>
          <p:nvPr>
            <p:ph type="body" sz="quarter" idx="13" hasCustomPrompt="1"/>
          </p:nvPr>
        </p:nvSpPr>
        <p:spPr>
          <a:xfrm>
            <a:off x="480001" y="1129104"/>
            <a:ext cx="9749849" cy="370416"/>
          </a:xfrm>
          <a:prstGeom prst="rect">
            <a:avLst/>
          </a:prstGeom>
        </p:spPr>
        <p:txBody>
          <a:bodyPr>
            <a:norm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29" name="Group 28">
            <a:extLst>
              <a:ext uri="{FF2B5EF4-FFF2-40B4-BE49-F238E27FC236}">
                <a16:creationId xmlns:a16="http://schemas.microsoft.com/office/drawing/2014/main" id="{E9C7E5E3-C907-C23D-AC1E-C4F9472D614B}"/>
              </a:ext>
            </a:extLst>
          </p:cNvPr>
          <p:cNvGrpSpPr/>
          <p:nvPr userDrawn="1"/>
        </p:nvGrpSpPr>
        <p:grpSpPr>
          <a:xfrm>
            <a:off x="10621293" y="307200"/>
            <a:ext cx="1085908" cy="821904"/>
            <a:chOff x="1001339" y="887094"/>
            <a:chExt cx="814431" cy="616428"/>
          </a:xfrm>
        </p:grpSpPr>
        <p:sp>
          <p:nvSpPr>
            <p:cNvPr id="30" name="Freeform 29">
              <a:extLst>
                <a:ext uri="{FF2B5EF4-FFF2-40B4-BE49-F238E27FC236}">
                  <a16:creationId xmlns:a16="http://schemas.microsoft.com/office/drawing/2014/main" id="{388CA5A3-664D-3CB1-0282-08F51CC5FE9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8AA3A00A-F031-2036-B093-56A3C2E25DFE}"/>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2" name="Freeform 31">
              <a:extLst>
                <a:ext uri="{FF2B5EF4-FFF2-40B4-BE49-F238E27FC236}">
                  <a16:creationId xmlns:a16="http://schemas.microsoft.com/office/drawing/2014/main" id="{6E785E97-6360-4022-F879-85F23040A49B}"/>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93F49A2E-3E1A-0EB3-ABB0-9528977850B8}"/>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F97DD554-2D1B-4605-08C1-9B4B0950034A}"/>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5" name="Text Placeholder 14">
            <a:extLst>
              <a:ext uri="{FF2B5EF4-FFF2-40B4-BE49-F238E27FC236}">
                <a16:creationId xmlns:a16="http://schemas.microsoft.com/office/drawing/2014/main" id="{ACA5B2AB-796F-0F40-6E8C-FD5E295DC2D7}"/>
              </a:ext>
            </a:extLst>
          </p:cNvPr>
          <p:cNvSpPr>
            <a:spLocks noGrp="1"/>
          </p:cNvSpPr>
          <p:nvPr>
            <p:ph type="body" sz="quarter" idx="15"/>
          </p:nvPr>
        </p:nvSpPr>
        <p:spPr>
          <a:xfrm>
            <a:off x="6088994" y="2178635"/>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16" name="Text Placeholder 14">
            <a:extLst>
              <a:ext uri="{FF2B5EF4-FFF2-40B4-BE49-F238E27FC236}">
                <a16:creationId xmlns:a16="http://schemas.microsoft.com/office/drawing/2014/main" id="{B79418CE-7C06-8CFE-1F2F-DD15C296A773}"/>
              </a:ext>
            </a:extLst>
          </p:cNvPr>
          <p:cNvSpPr>
            <a:spLocks noGrp="1"/>
          </p:cNvSpPr>
          <p:nvPr>
            <p:ph type="body" sz="quarter" idx="16"/>
          </p:nvPr>
        </p:nvSpPr>
        <p:spPr>
          <a:xfrm>
            <a:off x="6088994" y="2653159"/>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17" name="Text Placeholder 14">
            <a:extLst>
              <a:ext uri="{FF2B5EF4-FFF2-40B4-BE49-F238E27FC236}">
                <a16:creationId xmlns:a16="http://schemas.microsoft.com/office/drawing/2014/main" id="{8D6DBA23-45CE-00C6-8D4F-0A6F8E079D21}"/>
              </a:ext>
            </a:extLst>
          </p:cNvPr>
          <p:cNvSpPr>
            <a:spLocks noGrp="1"/>
          </p:cNvSpPr>
          <p:nvPr>
            <p:ph type="body" sz="quarter" idx="17"/>
          </p:nvPr>
        </p:nvSpPr>
        <p:spPr>
          <a:xfrm>
            <a:off x="6088994" y="3457028"/>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18" name="Text Placeholder 14">
            <a:extLst>
              <a:ext uri="{FF2B5EF4-FFF2-40B4-BE49-F238E27FC236}">
                <a16:creationId xmlns:a16="http://schemas.microsoft.com/office/drawing/2014/main" id="{A0B61CFC-F9BD-265E-F0E0-6326EABA2D16}"/>
              </a:ext>
            </a:extLst>
          </p:cNvPr>
          <p:cNvSpPr>
            <a:spLocks noGrp="1"/>
          </p:cNvSpPr>
          <p:nvPr>
            <p:ph type="body" sz="quarter" idx="18"/>
          </p:nvPr>
        </p:nvSpPr>
        <p:spPr>
          <a:xfrm>
            <a:off x="6088994" y="3931552"/>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19" name="Text Placeholder 14">
            <a:extLst>
              <a:ext uri="{FF2B5EF4-FFF2-40B4-BE49-F238E27FC236}">
                <a16:creationId xmlns:a16="http://schemas.microsoft.com/office/drawing/2014/main" id="{5A468320-D2F3-B39F-E547-2E4C9510F6BD}"/>
              </a:ext>
            </a:extLst>
          </p:cNvPr>
          <p:cNvSpPr>
            <a:spLocks noGrp="1"/>
          </p:cNvSpPr>
          <p:nvPr>
            <p:ph type="body" sz="quarter" idx="19"/>
          </p:nvPr>
        </p:nvSpPr>
        <p:spPr>
          <a:xfrm>
            <a:off x="6088994" y="4743036"/>
            <a:ext cx="5592233" cy="406400"/>
          </a:xfrm>
          <a:prstGeom prst="rect">
            <a:avLst/>
          </a:prstGeom>
        </p:spPr>
        <p:txBody>
          <a:bodyPr anchor="b" anchorCtr="0">
            <a:normAutofit/>
          </a:bodyPr>
          <a:lstStyle>
            <a:lvl1pPr marL="0" indent="0">
              <a:buNone/>
              <a:defRPr cap="all" baseline="0">
                <a:solidFill>
                  <a:schemeClr val="tx2"/>
                </a:solidFill>
                <a:latin typeface="+mj-lt"/>
              </a:defRPr>
            </a:lvl1pPr>
          </a:lstStyle>
          <a:p>
            <a:pPr lvl="0"/>
            <a:r>
              <a:rPr lang="en-US"/>
              <a:t>Click to edit Master text styles</a:t>
            </a:r>
          </a:p>
        </p:txBody>
      </p:sp>
      <p:sp>
        <p:nvSpPr>
          <p:cNvPr id="20" name="Text Placeholder 14">
            <a:extLst>
              <a:ext uri="{FF2B5EF4-FFF2-40B4-BE49-F238E27FC236}">
                <a16:creationId xmlns:a16="http://schemas.microsoft.com/office/drawing/2014/main" id="{86CD6EEC-FC91-60BF-2274-2EA132EDDE5C}"/>
              </a:ext>
            </a:extLst>
          </p:cNvPr>
          <p:cNvSpPr>
            <a:spLocks noGrp="1"/>
          </p:cNvSpPr>
          <p:nvPr>
            <p:ph type="body" sz="quarter" idx="20"/>
          </p:nvPr>
        </p:nvSpPr>
        <p:spPr>
          <a:xfrm>
            <a:off x="6088994" y="5217560"/>
            <a:ext cx="5592233" cy="576000"/>
          </a:xfrm>
          <a:prstGeom prst="rect">
            <a:avLst/>
          </a:prstGeom>
        </p:spPr>
        <p:txBody>
          <a:bodyPr anchor="t" anchorCtr="0">
            <a:normAutofit/>
          </a:bodyPr>
          <a:lstStyle>
            <a:lvl1pPr marL="0" indent="0">
              <a:buNone/>
              <a:defRPr cap="none" baseline="0">
                <a:solidFill>
                  <a:schemeClr val="accent1"/>
                </a:solidFill>
                <a:latin typeface="+mn-lt"/>
              </a:defRPr>
            </a:lvl1pPr>
          </a:lstStyle>
          <a:p>
            <a:pPr lvl="0"/>
            <a:r>
              <a:rPr lang="en-US"/>
              <a:t>Click to edit Master text styles</a:t>
            </a:r>
          </a:p>
        </p:txBody>
      </p:sp>
      <p:sp>
        <p:nvSpPr>
          <p:cNvPr id="33" name="Picture Placeholder 32">
            <a:extLst>
              <a:ext uri="{FF2B5EF4-FFF2-40B4-BE49-F238E27FC236}">
                <a16:creationId xmlns:a16="http://schemas.microsoft.com/office/drawing/2014/main" id="{EA6C729B-D79E-CB3D-68EF-CBF32D017BD4}"/>
              </a:ext>
            </a:extLst>
          </p:cNvPr>
          <p:cNvSpPr>
            <a:spLocks noGrp="1"/>
          </p:cNvSpPr>
          <p:nvPr>
            <p:ph type="pic" sz="quarter" idx="21"/>
          </p:nvPr>
        </p:nvSpPr>
        <p:spPr>
          <a:xfrm>
            <a:off x="476251" y="1982661"/>
            <a:ext cx="4000500" cy="4000500"/>
          </a:xfrm>
          <a:prstGeom prst="ellipse">
            <a:avLst/>
          </a:prstGeom>
          <a:solidFill>
            <a:schemeClr val="tx2"/>
          </a:solidFill>
        </p:spPr>
        <p:txBody>
          <a:bodyPr anchor="ctr" anchorCtr="0"/>
          <a:lstStyle>
            <a:lvl1pPr marL="0" indent="0" algn="ctr">
              <a:buNone/>
              <a:defRPr>
                <a:solidFill>
                  <a:schemeClr val="bg1"/>
                </a:solidFill>
              </a:defRPr>
            </a:lvl1pPr>
          </a:lstStyle>
          <a:p>
            <a:r>
              <a:rPr lang="en-US"/>
              <a:t>Click icon to add picture</a:t>
            </a:r>
            <a:endParaRPr lang="en-AD"/>
          </a:p>
        </p:txBody>
      </p:sp>
      <p:sp>
        <p:nvSpPr>
          <p:cNvPr id="36" name="Picture Placeholder 35">
            <a:extLst>
              <a:ext uri="{FF2B5EF4-FFF2-40B4-BE49-F238E27FC236}">
                <a16:creationId xmlns:a16="http://schemas.microsoft.com/office/drawing/2014/main" id="{5E0023AC-FDAF-72FC-6414-693ED4362CBB}"/>
              </a:ext>
            </a:extLst>
          </p:cNvPr>
          <p:cNvSpPr>
            <a:spLocks noGrp="1"/>
          </p:cNvSpPr>
          <p:nvPr>
            <p:ph type="pic" sz="quarter" idx="22"/>
          </p:nvPr>
        </p:nvSpPr>
        <p:spPr>
          <a:xfrm>
            <a:off x="5107444" y="2230408"/>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37" name="Picture Placeholder 35">
            <a:extLst>
              <a:ext uri="{FF2B5EF4-FFF2-40B4-BE49-F238E27FC236}">
                <a16:creationId xmlns:a16="http://schemas.microsoft.com/office/drawing/2014/main" id="{A861DEA2-7FC3-05F4-B6B4-EBCF36A1041F}"/>
              </a:ext>
            </a:extLst>
          </p:cNvPr>
          <p:cNvSpPr>
            <a:spLocks noGrp="1"/>
          </p:cNvSpPr>
          <p:nvPr>
            <p:ph type="pic" sz="quarter" idx="23"/>
          </p:nvPr>
        </p:nvSpPr>
        <p:spPr>
          <a:xfrm>
            <a:off x="5107444" y="3505282"/>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38" name="Picture Placeholder 35">
            <a:extLst>
              <a:ext uri="{FF2B5EF4-FFF2-40B4-BE49-F238E27FC236}">
                <a16:creationId xmlns:a16="http://schemas.microsoft.com/office/drawing/2014/main" id="{BB565A45-2609-3047-B5D5-0C5F25ADF4AD}"/>
              </a:ext>
            </a:extLst>
          </p:cNvPr>
          <p:cNvSpPr>
            <a:spLocks noGrp="1"/>
          </p:cNvSpPr>
          <p:nvPr>
            <p:ph type="pic" sz="quarter" idx="24"/>
          </p:nvPr>
        </p:nvSpPr>
        <p:spPr>
          <a:xfrm>
            <a:off x="5107444" y="4780157"/>
            <a:ext cx="813384" cy="811025"/>
          </a:xfrm>
          <a:prstGeom prst="ellipse">
            <a:avLst/>
          </a:prstGeom>
          <a:solidFill>
            <a:schemeClr val="tx1"/>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Tree>
    <p:extLst>
      <p:ext uri="{BB962C8B-B14F-4D97-AF65-F5344CB8AC3E}">
        <p14:creationId xmlns:p14="http://schemas.microsoft.com/office/powerpoint/2010/main" val="413780657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534D3-918A-0501-A95D-1C41D8FA34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5A75CE8-DFF2-8428-60AA-BAA5CCD4CC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34423C-E43F-761C-B375-120BF5DAA1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87F013-3601-A63A-E615-18D1F5877BB6}"/>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6" name="Footer Placeholder 5">
            <a:extLst>
              <a:ext uri="{FF2B5EF4-FFF2-40B4-BE49-F238E27FC236}">
                <a16:creationId xmlns:a16="http://schemas.microsoft.com/office/drawing/2014/main" id="{A44216CC-9314-293B-C594-2AE4AAC907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7ED6B7-20EF-C3F6-9C6C-115BB3FB9EAE}"/>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5505041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255216C-CAA9-C9C9-5D69-B81FBE12C654}"/>
              </a:ext>
            </a:extLst>
          </p:cNvPr>
          <p:cNvSpPr/>
          <p:nvPr userDrawn="1"/>
        </p:nvSpPr>
        <p:spPr>
          <a:xfrm>
            <a:off x="-30480" y="5064370"/>
            <a:ext cx="12252960" cy="1793631"/>
          </a:xfrm>
          <a:prstGeom prst="rect">
            <a:avLst/>
          </a:pr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5" name="Title 4">
            <a:extLst>
              <a:ext uri="{FF2B5EF4-FFF2-40B4-BE49-F238E27FC236}">
                <a16:creationId xmlns:a16="http://schemas.microsoft.com/office/drawing/2014/main" id="{3CBD18EC-0875-404E-A266-49733530A63C}"/>
              </a:ext>
            </a:extLst>
          </p:cNvPr>
          <p:cNvSpPr>
            <a:spLocks noGrp="1"/>
          </p:cNvSpPr>
          <p:nvPr>
            <p:ph type="title" hasCustomPrompt="1"/>
          </p:nvPr>
        </p:nvSpPr>
        <p:spPr>
          <a:xfrm>
            <a:off x="1574400" y="1625718"/>
            <a:ext cx="9043200" cy="614695"/>
          </a:xfrm>
        </p:spPr>
        <p:txBody>
          <a:bodyPr anchor="t" anchorCtr="0">
            <a:normAutofit/>
          </a:bodyPr>
          <a:lstStyle>
            <a:lvl1pPr algn="ctr">
              <a:defRPr sz="4000">
                <a:solidFill>
                  <a:schemeClr val="tx1"/>
                </a:solidFill>
              </a:defRPr>
            </a:lvl1pPr>
          </a:lstStyle>
          <a:p>
            <a:r>
              <a:rPr lang="en-GB"/>
              <a:t>Click to edit Title</a:t>
            </a:r>
            <a:endParaRPr lang="en-AD"/>
          </a:p>
        </p:txBody>
      </p:sp>
      <p:grpSp>
        <p:nvGrpSpPr>
          <p:cNvPr id="6" name="Group 5">
            <a:extLst>
              <a:ext uri="{FF2B5EF4-FFF2-40B4-BE49-F238E27FC236}">
                <a16:creationId xmlns:a16="http://schemas.microsoft.com/office/drawing/2014/main" id="{A21C726A-84F9-D608-B026-C1EC59990CC8}"/>
              </a:ext>
            </a:extLst>
          </p:cNvPr>
          <p:cNvGrpSpPr/>
          <p:nvPr userDrawn="1"/>
        </p:nvGrpSpPr>
        <p:grpSpPr>
          <a:xfrm>
            <a:off x="5550645" y="577025"/>
            <a:ext cx="1085908" cy="821904"/>
            <a:chOff x="1001339" y="887094"/>
            <a:chExt cx="814431" cy="616428"/>
          </a:xfrm>
        </p:grpSpPr>
        <p:sp>
          <p:nvSpPr>
            <p:cNvPr id="7" name="Freeform 6">
              <a:extLst>
                <a:ext uri="{FF2B5EF4-FFF2-40B4-BE49-F238E27FC236}">
                  <a16:creationId xmlns:a16="http://schemas.microsoft.com/office/drawing/2014/main" id="{2F5BD163-194D-F255-4C16-95C03F165BC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chemeClr val="tx1"/>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14A5B99E-420C-FD01-9214-B6D656533892}"/>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FF34452E-2EA4-FCAE-04EE-3AFED31C6C28}"/>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chemeClr val="tx1"/>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E8943E7-8570-AC73-0517-46C334A91DD9}"/>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12" name="TextBox 11">
            <a:extLst>
              <a:ext uri="{FF2B5EF4-FFF2-40B4-BE49-F238E27FC236}">
                <a16:creationId xmlns:a16="http://schemas.microsoft.com/office/drawing/2014/main" id="{AB14A78E-5E06-D40A-F634-F7755B4B9CA6}"/>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3" name="Picture Placeholder 2">
            <a:extLst>
              <a:ext uri="{FF2B5EF4-FFF2-40B4-BE49-F238E27FC236}">
                <a16:creationId xmlns:a16="http://schemas.microsoft.com/office/drawing/2014/main" id="{E249DE92-6651-6FF8-4E28-8A1EFC66B7C9}"/>
              </a:ext>
            </a:extLst>
          </p:cNvPr>
          <p:cNvSpPr>
            <a:spLocks noGrp="1" noChangeAspect="1"/>
          </p:cNvSpPr>
          <p:nvPr>
            <p:ph type="pic" sz="quarter" idx="15"/>
          </p:nvPr>
        </p:nvSpPr>
        <p:spPr>
          <a:xfrm>
            <a:off x="479999" y="3267165"/>
            <a:ext cx="2400000" cy="2400000"/>
          </a:xfrm>
          <a:prstGeom prst="rect">
            <a:avLst/>
          </a:prstGeom>
          <a:solidFill>
            <a:schemeClr val="tx2"/>
          </a:solidFill>
        </p:spPr>
        <p:txBody>
          <a:bodyPr anchor="ctr" anchorCtr="0">
            <a:normAutofit/>
          </a:bodyPr>
          <a:lstStyle>
            <a:lvl1pPr marL="0" indent="0" algn="ctr">
              <a:buNone/>
              <a:defRPr sz="1067">
                <a:solidFill>
                  <a:schemeClr val="bg1"/>
                </a:solidFill>
              </a:defRPr>
            </a:lvl1pPr>
          </a:lstStyle>
          <a:p>
            <a:r>
              <a:rPr lang="en-US"/>
              <a:t>Click icon to add picture</a:t>
            </a:r>
            <a:endParaRPr lang="en-AD"/>
          </a:p>
        </p:txBody>
      </p:sp>
      <p:sp>
        <p:nvSpPr>
          <p:cNvPr id="14" name="Picture Placeholder 4">
            <a:extLst>
              <a:ext uri="{FF2B5EF4-FFF2-40B4-BE49-F238E27FC236}">
                <a16:creationId xmlns:a16="http://schemas.microsoft.com/office/drawing/2014/main" id="{D4E50AF2-9895-0A4E-678B-BD2EC21747A4}"/>
              </a:ext>
            </a:extLst>
          </p:cNvPr>
          <p:cNvSpPr>
            <a:spLocks noGrp="1" noChangeAspect="1"/>
          </p:cNvSpPr>
          <p:nvPr>
            <p:ph type="pic" sz="quarter" idx="16"/>
          </p:nvPr>
        </p:nvSpPr>
        <p:spPr>
          <a:xfrm>
            <a:off x="6364799" y="3267165"/>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15" name="Picture Placeholder 6">
            <a:extLst>
              <a:ext uri="{FF2B5EF4-FFF2-40B4-BE49-F238E27FC236}">
                <a16:creationId xmlns:a16="http://schemas.microsoft.com/office/drawing/2014/main" id="{F21C3926-BECE-E662-13AC-758E3DCFF808}"/>
              </a:ext>
            </a:extLst>
          </p:cNvPr>
          <p:cNvSpPr>
            <a:spLocks noGrp="1" noChangeAspect="1"/>
          </p:cNvSpPr>
          <p:nvPr>
            <p:ph type="pic" sz="quarter" idx="17"/>
          </p:nvPr>
        </p:nvSpPr>
        <p:spPr>
          <a:xfrm>
            <a:off x="9307200"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17" name="Picture Placeholder 10">
            <a:extLst>
              <a:ext uri="{FF2B5EF4-FFF2-40B4-BE49-F238E27FC236}">
                <a16:creationId xmlns:a16="http://schemas.microsoft.com/office/drawing/2014/main" id="{0F715FC3-04C5-462E-CF77-F8D811E524CC}"/>
              </a:ext>
            </a:extLst>
          </p:cNvPr>
          <p:cNvSpPr>
            <a:spLocks noGrp="1" noChangeAspect="1"/>
          </p:cNvSpPr>
          <p:nvPr>
            <p:ph type="pic" sz="quarter" idx="18"/>
          </p:nvPr>
        </p:nvSpPr>
        <p:spPr>
          <a:xfrm>
            <a:off x="3422399" y="3281811"/>
            <a:ext cx="2400000" cy="2400000"/>
          </a:xfrm>
          <a:prstGeom prst="rect">
            <a:avLst/>
          </a:prstGeom>
          <a:solidFill>
            <a:schemeClr val="tx2"/>
          </a:solidFill>
        </p:spPr>
        <p:txBody>
          <a:bodyPr anchor="ctr" anchorCtr="0">
            <a:normAutofit/>
          </a:bodyPr>
          <a:lstStyle>
            <a:lvl1pPr marL="0" indent="0" algn="ctr">
              <a:buNone/>
              <a:defRPr sz="1200">
                <a:solidFill>
                  <a:schemeClr val="bg1"/>
                </a:solidFill>
              </a:defRPr>
            </a:lvl1pPr>
          </a:lstStyle>
          <a:p>
            <a:r>
              <a:rPr lang="en-US"/>
              <a:t>Click icon to add picture</a:t>
            </a:r>
            <a:endParaRPr lang="en-AD"/>
          </a:p>
        </p:txBody>
      </p:sp>
      <p:sp>
        <p:nvSpPr>
          <p:cNvPr id="2" name="Text Placeholder 11">
            <a:extLst>
              <a:ext uri="{FF2B5EF4-FFF2-40B4-BE49-F238E27FC236}">
                <a16:creationId xmlns:a16="http://schemas.microsoft.com/office/drawing/2014/main" id="{C64B6702-7ADD-5C93-24CA-4CE82ADA5C5A}"/>
              </a:ext>
            </a:extLst>
          </p:cNvPr>
          <p:cNvSpPr>
            <a:spLocks noGrp="1"/>
          </p:cNvSpPr>
          <p:nvPr>
            <p:ph type="body" sz="quarter" idx="13" hasCustomPrompt="1"/>
          </p:nvPr>
        </p:nvSpPr>
        <p:spPr>
          <a:xfrm>
            <a:off x="1574400" y="2256491"/>
            <a:ext cx="9043200" cy="370416"/>
          </a:xfrm>
          <a:prstGeom prst="rect">
            <a:avLst/>
          </a:prstGeom>
        </p:spPr>
        <p:txBody>
          <a:bodyPr>
            <a:normAutofit/>
          </a:bodyPr>
          <a:lstStyle>
            <a:lvl1pPr marL="0" indent="0" algn="ctr">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Tree>
    <p:extLst>
      <p:ext uri="{BB962C8B-B14F-4D97-AF65-F5344CB8AC3E}">
        <p14:creationId xmlns:p14="http://schemas.microsoft.com/office/powerpoint/2010/main" val="20878307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ain point">
    <p:bg>
      <p:bgPr>
        <a:solidFill>
          <a:schemeClr val="accent4"/>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8EF2230-BF37-377D-8ED5-D5F99B2BCB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17272"/>
            <a:ext cx="12252960" cy="6875272"/>
          </a:xfrm>
          <a:prstGeom prst="rect">
            <a:avLst/>
          </a:prstGeom>
        </p:spPr>
      </p:pic>
      <p:sp>
        <p:nvSpPr>
          <p:cNvPr id="5" name="Title 4">
            <a:extLst>
              <a:ext uri="{FF2B5EF4-FFF2-40B4-BE49-F238E27FC236}">
                <a16:creationId xmlns:a16="http://schemas.microsoft.com/office/drawing/2014/main" id="{3CBD18EC-0875-404E-A266-49733530A63C}"/>
              </a:ext>
            </a:extLst>
          </p:cNvPr>
          <p:cNvSpPr>
            <a:spLocks noGrp="1"/>
          </p:cNvSpPr>
          <p:nvPr>
            <p:ph type="title"/>
          </p:nvPr>
        </p:nvSpPr>
        <p:spPr>
          <a:xfrm>
            <a:off x="480000" y="2111857"/>
            <a:ext cx="11232000" cy="2634287"/>
          </a:xfrm>
        </p:spPr>
        <p:txBody>
          <a:bodyPr anchor="ctr" anchorCtr="0">
            <a:normAutofit/>
          </a:bodyPr>
          <a:lstStyle>
            <a:lvl1pPr algn="ctr">
              <a:defRPr sz="4800" cap="all" baseline="0">
                <a:solidFill>
                  <a:schemeClr val="bg1"/>
                </a:solidFill>
              </a:defRPr>
            </a:lvl1pPr>
          </a:lstStyle>
          <a:p>
            <a:r>
              <a:rPr lang="en-US"/>
              <a:t>Click to edit Master title style</a:t>
            </a:r>
            <a:endParaRPr lang="en-AD"/>
          </a:p>
        </p:txBody>
      </p:sp>
      <p:grpSp>
        <p:nvGrpSpPr>
          <p:cNvPr id="3" name="Group 2">
            <a:extLst>
              <a:ext uri="{FF2B5EF4-FFF2-40B4-BE49-F238E27FC236}">
                <a16:creationId xmlns:a16="http://schemas.microsoft.com/office/drawing/2014/main" id="{92699F5E-D96E-24CF-679E-5CBE94876446}"/>
              </a:ext>
            </a:extLst>
          </p:cNvPr>
          <p:cNvGrpSpPr/>
          <p:nvPr userDrawn="1"/>
        </p:nvGrpSpPr>
        <p:grpSpPr>
          <a:xfrm>
            <a:off x="5550645" y="773217"/>
            <a:ext cx="1085908" cy="821904"/>
            <a:chOff x="1001339" y="887094"/>
            <a:chExt cx="814431" cy="616428"/>
          </a:xfrm>
          <a:solidFill>
            <a:schemeClr val="bg1"/>
          </a:solidFill>
        </p:grpSpPr>
        <p:sp>
          <p:nvSpPr>
            <p:cNvPr id="6" name="Freeform 5">
              <a:extLst>
                <a:ext uri="{FF2B5EF4-FFF2-40B4-BE49-F238E27FC236}">
                  <a16:creationId xmlns:a16="http://schemas.microsoft.com/office/drawing/2014/main" id="{FCDE8D57-E53E-6F98-08CA-268A52397CAA}"/>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6B622938-F292-F475-A979-97107B3A72F6}"/>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grp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28E3FADD-F7FF-AC37-3901-4EF504706021}"/>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sp>
        <p:nvSpPr>
          <p:cNvPr id="12" name="Rectangle 11">
            <a:extLst>
              <a:ext uri="{FF2B5EF4-FFF2-40B4-BE49-F238E27FC236}">
                <a16:creationId xmlns:a16="http://schemas.microsoft.com/office/drawing/2014/main" id="{D2A7B2E4-44EA-C4D3-6FE7-FB9F67723427}"/>
              </a:ext>
            </a:extLst>
          </p:cNvPr>
          <p:cNvSpPr/>
          <p:nvPr userDrawn="1"/>
        </p:nvSpPr>
        <p:spPr>
          <a:xfrm>
            <a:off x="-30480" y="6240285"/>
            <a:ext cx="12252960" cy="6177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D" sz="2400"/>
          </a:p>
        </p:txBody>
      </p:sp>
      <p:sp>
        <p:nvSpPr>
          <p:cNvPr id="13" name="TextBox 12">
            <a:extLst>
              <a:ext uri="{FF2B5EF4-FFF2-40B4-BE49-F238E27FC236}">
                <a16:creationId xmlns:a16="http://schemas.microsoft.com/office/drawing/2014/main" id="{79A53763-2BB6-9B6B-6985-7EA40AC52A1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14" name="Slide Number Placeholder 6">
            <a:extLst>
              <a:ext uri="{FF2B5EF4-FFF2-40B4-BE49-F238E27FC236}">
                <a16:creationId xmlns:a16="http://schemas.microsoft.com/office/drawing/2014/main" id="{531BFB04-86E1-1D8F-3BB9-1A3DE83A5701}"/>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41274026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2303719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E02734-A602-CFEF-696E-E80298D1B402}"/>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grpSp>
        <p:nvGrpSpPr>
          <p:cNvPr id="26" name="Group 25">
            <a:extLst>
              <a:ext uri="{FF2B5EF4-FFF2-40B4-BE49-F238E27FC236}">
                <a16:creationId xmlns:a16="http://schemas.microsoft.com/office/drawing/2014/main" id="{67C2BDD9-27C4-DE9A-D109-62A7AA7ADB92}"/>
              </a:ext>
            </a:extLst>
          </p:cNvPr>
          <p:cNvGrpSpPr/>
          <p:nvPr userDrawn="1"/>
        </p:nvGrpSpPr>
        <p:grpSpPr>
          <a:xfrm>
            <a:off x="10621293" y="307200"/>
            <a:ext cx="1085908" cy="821904"/>
            <a:chOff x="1001339" y="887094"/>
            <a:chExt cx="814431" cy="616428"/>
          </a:xfrm>
        </p:grpSpPr>
        <p:sp>
          <p:nvSpPr>
            <p:cNvPr id="27" name="Freeform 26">
              <a:extLst>
                <a:ext uri="{FF2B5EF4-FFF2-40B4-BE49-F238E27FC236}">
                  <a16:creationId xmlns:a16="http://schemas.microsoft.com/office/drawing/2014/main" id="{3FB7C315-303B-235F-2FBD-A8023270AE85}"/>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41C134F6-3F75-A18B-6E7E-B1540E57E837}"/>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29" name="Freeform 28">
              <a:extLst>
                <a:ext uri="{FF2B5EF4-FFF2-40B4-BE49-F238E27FC236}">
                  <a16:creationId xmlns:a16="http://schemas.microsoft.com/office/drawing/2014/main" id="{82C561F4-CA7F-DD61-0B65-BACAFCECA78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 name="Slide Number Placeholder 6">
            <a:extLst>
              <a:ext uri="{FF2B5EF4-FFF2-40B4-BE49-F238E27FC236}">
                <a16:creationId xmlns:a16="http://schemas.microsoft.com/office/drawing/2014/main" id="{2A369D14-7D4F-F11C-A2B2-D9544EE2BE25}"/>
              </a:ext>
            </a:extLst>
          </p:cNvPr>
          <p:cNvSpPr>
            <a:spLocks noGrp="1"/>
          </p:cNvSpPr>
          <p:nvPr>
            <p:ph type="sldNum" sz="quarter" idx="14"/>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B5BF2658-5C8A-487C-ED8C-2F9DF2455B5E}"/>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
        <p:nvSpPr>
          <p:cNvPr id="2" name="Freeform 5">
            <a:extLst>
              <a:ext uri="{FF2B5EF4-FFF2-40B4-BE49-F238E27FC236}">
                <a16:creationId xmlns:a16="http://schemas.microsoft.com/office/drawing/2014/main" id="{B3CC76C5-19E8-9FE6-C7A4-6CB31AF4E399}"/>
              </a:ext>
            </a:extLst>
          </p:cNvPr>
          <p:cNvSpPr>
            <a:spLocks/>
          </p:cNvSpPr>
          <p:nvPr userDrawn="1"/>
        </p:nvSpPr>
        <p:spPr bwMode="auto">
          <a:xfrm>
            <a:off x="480001"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latin typeface="Archivo" pitchFamily="2" charset="77"/>
            </a:endParaRPr>
          </a:p>
        </p:txBody>
      </p:sp>
      <p:sp>
        <p:nvSpPr>
          <p:cNvPr id="5" name="Rectangle 6">
            <a:extLst>
              <a:ext uri="{FF2B5EF4-FFF2-40B4-BE49-F238E27FC236}">
                <a16:creationId xmlns:a16="http://schemas.microsoft.com/office/drawing/2014/main" id="{F3B446C0-E98A-9AC6-A599-4A4D82985C21}"/>
              </a:ext>
            </a:extLst>
          </p:cNvPr>
          <p:cNvSpPr>
            <a:spLocks noChangeArrowheads="1"/>
          </p:cNvSpPr>
          <p:nvPr userDrawn="1"/>
        </p:nvSpPr>
        <p:spPr bwMode="auto">
          <a:xfrm>
            <a:off x="1786127"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6" name="TextBox 5">
            <a:extLst>
              <a:ext uri="{FF2B5EF4-FFF2-40B4-BE49-F238E27FC236}">
                <a16:creationId xmlns:a16="http://schemas.microsoft.com/office/drawing/2014/main" id="{AB637AB1-A742-DC7A-4C46-2FCF2281220B}"/>
              </a:ext>
            </a:extLst>
          </p:cNvPr>
          <p:cNvSpPr txBox="1"/>
          <p:nvPr userDrawn="1"/>
        </p:nvSpPr>
        <p:spPr>
          <a:xfrm>
            <a:off x="727602" y="2010778"/>
            <a:ext cx="755335" cy="769441"/>
          </a:xfrm>
          <a:prstGeom prst="rect">
            <a:avLst/>
          </a:prstGeom>
          <a:noFill/>
        </p:spPr>
        <p:txBody>
          <a:bodyPr wrap="none" rtlCol="0">
            <a:spAutoFit/>
          </a:bodyPr>
          <a:lstStyle/>
          <a:p>
            <a:pPr algn="ctr"/>
            <a:r>
              <a:rPr lang="en-US" sz="4400">
                <a:solidFill>
                  <a:schemeClr val="bg2"/>
                </a:solidFill>
                <a:latin typeface="+mj-lt"/>
                <a:ea typeface="Open Sans" pitchFamily="2" charset="0"/>
                <a:cs typeface="Archivo" pitchFamily="2" charset="77"/>
              </a:rPr>
              <a:t>01</a:t>
            </a:r>
          </a:p>
        </p:txBody>
      </p:sp>
      <p:sp>
        <p:nvSpPr>
          <p:cNvPr id="11" name="Text Placeholder 10">
            <a:extLst>
              <a:ext uri="{FF2B5EF4-FFF2-40B4-BE49-F238E27FC236}">
                <a16:creationId xmlns:a16="http://schemas.microsoft.com/office/drawing/2014/main" id="{499C8CB2-2C3A-AE1B-D70B-3965853FA605}"/>
              </a:ext>
            </a:extLst>
          </p:cNvPr>
          <p:cNvSpPr>
            <a:spLocks noGrp="1"/>
          </p:cNvSpPr>
          <p:nvPr>
            <p:ph type="body" sz="quarter" idx="15"/>
          </p:nvPr>
        </p:nvSpPr>
        <p:spPr>
          <a:xfrm>
            <a:off x="1955801"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2" name="Text Placeholder 10">
            <a:extLst>
              <a:ext uri="{FF2B5EF4-FFF2-40B4-BE49-F238E27FC236}">
                <a16:creationId xmlns:a16="http://schemas.microsoft.com/office/drawing/2014/main" id="{B95A92F5-9E27-67A4-9D2A-B1DBA78CCCA0}"/>
              </a:ext>
            </a:extLst>
          </p:cNvPr>
          <p:cNvSpPr>
            <a:spLocks noGrp="1"/>
          </p:cNvSpPr>
          <p:nvPr>
            <p:ph type="body" sz="quarter" idx="16"/>
          </p:nvPr>
        </p:nvSpPr>
        <p:spPr>
          <a:xfrm>
            <a:off x="1955801"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3" name="Freeform 5">
            <a:extLst>
              <a:ext uri="{FF2B5EF4-FFF2-40B4-BE49-F238E27FC236}">
                <a16:creationId xmlns:a16="http://schemas.microsoft.com/office/drawing/2014/main" id="{15C9888C-5CD6-A244-13C4-14EF3CE7080D}"/>
              </a:ext>
            </a:extLst>
          </p:cNvPr>
          <p:cNvSpPr>
            <a:spLocks/>
          </p:cNvSpPr>
          <p:nvPr userDrawn="1"/>
        </p:nvSpPr>
        <p:spPr bwMode="auto">
          <a:xfrm>
            <a:off x="480001"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latin typeface="Archivo" pitchFamily="2" charset="77"/>
            </a:endParaRPr>
          </a:p>
        </p:txBody>
      </p:sp>
      <p:sp>
        <p:nvSpPr>
          <p:cNvPr id="14" name="Rectangle 6">
            <a:extLst>
              <a:ext uri="{FF2B5EF4-FFF2-40B4-BE49-F238E27FC236}">
                <a16:creationId xmlns:a16="http://schemas.microsoft.com/office/drawing/2014/main" id="{8F381367-B1C0-8A51-6DB1-29784584CBF3}"/>
              </a:ext>
            </a:extLst>
          </p:cNvPr>
          <p:cNvSpPr>
            <a:spLocks noChangeArrowheads="1"/>
          </p:cNvSpPr>
          <p:nvPr userDrawn="1"/>
        </p:nvSpPr>
        <p:spPr bwMode="auto">
          <a:xfrm>
            <a:off x="1786127"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15" name="TextBox 14">
            <a:extLst>
              <a:ext uri="{FF2B5EF4-FFF2-40B4-BE49-F238E27FC236}">
                <a16:creationId xmlns:a16="http://schemas.microsoft.com/office/drawing/2014/main" id="{0839BF74-CD5B-BD74-A948-EE0E50D62545}"/>
              </a:ext>
            </a:extLst>
          </p:cNvPr>
          <p:cNvSpPr txBox="1"/>
          <p:nvPr userDrawn="1"/>
        </p:nvSpPr>
        <p:spPr>
          <a:xfrm>
            <a:off x="727602" y="3431329"/>
            <a:ext cx="755335" cy="769441"/>
          </a:xfrm>
          <a:prstGeom prst="rect">
            <a:avLst/>
          </a:prstGeom>
          <a:noFill/>
        </p:spPr>
        <p:txBody>
          <a:bodyPr wrap="none" rtlCol="0">
            <a:spAutoFit/>
          </a:bodyPr>
          <a:lstStyle/>
          <a:p>
            <a:pPr algn="ctr"/>
            <a:r>
              <a:rPr lang="en-US" sz="4400">
                <a:solidFill>
                  <a:schemeClr val="bg2"/>
                </a:solidFill>
                <a:latin typeface="+mj-lt"/>
                <a:ea typeface="Open Sans" pitchFamily="2" charset="0"/>
                <a:cs typeface="Archivo" pitchFamily="2" charset="77"/>
              </a:rPr>
              <a:t>02</a:t>
            </a:r>
          </a:p>
        </p:txBody>
      </p:sp>
      <p:sp>
        <p:nvSpPr>
          <p:cNvPr id="16" name="Text Placeholder 10">
            <a:extLst>
              <a:ext uri="{FF2B5EF4-FFF2-40B4-BE49-F238E27FC236}">
                <a16:creationId xmlns:a16="http://schemas.microsoft.com/office/drawing/2014/main" id="{A0D3E293-B029-06A4-BC39-08EA9C4980AF}"/>
              </a:ext>
            </a:extLst>
          </p:cNvPr>
          <p:cNvSpPr>
            <a:spLocks noGrp="1"/>
          </p:cNvSpPr>
          <p:nvPr>
            <p:ph type="body" sz="quarter" idx="17"/>
          </p:nvPr>
        </p:nvSpPr>
        <p:spPr>
          <a:xfrm>
            <a:off x="1955801"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7" name="Text Placeholder 10">
            <a:extLst>
              <a:ext uri="{FF2B5EF4-FFF2-40B4-BE49-F238E27FC236}">
                <a16:creationId xmlns:a16="http://schemas.microsoft.com/office/drawing/2014/main" id="{0D1A51A7-2450-5353-41E8-B09A6FEBDDBB}"/>
              </a:ext>
            </a:extLst>
          </p:cNvPr>
          <p:cNvSpPr>
            <a:spLocks noGrp="1"/>
          </p:cNvSpPr>
          <p:nvPr>
            <p:ph type="body" sz="quarter" idx="18"/>
          </p:nvPr>
        </p:nvSpPr>
        <p:spPr>
          <a:xfrm>
            <a:off x="1955801"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18" name="Freeform 5">
            <a:extLst>
              <a:ext uri="{FF2B5EF4-FFF2-40B4-BE49-F238E27FC236}">
                <a16:creationId xmlns:a16="http://schemas.microsoft.com/office/drawing/2014/main" id="{8F37A73C-9C6D-5FF9-CE7F-88D20BBD4F3D}"/>
              </a:ext>
            </a:extLst>
          </p:cNvPr>
          <p:cNvSpPr>
            <a:spLocks/>
          </p:cNvSpPr>
          <p:nvPr userDrawn="1"/>
        </p:nvSpPr>
        <p:spPr bwMode="auto">
          <a:xfrm>
            <a:off x="480001"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latin typeface="Archivo" pitchFamily="2" charset="77"/>
            </a:endParaRPr>
          </a:p>
        </p:txBody>
      </p:sp>
      <p:sp>
        <p:nvSpPr>
          <p:cNvPr id="19" name="Rectangle 6">
            <a:extLst>
              <a:ext uri="{FF2B5EF4-FFF2-40B4-BE49-F238E27FC236}">
                <a16:creationId xmlns:a16="http://schemas.microsoft.com/office/drawing/2014/main" id="{03940F0A-32FC-375A-4AC4-012D17096C7E}"/>
              </a:ext>
            </a:extLst>
          </p:cNvPr>
          <p:cNvSpPr>
            <a:spLocks noChangeArrowheads="1"/>
          </p:cNvSpPr>
          <p:nvPr userDrawn="1"/>
        </p:nvSpPr>
        <p:spPr bwMode="auto">
          <a:xfrm>
            <a:off x="1786127"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20" name="TextBox 19">
            <a:extLst>
              <a:ext uri="{FF2B5EF4-FFF2-40B4-BE49-F238E27FC236}">
                <a16:creationId xmlns:a16="http://schemas.microsoft.com/office/drawing/2014/main" id="{5A9C7508-270B-768A-BF30-FCCA228BD3F6}"/>
              </a:ext>
            </a:extLst>
          </p:cNvPr>
          <p:cNvSpPr txBox="1"/>
          <p:nvPr userDrawn="1"/>
        </p:nvSpPr>
        <p:spPr>
          <a:xfrm>
            <a:off x="727602" y="4871489"/>
            <a:ext cx="755335" cy="769441"/>
          </a:xfrm>
          <a:prstGeom prst="rect">
            <a:avLst/>
          </a:prstGeom>
          <a:noFill/>
        </p:spPr>
        <p:txBody>
          <a:bodyPr wrap="none" rtlCol="0">
            <a:spAutoFit/>
          </a:bodyPr>
          <a:lstStyle/>
          <a:p>
            <a:pPr algn="ctr"/>
            <a:r>
              <a:rPr lang="en-US" sz="4400">
                <a:solidFill>
                  <a:schemeClr val="bg2"/>
                </a:solidFill>
                <a:latin typeface="+mj-lt"/>
                <a:ea typeface="Open Sans" pitchFamily="2" charset="0"/>
                <a:cs typeface="Archivo" pitchFamily="2" charset="77"/>
              </a:rPr>
              <a:t>03</a:t>
            </a:r>
          </a:p>
        </p:txBody>
      </p:sp>
      <p:sp>
        <p:nvSpPr>
          <p:cNvPr id="21" name="Text Placeholder 10">
            <a:extLst>
              <a:ext uri="{FF2B5EF4-FFF2-40B4-BE49-F238E27FC236}">
                <a16:creationId xmlns:a16="http://schemas.microsoft.com/office/drawing/2014/main" id="{BA0A190D-5635-E297-A116-F00B4E16E366}"/>
              </a:ext>
            </a:extLst>
          </p:cNvPr>
          <p:cNvSpPr>
            <a:spLocks noGrp="1"/>
          </p:cNvSpPr>
          <p:nvPr>
            <p:ph type="body" sz="quarter" idx="19"/>
          </p:nvPr>
        </p:nvSpPr>
        <p:spPr>
          <a:xfrm>
            <a:off x="1955801"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22" name="Text Placeholder 10">
            <a:extLst>
              <a:ext uri="{FF2B5EF4-FFF2-40B4-BE49-F238E27FC236}">
                <a16:creationId xmlns:a16="http://schemas.microsoft.com/office/drawing/2014/main" id="{E4E43EB9-D574-3FE7-E077-B9A27E2A4518}"/>
              </a:ext>
            </a:extLst>
          </p:cNvPr>
          <p:cNvSpPr>
            <a:spLocks noGrp="1"/>
          </p:cNvSpPr>
          <p:nvPr>
            <p:ph type="body" sz="quarter" idx="20"/>
          </p:nvPr>
        </p:nvSpPr>
        <p:spPr>
          <a:xfrm>
            <a:off x="1955801"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23" name="Freeform 5">
            <a:extLst>
              <a:ext uri="{FF2B5EF4-FFF2-40B4-BE49-F238E27FC236}">
                <a16:creationId xmlns:a16="http://schemas.microsoft.com/office/drawing/2014/main" id="{5C4DBB4F-B097-E611-5957-015725C19365}"/>
              </a:ext>
            </a:extLst>
          </p:cNvPr>
          <p:cNvSpPr>
            <a:spLocks/>
          </p:cNvSpPr>
          <p:nvPr userDrawn="1"/>
        </p:nvSpPr>
        <p:spPr bwMode="auto">
          <a:xfrm>
            <a:off x="6192012" y="1816428"/>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24" name="Rectangle 6">
            <a:extLst>
              <a:ext uri="{FF2B5EF4-FFF2-40B4-BE49-F238E27FC236}">
                <a16:creationId xmlns:a16="http://schemas.microsoft.com/office/drawing/2014/main" id="{9A8FD685-9057-A4C8-698D-7497A4734189}"/>
              </a:ext>
            </a:extLst>
          </p:cNvPr>
          <p:cNvSpPr>
            <a:spLocks noChangeArrowheads="1"/>
          </p:cNvSpPr>
          <p:nvPr userDrawn="1"/>
        </p:nvSpPr>
        <p:spPr bwMode="auto">
          <a:xfrm>
            <a:off x="7498138" y="1816428"/>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25" name="TextBox 24">
            <a:extLst>
              <a:ext uri="{FF2B5EF4-FFF2-40B4-BE49-F238E27FC236}">
                <a16:creationId xmlns:a16="http://schemas.microsoft.com/office/drawing/2014/main" id="{90B53B5F-A7BD-C110-ABA0-9AC9DA036EF7}"/>
              </a:ext>
            </a:extLst>
          </p:cNvPr>
          <p:cNvSpPr txBox="1"/>
          <p:nvPr userDrawn="1"/>
        </p:nvSpPr>
        <p:spPr>
          <a:xfrm>
            <a:off x="6357539" y="2010777"/>
            <a:ext cx="919483" cy="800219"/>
          </a:xfrm>
          <a:prstGeom prst="rect">
            <a:avLst/>
          </a:prstGeom>
          <a:noFill/>
        </p:spPr>
        <p:txBody>
          <a:bodyPr wrap="none" rtlCol="0">
            <a:normAutofit/>
          </a:bodyPr>
          <a:lstStyle/>
          <a:p>
            <a:pPr algn="ctr"/>
            <a:r>
              <a:rPr lang="en-US" sz="4400">
                <a:solidFill>
                  <a:schemeClr val="bg2"/>
                </a:solidFill>
                <a:latin typeface="+mj-lt"/>
                <a:ea typeface="Open Sans" pitchFamily="2" charset="0"/>
                <a:cs typeface="Archivo" pitchFamily="2" charset="77"/>
              </a:rPr>
              <a:t>04</a:t>
            </a:r>
          </a:p>
        </p:txBody>
      </p:sp>
      <p:sp>
        <p:nvSpPr>
          <p:cNvPr id="30" name="Text Placeholder 10">
            <a:extLst>
              <a:ext uri="{FF2B5EF4-FFF2-40B4-BE49-F238E27FC236}">
                <a16:creationId xmlns:a16="http://schemas.microsoft.com/office/drawing/2014/main" id="{F8C91952-5C53-0A97-0D04-1B24BC16D86C}"/>
              </a:ext>
            </a:extLst>
          </p:cNvPr>
          <p:cNvSpPr>
            <a:spLocks noGrp="1"/>
          </p:cNvSpPr>
          <p:nvPr>
            <p:ph type="body" sz="quarter" idx="21"/>
          </p:nvPr>
        </p:nvSpPr>
        <p:spPr>
          <a:xfrm>
            <a:off x="7667812" y="194879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1" name="Text Placeholder 10">
            <a:extLst>
              <a:ext uri="{FF2B5EF4-FFF2-40B4-BE49-F238E27FC236}">
                <a16:creationId xmlns:a16="http://schemas.microsoft.com/office/drawing/2014/main" id="{B3EEDB7F-AAA5-77EB-6E76-E1F13F79E059}"/>
              </a:ext>
            </a:extLst>
          </p:cNvPr>
          <p:cNvSpPr>
            <a:spLocks noGrp="1"/>
          </p:cNvSpPr>
          <p:nvPr>
            <p:ph type="body" sz="quarter" idx="22"/>
          </p:nvPr>
        </p:nvSpPr>
        <p:spPr>
          <a:xfrm>
            <a:off x="7667812" y="229826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2" name="Freeform 5">
            <a:extLst>
              <a:ext uri="{FF2B5EF4-FFF2-40B4-BE49-F238E27FC236}">
                <a16:creationId xmlns:a16="http://schemas.microsoft.com/office/drawing/2014/main" id="{8E8062AA-04CD-3790-EE20-201DFF72492D}"/>
              </a:ext>
            </a:extLst>
          </p:cNvPr>
          <p:cNvSpPr>
            <a:spLocks/>
          </p:cNvSpPr>
          <p:nvPr userDrawn="1"/>
        </p:nvSpPr>
        <p:spPr bwMode="auto">
          <a:xfrm>
            <a:off x="6192012" y="323697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33" name="Rectangle 6">
            <a:extLst>
              <a:ext uri="{FF2B5EF4-FFF2-40B4-BE49-F238E27FC236}">
                <a16:creationId xmlns:a16="http://schemas.microsoft.com/office/drawing/2014/main" id="{B4EDDC68-BD20-164A-3B79-F566ABC213E1}"/>
              </a:ext>
            </a:extLst>
          </p:cNvPr>
          <p:cNvSpPr>
            <a:spLocks noChangeArrowheads="1"/>
          </p:cNvSpPr>
          <p:nvPr userDrawn="1"/>
        </p:nvSpPr>
        <p:spPr bwMode="auto">
          <a:xfrm>
            <a:off x="7498138" y="323697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34" name="TextBox 33">
            <a:extLst>
              <a:ext uri="{FF2B5EF4-FFF2-40B4-BE49-F238E27FC236}">
                <a16:creationId xmlns:a16="http://schemas.microsoft.com/office/drawing/2014/main" id="{21304A92-F76F-908F-F91C-0F1EDC723E79}"/>
              </a:ext>
            </a:extLst>
          </p:cNvPr>
          <p:cNvSpPr txBox="1"/>
          <p:nvPr userDrawn="1"/>
        </p:nvSpPr>
        <p:spPr>
          <a:xfrm>
            <a:off x="6358607" y="3431328"/>
            <a:ext cx="917347" cy="800219"/>
          </a:xfrm>
          <a:prstGeom prst="rect">
            <a:avLst/>
          </a:prstGeom>
          <a:noFill/>
        </p:spPr>
        <p:txBody>
          <a:bodyPr wrap="none" rtlCol="0">
            <a:normAutofit/>
          </a:bodyPr>
          <a:lstStyle/>
          <a:p>
            <a:pPr algn="ctr"/>
            <a:r>
              <a:rPr lang="en-US" sz="4400">
                <a:solidFill>
                  <a:schemeClr val="bg2"/>
                </a:solidFill>
                <a:latin typeface="+mj-lt"/>
                <a:ea typeface="Open Sans" pitchFamily="2" charset="0"/>
                <a:cs typeface="Archivo" pitchFamily="2" charset="77"/>
              </a:rPr>
              <a:t>05</a:t>
            </a:r>
          </a:p>
        </p:txBody>
      </p:sp>
      <p:sp>
        <p:nvSpPr>
          <p:cNvPr id="35" name="Text Placeholder 10">
            <a:extLst>
              <a:ext uri="{FF2B5EF4-FFF2-40B4-BE49-F238E27FC236}">
                <a16:creationId xmlns:a16="http://schemas.microsoft.com/office/drawing/2014/main" id="{F9D5E73C-E4D5-0BA8-39AD-09C3B1CDBEF4}"/>
              </a:ext>
            </a:extLst>
          </p:cNvPr>
          <p:cNvSpPr>
            <a:spLocks noGrp="1"/>
          </p:cNvSpPr>
          <p:nvPr>
            <p:ph type="body" sz="quarter" idx="23"/>
          </p:nvPr>
        </p:nvSpPr>
        <p:spPr>
          <a:xfrm>
            <a:off x="7667812" y="336934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6" name="Text Placeholder 10">
            <a:extLst>
              <a:ext uri="{FF2B5EF4-FFF2-40B4-BE49-F238E27FC236}">
                <a16:creationId xmlns:a16="http://schemas.microsoft.com/office/drawing/2014/main" id="{1C378C82-C51E-15C5-5591-BF0BBA0D310D}"/>
              </a:ext>
            </a:extLst>
          </p:cNvPr>
          <p:cNvSpPr>
            <a:spLocks noGrp="1"/>
          </p:cNvSpPr>
          <p:nvPr>
            <p:ph type="body" sz="quarter" idx="24"/>
          </p:nvPr>
        </p:nvSpPr>
        <p:spPr>
          <a:xfrm>
            <a:off x="7667812" y="371881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37" name="Freeform 5">
            <a:extLst>
              <a:ext uri="{FF2B5EF4-FFF2-40B4-BE49-F238E27FC236}">
                <a16:creationId xmlns:a16="http://schemas.microsoft.com/office/drawing/2014/main" id="{B7D91923-9CC4-BA3A-9305-1F645749E126}"/>
              </a:ext>
            </a:extLst>
          </p:cNvPr>
          <p:cNvSpPr>
            <a:spLocks/>
          </p:cNvSpPr>
          <p:nvPr userDrawn="1"/>
        </p:nvSpPr>
        <p:spPr bwMode="auto">
          <a:xfrm>
            <a:off x="6192012" y="4677139"/>
            <a:ext cx="1191497" cy="1199571"/>
          </a:xfrm>
          <a:custGeom>
            <a:avLst/>
            <a:gdLst>
              <a:gd name="T0" fmla="*/ 0 w 738"/>
              <a:gd name="T1" fmla="*/ 0 h 743"/>
              <a:gd name="T2" fmla="*/ 0 w 738"/>
              <a:gd name="T3" fmla="*/ 287 h 743"/>
              <a:gd name="T4" fmla="*/ 39 w 738"/>
              <a:gd name="T5" fmla="*/ 319 h 743"/>
              <a:gd name="T6" fmla="*/ 97 w 738"/>
              <a:gd name="T7" fmla="*/ 372 h 743"/>
              <a:gd name="T8" fmla="*/ 39 w 738"/>
              <a:gd name="T9" fmla="*/ 430 h 743"/>
              <a:gd name="T10" fmla="*/ 0 w 738"/>
              <a:gd name="T11" fmla="*/ 463 h 743"/>
              <a:gd name="T12" fmla="*/ 0 w 738"/>
              <a:gd name="T13" fmla="*/ 743 h 743"/>
              <a:gd name="T14" fmla="*/ 738 w 738"/>
              <a:gd name="T15" fmla="*/ 743 h 743"/>
              <a:gd name="T16" fmla="*/ 738 w 738"/>
              <a:gd name="T17" fmla="*/ 0 h 743"/>
              <a:gd name="T18" fmla="*/ 0 w 738"/>
              <a:gd name="T19"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43">
                <a:moveTo>
                  <a:pt x="0" y="0"/>
                </a:moveTo>
                <a:lnTo>
                  <a:pt x="0" y="287"/>
                </a:lnTo>
                <a:lnTo>
                  <a:pt x="39" y="319"/>
                </a:lnTo>
                <a:lnTo>
                  <a:pt x="97" y="372"/>
                </a:lnTo>
                <a:lnTo>
                  <a:pt x="39" y="430"/>
                </a:lnTo>
                <a:lnTo>
                  <a:pt x="0" y="463"/>
                </a:lnTo>
                <a:lnTo>
                  <a:pt x="0" y="743"/>
                </a:lnTo>
                <a:lnTo>
                  <a:pt x="738" y="743"/>
                </a:lnTo>
                <a:lnTo>
                  <a:pt x="738" y="0"/>
                </a:lnTo>
                <a:lnTo>
                  <a:pt x="0" y="0"/>
                </a:lnTo>
                <a:close/>
              </a:path>
            </a:pathLst>
          </a:custGeom>
          <a:solidFill>
            <a:schemeClr val="tx2"/>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38" name="Rectangle 6">
            <a:extLst>
              <a:ext uri="{FF2B5EF4-FFF2-40B4-BE49-F238E27FC236}">
                <a16:creationId xmlns:a16="http://schemas.microsoft.com/office/drawing/2014/main" id="{B8CE9864-008E-919F-4FFB-899F9660E651}"/>
              </a:ext>
            </a:extLst>
          </p:cNvPr>
          <p:cNvSpPr>
            <a:spLocks noChangeArrowheads="1"/>
          </p:cNvSpPr>
          <p:nvPr userDrawn="1"/>
        </p:nvSpPr>
        <p:spPr bwMode="auto">
          <a:xfrm>
            <a:off x="7498138" y="4677139"/>
            <a:ext cx="4183157" cy="1199571"/>
          </a:xfrm>
          <a:prstGeom prst="rect">
            <a:avLst/>
          </a:prstGeom>
          <a:solidFill>
            <a:schemeClr val="tx1"/>
          </a:solidFill>
          <a:ln>
            <a:noFill/>
          </a:ln>
        </p:spPr>
        <p:txBody>
          <a:bodyPr vert="horz" wrap="square" lIns="121920" tIns="60960" rIns="121920" bIns="60960" numCol="1" anchor="t" anchorCtr="0" compatLnSpc="1">
            <a:prstTxWarp prst="textNoShape">
              <a:avLst/>
            </a:prstTxWarp>
            <a:normAutofit/>
          </a:bodyPr>
          <a:lstStyle/>
          <a:p>
            <a:endParaRPr lang="en-US" sz="2400">
              <a:latin typeface="Archivo" pitchFamily="2" charset="77"/>
            </a:endParaRPr>
          </a:p>
        </p:txBody>
      </p:sp>
      <p:sp>
        <p:nvSpPr>
          <p:cNvPr id="39" name="TextBox 38">
            <a:extLst>
              <a:ext uri="{FF2B5EF4-FFF2-40B4-BE49-F238E27FC236}">
                <a16:creationId xmlns:a16="http://schemas.microsoft.com/office/drawing/2014/main" id="{D489511B-C1DC-D8D4-9E16-91245E1B80B6}"/>
              </a:ext>
            </a:extLst>
          </p:cNvPr>
          <p:cNvSpPr txBox="1"/>
          <p:nvPr userDrawn="1"/>
        </p:nvSpPr>
        <p:spPr>
          <a:xfrm>
            <a:off x="6358607" y="4871488"/>
            <a:ext cx="917347" cy="800219"/>
          </a:xfrm>
          <a:prstGeom prst="rect">
            <a:avLst/>
          </a:prstGeom>
          <a:noFill/>
        </p:spPr>
        <p:txBody>
          <a:bodyPr wrap="none" rtlCol="0">
            <a:normAutofit/>
          </a:bodyPr>
          <a:lstStyle/>
          <a:p>
            <a:pPr algn="ctr"/>
            <a:r>
              <a:rPr lang="en-US" sz="4400">
                <a:solidFill>
                  <a:schemeClr val="bg2"/>
                </a:solidFill>
                <a:latin typeface="+mj-lt"/>
                <a:ea typeface="Open Sans" pitchFamily="2" charset="0"/>
                <a:cs typeface="Archivo" pitchFamily="2" charset="77"/>
              </a:rPr>
              <a:t>06</a:t>
            </a:r>
          </a:p>
        </p:txBody>
      </p:sp>
      <p:sp>
        <p:nvSpPr>
          <p:cNvPr id="40" name="Text Placeholder 10">
            <a:extLst>
              <a:ext uri="{FF2B5EF4-FFF2-40B4-BE49-F238E27FC236}">
                <a16:creationId xmlns:a16="http://schemas.microsoft.com/office/drawing/2014/main" id="{64434AA6-F75E-11B3-78A0-C17193D5CD58}"/>
              </a:ext>
            </a:extLst>
          </p:cNvPr>
          <p:cNvSpPr>
            <a:spLocks noGrp="1"/>
          </p:cNvSpPr>
          <p:nvPr>
            <p:ph type="body" sz="quarter" idx="25"/>
          </p:nvPr>
        </p:nvSpPr>
        <p:spPr>
          <a:xfrm>
            <a:off x="7667812" y="4809505"/>
            <a:ext cx="3839633" cy="223344"/>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j-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
        <p:nvSpPr>
          <p:cNvPr id="41" name="Text Placeholder 10">
            <a:extLst>
              <a:ext uri="{FF2B5EF4-FFF2-40B4-BE49-F238E27FC236}">
                <a16:creationId xmlns:a16="http://schemas.microsoft.com/office/drawing/2014/main" id="{CFABD436-1AB0-B845-77F0-4A88C81F2E79}"/>
              </a:ext>
            </a:extLst>
          </p:cNvPr>
          <p:cNvSpPr>
            <a:spLocks noGrp="1"/>
          </p:cNvSpPr>
          <p:nvPr>
            <p:ph type="body" sz="quarter" idx="26"/>
          </p:nvPr>
        </p:nvSpPr>
        <p:spPr>
          <a:xfrm>
            <a:off x="7667812" y="5158974"/>
            <a:ext cx="3839633" cy="595585"/>
          </a:xfrm>
          <a:prstGeom prst="rect">
            <a:avLst/>
          </a:prstGeom>
        </p:spPr>
        <p:txBody>
          <a:bodyPr>
            <a:normAutofit/>
          </a:bodyPr>
          <a:lstStyle>
            <a:lvl1pPr marL="0" indent="0">
              <a:lnSpc>
                <a:spcPts val="2133"/>
              </a:lnSpc>
              <a:spcBef>
                <a:spcPts val="0"/>
              </a:spcBef>
              <a:spcAft>
                <a:spcPts val="0"/>
              </a:spcAft>
              <a:buNone/>
              <a:defRPr sz="1600">
                <a:solidFill>
                  <a:schemeClr val="bg1"/>
                </a:solidFill>
                <a:latin typeface="+mn-lt"/>
              </a:defRPr>
            </a:lvl1pPr>
            <a:lvl2pPr marL="167996" indent="0">
              <a:buNone/>
              <a:defRPr sz="1600"/>
            </a:lvl2pPr>
            <a:lvl3pPr marL="335992" indent="0">
              <a:buNone/>
              <a:defRPr sz="1600"/>
            </a:lvl3pPr>
            <a:lvl4pPr marL="503987" indent="0">
              <a:buNone/>
              <a:defRPr sz="1600"/>
            </a:lvl4pPr>
            <a:lvl5pPr marL="671983" indent="0">
              <a:buNone/>
              <a:defRPr sz="1600"/>
            </a:lvl5pPr>
          </a:lstStyle>
          <a:p>
            <a:pPr lvl="0"/>
            <a:r>
              <a:rPr lang="en-US"/>
              <a:t>Click to edit Master text styles</a:t>
            </a:r>
          </a:p>
        </p:txBody>
      </p:sp>
    </p:spTree>
    <p:extLst>
      <p:ext uri="{BB962C8B-B14F-4D97-AF65-F5344CB8AC3E}">
        <p14:creationId xmlns:p14="http://schemas.microsoft.com/office/powerpoint/2010/main" val="24417071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pic>
        <p:nvPicPr>
          <p:cNvPr id="45" name="Graphic 44">
            <a:extLst>
              <a:ext uri="{FF2B5EF4-FFF2-40B4-BE49-F238E27FC236}">
                <a16:creationId xmlns:a16="http://schemas.microsoft.com/office/drawing/2014/main" id="{A1D85051-351D-960A-2BB4-A2628AEEDB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80" y="0"/>
            <a:ext cx="12252960" cy="6875272"/>
          </a:xfrm>
          <a:prstGeom prst="rect">
            <a:avLst/>
          </a:prstGeom>
        </p:spPr>
      </p:pic>
      <p:sp>
        <p:nvSpPr>
          <p:cNvPr id="15" name="Text Placeholder 14">
            <a:extLst>
              <a:ext uri="{FF2B5EF4-FFF2-40B4-BE49-F238E27FC236}">
                <a16:creationId xmlns:a16="http://schemas.microsoft.com/office/drawing/2014/main" id="{76E2CDF4-F367-7945-84D0-303D9A8B0730}"/>
              </a:ext>
            </a:extLst>
          </p:cNvPr>
          <p:cNvSpPr>
            <a:spLocks noGrp="1"/>
          </p:cNvSpPr>
          <p:nvPr>
            <p:ph type="body" sz="quarter" idx="13" hasCustomPrompt="1"/>
          </p:nvPr>
        </p:nvSpPr>
        <p:spPr>
          <a:xfrm>
            <a:off x="2605223" y="1652979"/>
            <a:ext cx="6259751" cy="1418255"/>
          </a:xfrm>
          <a:prstGeom prst="rect">
            <a:avLst/>
          </a:prstGeom>
        </p:spPr>
        <p:txBody>
          <a:bodyPr>
            <a:normAutofit/>
          </a:bodyPr>
          <a:lstStyle>
            <a:lvl1pPr marL="0" indent="0">
              <a:buNone/>
              <a:defRPr sz="1467">
                <a:solidFill>
                  <a:schemeClr val="bg1"/>
                </a:solidFill>
              </a:defRPr>
            </a:lvl1pPr>
          </a:lstStyle>
          <a:p>
            <a:pPr lvl="0"/>
            <a:r>
              <a:rPr lang="en-GB"/>
              <a:t>Click to edit text</a:t>
            </a:r>
          </a:p>
        </p:txBody>
      </p:sp>
      <p:sp>
        <p:nvSpPr>
          <p:cNvPr id="5" name="TextBox 4">
            <a:extLst>
              <a:ext uri="{FF2B5EF4-FFF2-40B4-BE49-F238E27FC236}">
                <a16:creationId xmlns:a16="http://schemas.microsoft.com/office/drawing/2014/main" id="{F263C0FB-656C-A8EF-97F0-F5275A93836A}"/>
              </a:ext>
            </a:extLst>
          </p:cNvPr>
          <p:cNvSpPr txBox="1"/>
          <p:nvPr userDrawn="1"/>
        </p:nvSpPr>
        <p:spPr>
          <a:xfrm>
            <a:off x="2605224" y="4621395"/>
            <a:ext cx="6288385" cy="556114"/>
          </a:xfrm>
          <a:prstGeom prst="rect">
            <a:avLst/>
          </a:prstGeom>
          <a:noFill/>
        </p:spPr>
        <p:txBody>
          <a:bodyPr wrap="square" lIns="0" tIns="0" rIns="0" bIns="0" rtlCol="0">
            <a:spAutoFit/>
          </a:bodyPr>
          <a:lstStyle/>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is project is supported by the Innovative Health Initiative Joint Undertaking (IHI JU) under grant agreement No 101172693.</a:t>
            </a:r>
          </a:p>
          <a:p>
            <a:pPr>
              <a:lnSpc>
                <a:spcPts val="1467"/>
              </a:lnSpc>
            </a:pPr>
            <a:r>
              <a:rPr lang="en-AD" sz="800" kern="800" cap="none" baseline="0">
                <a:solidFill>
                  <a:schemeClr val="bg1"/>
                </a:solidFill>
                <a:effectLst/>
                <a:latin typeface="+mn-lt"/>
                <a:ea typeface="Times New Roman" panose="02020603050405020304" pitchFamily="18" charset="0"/>
                <a:cs typeface="Archivo Regular (Body)" pitchFamily="2" charset="77"/>
              </a:rPr>
              <a:t>The JU receives support from the European Union’s Horizon Europe research and innovation programme and COCIR, EFPIA, Europa Bío, MedTech Europe, and Vaccines Europe and Instem Scientific Limited.</a:t>
            </a:r>
          </a:p>
        </p:txBody>
      </p:sp>
      <p:sp>
        <p:nvSpPr>
          <p:cNvPr id="29" name="Title 28">
            <a:extLst>
              <a:ext uri="{FF2B5EF4-FFF2-40B4-BE49-F238E27FC236}">
                <a16:creationId xmlns:a16="http://schemas.microsoft.com/office/drawing/2014/main" id="{8D5677C5-D224-6593-B747-8719A5320EF2}"/>
              </a:ext>
            </a:extLst>
          </p:cNvPr>
          <p:cNvSpPr>
            <a:spLocks noGrp="1"/>
          </p:cNvSpPr>
          <p:nvPr>
            <p:ph type="title" hasCustomPrompt="1"/>
          </p:nvPr>
        </p:nvSpPr>
        <p:spPr>
          <a:xfrm>
            <a:off x="2605222" y="831126"/>
            <a:ext cx="6259769" cy="647657"/>
          </a:xfrm>
        </p:spPr>
        <p:txBody>
          <a:bodyPr anchor="t" anchorCtr="0">
            <a:normAutofit/>
          </a:bodyPr>
          <a:lstStyle>
            <a:lvl1pPr>
              <a:defRPr sz="4800">
                <a:solidFill>
                  <a:schemeClr val="bg1"/>
                </a:solidFill>
              </a:defRPr>
            </a:lvl1pPr>
          </a:lstStyle>
          <a:p>
            <a:r>
              <a:rPr lang="en-GB"/>
              <a:t>Click to edit title</a:t>
            </a:r>
            <a:endParaRPr lang="en-AD"/>
          </a:p>
        </p:txBody>
      </p:sp>
      <p:cxnSp>
        <p:nvCxnSpPr>
          <p:cNvPr id="32" name="Straight Connector 31">
            <a:extLst>
              <a:ext uri="{FF2B5EF4-FFF2-40B4-BE49-F238E27FC236}">
                <a16:creationId xmlns:a16="http://schemas.microsoft.com/office/drawing/2014/main" id="{8FBD51AA-D171-D8CA-9CEF-F51DCE073507}"/>
              </a:ext>
            </a:extLst>
          </p:cNvPr>
          <p:cNvCxnSpPr>
            <a:cxnSpLocks/>
          </p:cNvCxnSpPr>
          <p:nvPr userDrawn="1"/>
        </p:nvCxnSpPr>
        <p:spPr>
          <a:xfrm>
            <a:off x="2295397" y="697779"/>
            <a:ext cx="0" cy="54527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78649EE-CFD7-203A-4205-1299BEEF098E}"/>
              </a:ext>
            </a:extLst>
          </p:cNvPr>
          <p:cNvGrpSpPr/>
          <p:nvPr userDrawn="1"/>
        </p:nvGrpSpPr>
        <p:grpSpPr>
          <a:xfrm>
            <a:off x="821449" y="767311"/>
            <a:ext cx="1085908" cy="821904"/>
            <a:chOff x="1001339" y="887094"/>
            <a:chExt cx="814431" cy="616428"/>
          </a:xfrm>
          <a:solidFill>
            <a:schemeClr val="bg1"/>
          </a:solidFill>
        </p:grpSpPr>
        <p:sp>
          <p:nvSpPr>
            <p:cNvPr id="3" name="Freeform 2">
              <a:extLst>
                <a:ext uri="{FF2B5EF4-FFF2-40B4-BE49-F238E27FC236}">
                  <a16:creationId xmlns:a16="http://schemas.microsoft.com/office/drawing/2014/main" id="{89B5577D-12B5-4564-5C82-8A08CC82ACD3}"/>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grpFill/>
            <a:ln w="0" cap="flat">
              <a:noFill/>
              <a:prstDash val="solid"/>
              <a:miter/>
            </a:ln>
          </p:spPr>
          <p:txBody>
            <a:bodyPr rtlCol="0" anchor="ctr"/>
            <a:lstStyle/>
            <a:p>
              <a:endParaRPr lang="en-AD" sz="2400"/>
            </a:p>
          </p:txBody>
        </p:sp>
        <p:sp>
          <p:nvSpPr>
            <p:cNvPr id="7" name="Freeform 6">
              <a:extLst>
                <a:ext uri="{FF2B5EF4-FFF2-40B4-BE49-F238E27FC236}">
                  <a16:creationId xmlns:a16="http://schemas.microsoft.com/office/drawing/2014/main" id="{E11DEB67-151C-2F2E-6D87-67FFD9EEBAF8}"/>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chemeClr val="tx2"/>
            </a:solidFill>
            <a:ln w="0" cap="flat">
              <a:noFill/>
              <a:prstDash val="solid"/>
              <a:miter/>
            </a:ln>
          </p:spPr>
          <p:txBody>
            <a:bodyPr rtlCol="0" anchor="ctr"/>
            <a:lstStyle/>
            <a:p>
              <a:endParaRPr lang="en-AD" sz="2400"/>
            </a:p>
          </p:txBody>
        </p:sp>
        <p:sp>
          <p:nvSpPr>
            <p:cNvPr id="8" name="Freeform 7">
              <a:extLst>
                <a:ext uri="{FF2B5EF4-FFF2-40B4-BE49-F238E27FC236}">
                  <a16:creationId xmlns:a16="http://schemas.microsoft.com/office/drawing/2014/main" id="{98263C2C-01E9-55AF-66FB-A0974C5A64BA}"/>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grpFill/>
            <a:ln w="0" cap="flat">
              <a:noFill/>
              <a:prstDash val="solid"/>
              <a:miter/>
            </a:ln>
          </p:spPr>
          <p:txBody>
            <a:bodyPr rtlCol="0" anchor="ctr"/>
            <a:lstStyle/>
            <a:p>
              <a:endParaRPr lang="en-AD" sz="2400"/>
            </a:p>
          </p:txBody>
        </p:sp>
      </p:grpSp>
      <p:grpSp>
        <p:nvGrpSpPr>
          <p:cNvPr id="9" name="Group 8">
            <a:extLst>
              <a:ext uri="{FF2B5EF4-FFF2-40B4-BE49-F238E27FC236}">
                <a16:creationId xmlns:a16="http://schemas.microsoft.com/office/drawing/2014/main" id="{BD0405E7-A95A-7F80-2BE2-F8CBA522594F}"/>
              </a:ext>
            </a:extLst>
          </p:cNvPr>
          <p:cNvGrpSpPr/>
          <p:nvPr userDrawn="1"/>
        </p:nvGrpSpPr>
        <p:grpSpPr>
          <a:xfrm>
            <a:off x="4147816" y="4032693"/>
            <a:ext cx="1948185" cy="393699"/>
            <a:chOff x="5361094" y="4708016"/>
            <a:chExt cx="788075" cy="159258"/>
          </a:xfrm>
        </p:grpSpPr>
        <p:sp>
          <p:nvSpPr>
            <p:cNvPr id="10" name="Freeform 9">
              <a:extLst>
                <a:ext uri="{FF2B5EF4-FFF2-40B4-BE49-F238E27FC236}">
                  <a16:creationId xmlns:a16="http://schemas.microsoft.com/office/drawing/2014/main" id="{44B9A714-6576-A44A-523B-400F28817668}"/>
                </a:ext>
              </a:extLst>
            </p:cNvPr>
            <p:cNvSpPr/>
            <p:nvPr/>
          </p:nvSpPr>
          <p:spPr>
            <a:xfrm>
              <a:off x="5361094" y="4708016"/>
              <a:ext cx="239605" cy="159258"/>
            </a:xfrm>
            <a:custGeom>
              <a:avLst/>
              <a:gdLst>
                <a:gd name="connsiteX0" fmla="*/ 0 w 239605"/>
                <a:gd name="connsiteY0" fmla="*/ 0 h 159258"/>
                <a:gd name="connsiteX1" fmla="*/ 0 w 239605"/>
                <a:gd name="connsiteY1" fmla="*/ 159258 h 159258"/>
                <a:gd name="connsiteX2" fmla="*/ 239605 w 239605"/>
                <a:gd name="connsiteY2" fmla="*/ 159258 h 159258"/>
                <a:gd name="connsiteX3" fmla="*/ 239605 w 239605"/>
                <a:gd name="connsiteY3" fmla="*/ 0 h 159258"/>
                <a:gd name="connsiteX4" fmla="*/ 0 w 239605"/>
                <a:gd name="connsiteY4" fmla="*/ 0 h 159258"/>
                <a:gd name="connsiteX5" fmla="*/ 164999 w 239605"/>
                <a:gd name="connsiteY5" fmla="*/ 42037 h 159258"/>
                <a:gd name="connsiteX6" fmla="*/ 167673 w 239605"/>
                <a:gd name="connsiteY6" fmla="*/ 50165 h 159258"/>
                <a:gd name="connsiteX7" fmla="*/ 176203 w 239605"/>
                <a:gd name="connsiteY7" fmla="*/ 50165 h 159258"/>
                <a:gd name="connsiteX8" fmla="*/ 169201 w 239605"/>
                <a:gd name="connsiteY8" fmla="*/ 55118 h 159258"/>
                <a:gd name="connsiteX9" fmla="*/ 171747 w 239605"/>
                <a:gd name="connsiteY9" fmla="*/ 63119 h 159258"/>
                <a:gd name="connsiteX10" fmla="*/ 164872 w 239605"/>
                <a:gd name="connsiteY10" fmla="*/ 58166 h 159258"/>
                <a:gd name="connsiteX11" fmla="*/ 157997 w 239605"/>
                <a:gd name="connsiteY11" fmla="*/ 63119 h 159258"/>
                <a:gd name="connsiteX12" fmla="*/ 160543 w 239605"/>
                <a:gd name="connsiteY12" fmla="*/ 55118 h 159258"/>
                <a:gd name="connsiteX13" fmla="*/ 153541 w 239605"/>
                <a:gd name="connsiteY13" fmla="*/ 50165 h 159258"/>
                <a:gd name="connsiteX14" fmla="*/ 162071 w 239605"/>
                <a:gd name="connsiteY14" fmla="*/ 50165 h 159258"/>
                <a:gd name="connsiteX15" fmla="*/ 164745 w 239605"/>
                <a:gd name="connsiteY15" fmla="*/ 42037 h 159258"/>
                <a:gd name="connsiteX16" fmla="*/ 143229 w 239605"/>
                <a:gd name="connsiteY16" fmla="*/ 31115 h 159258"/>
                <a:gd name="connsiteX17" fmla="*/ 145902 w 239605"/>
                <a:gd name="connsiteY17" fmla="*/ 22987 h 159258"/>
                <a:gd name="connsiteX18" fmla="*/ 148576 w 239605"/>
                <a:gd name="connsiteY18" fmla="*/ 31115 h 159258"/>
                <a:gd name="connsiteX19" fmla="*/ 157106 w 239605"/>
                <a:gd name="connsiteY19" fmla="*/ 31115 h 159258"/>
                <a:gd name="connsiteX20" fmla="*/ 150103 w 239605"/>
                <a:gd name="connsiteY20" fmla="*/ 36068 h 159258"/>
                <a:gd name="connsiteX21" fmla="*/ 152650 w 239605"/>
                <a:gd name="connsiteY21" fmla="*/ 44069 h 159258"/>
                <a:gd name="connsiteX22" fmla="*/ 145775 w 239605"/>
                <a:gd name="connsiteY22" fmla="*/ 39116 h 159258"/>
                <a:gd name="connsiteX23" fmla="*/ 138900 w 239605"/>
                <a:gd name="connsiteY23" fmla="*/ 44069 h 159258"/>
                <a:gd name="connsiteX24" fmla="*/ 141446 w 239605"/>
                <a:gd name="connsiteY24" fmla="*/ 36068 h 159258"/>
                <a:gd name="connsiteX25" fmla="*/ 134444 w 239605"/>
                <a:gd name="connsiteY25" fmla="*/ 31115 h 159258"/>
                <a:gd name="connsiteX26" fmla="*/ 142974 w 239605"/>
                <a:gd name="connsiteY26" fmla="*/ 31115 h 159258"/>
                <a:gd name="connsiteX27" fmla="*/ 90902 w 239605"/>
                <a:gd name="connsiteY27" fmla="*/ 31115 h 159258"/>
                <a:gd name="connsiteX28" fmla="*/ 93576 w 239605"/>
                <a:gd name="connsiteY28" fmla="*/ 22987 h 159258"/>
                <a:gd name="connsiteX29" fmla="*/ 96250 w 239605"/>
                <a:gd name="connsiteY29" fmla="*/ 31115 h 159258"/>
                <a:gd name="connsiteX30" fmla="*/ 104779 w 239605"/>
                <a:gd name="connsiteY30" fmla="*/ 31115 h 159258"/>
                <a:gd name="connsiteX31" fmla="*/ 97777 w 239605"/>
                <a:gd name="connsiteY31" fmla="*/ 36068 h 159258"/>
                <a:gd name="connsiteX32" fmla="*/ 100323 w 239605"/>
                <a:gd name="connsiteY32" fmla="*/ 44069 h 159258"/>
                <a:gd name="connsiteX33" fmla="*/ 93449 w 239605"/>
                <a:gd name="connsiteY33" fmla="*/ 39116 h 159258"/>
                <a:gd name="connsiteX34" fmla="*/ 86574 w 239605"/>
                <a:gd name="connsiteY34" fmla="*/ 44069 h 159258"/>
                <a:gd name="connsiteX35" fmla="*/ 89120 w 239605"/>
                <a:gd name="connsiteY35" fmla="*/ 36068 h 159258"/>
                <a:gd name="connsiteX36" fmla="*/ 82118 w 239605"/>
                <a:gd name="connsiteY36" fmla="*/ 31115 h 159258"/>
                <a:gd name="connsiteX37" fmla="*/ 90648 w 239605"/>
                <a:gd name="connsiteY37" fmla="*/ 31115 h 159258"/>
                <a:gd name="connsiteX38" fmla="*/ 71805 w 239605"/>
                <a:gd name="connsiteY38" fmla="*/ 50292 h 159258"/>
                <a:gd name="connsiteX39" fmla="*/ 74479 w 239605"/>
                <a:gd name="connsiteY39" fmla="*/ 42164 h 159258"/>
                <a:gd name="connsiteX40" fmla="*/ 77152 w 239605"/>
                <a:gd name="connsiteY40" fmla="*/ 50292 h 159258"/>
                <a:gd name="connsiteX41" fmla="*/ 85682 w 239605"/>
                <a:gd name="connsiteY41" fmla="*/ 50292 h 159258"/>
                <a:gd name="connsiteX42" fmla="*/ 78680 w 239605"/>
                <a:gd name="connsiteY42" fmla="*/ 55245 h 159258"/>
                <a:gd name="connsiteX43" fmla="*/ 81226 w 239605"/>
                <a:gd name="connsiteY43" fmla="*/ 63246 h 159258"/>
                <a:gd name="connsiteX44" fmla="*/ 74352 w 239605"/>
                <a:gd name="connsiteY44" fmla="*/ 58293 h 159258"/>
                <a:gd name="connsiteX45" fmla="*/ 67476 w 239605"/>
                <a:gd name="connsiteY45" fmla="*/ 63246 h 159258"/>
                <a:gd name="connsiteX46" fmla="*/ 70023 w 239605"/>
                <a:gd name="connsiteY46" fmla="*/ 55245 h 159258"/>
                <a:gd name="connsiteX47" fmla="*/ 63020 w 239605"/>
                <a:gd name="connsiteY47" fmla="*/ 50292 h 159258"/>
                <a:gd name="connsiteX48" fmla="*/ 71551 w 239605"/>
                <a:gd name="connsiteY48" fmla="*/ 50292 h 159258"/>
                <a:gd name="connsiteX49" fmla="*/ 56146 w 239605"/>
                <a:gd name="connsiteY49" fmla="*/ 76327 h 159258"/>
                <a:gd name="connsiteX50" fmla="*/ 64676 w 239605"/>
                <a:gd name="connsiteY50" fmla="*/ 76327 h 159258"/>
                <a:gd name="connsiteX51" fmla="*/ 67349 w 239605"/>
                <a:gd name="connsiteY51" fmla="*/ 68199 h 159258"/>
                <a:gd name="connsiteX52" fmla="*/ 70023 w 239605"/>
                <a:gd name="connsiteY52" fmla="*/ 76327 h 159258"/>
                <a:gd name="connsiteX53" fmla="*/ 78553 w 239605"/>
                <a:gd name="connsiteY53" fmla="*/ 76327 h 159258"/>
                <a:gd name="connsiteX54" fmla="*/ 71551 w 239605"/>
                <a:gd name="connsiteY54" fmla="*/ 81280 h 159258"/>
                <a:gd name="connsiteX55" fmla="*/ 74097 w 239605"/>
                <a:gd name="connsiteY55" fmla="*/ 89281 h 159258"/>
                <a:gd name="connsiteX56" fmla="*/ 67222 w 239605"/>
                <a:gd name="connsiteY56" fmla="*/ 84328 h 159258"/>
                <a:gd name="connsiteX57" fmla="*/ 60347 w 239605"/>
                <a:gd name="connsiteY57" fmla="*/ 89281 h 159258"/>
                <a:gd name="connsiteX58" fmla="*/ 62893 w 239605"/>
                <a:gd name="connsiteY58" fmla="*/ 81280 h 159258"/>
                <a:gd name="connsiteX59" fmla="*/ 55891 w 239605"/>
                <a:gd name="connsiteY59" fmla="*/ 76327 h 159258"/>
                <a:gd name="connsiteX60" fmla="*/ 74352 w 239605"/>
                <a:gd name="connsiteY60" fmla="*/ 110490 h 159258"/>
                <a:gd name="connsiteX61" fmla="*/ 67476 w 239605"/>
                <a:gd name="connsiteY61" fmla="*/ 115443 h 159258"/>
                <a:gd name="connsiteX62" fmla="*/ 70023 w 239605"/>
                <a:gd name="connsiteY62" fmla="*/ 107442 h 159258"/>
                <a:gd name="connsiteX63" fmla="*/ 63020 w 239605"/>
                <a:gd name="connsiteY63" fmla="*/ 102489 h 159258"/>
                <a:gd name="connsiteX64" fmla="*/ 71551 w 239605"/>
                <a:gd name="connsiteY64" fmla="*/ 102489 h 159258"/>
                <a:gd name="connsiteX65" fmla="*/ 74224 w 239605"/>
                <a:gd name="connsiteY65" fmla="*/ 94361 h 159258"/>
                <a:gd name="connsiteX66" fmla="*/ 76898 w 239605"/>
                <a:gd name="connsiteY66" fmla="*/ 102489 h 159258"/>
                <a:gd name="connsiteX67" fmla="*/ 85428 w 239605"/>
                <a:gd name="connsiteY67" fmla="*/ 102489 h 159258"/>
                <a:gd name="connsiteX68" fmla="*/ 78426 w 239605"/>
                <a:gd name="connsiteY68" fmla="*/ 107442 h 159258"/>
                <a:gd name="connsiteX69" fmla="*/ 80972 w 239605"/>
                <a:gd name="connsiteY69" fmla="*/ 115443 h 159258"/>
                <a:gd name="connsiteX70" fmla="*/ 74097 w 239605"/>
                <a:gd name="connsiteY70" fmla="*/ 110490 h 159258"/>
                <a:gd name="connsiteX71" fmla="*/ 100451 w 239605"/>
                <a:gd name="connsiteY71" fmla="*/ 134620 h 159258"/>
                <a:gd name="connsiteX72" fmla="*/ 93576 w 239605"/>
                <a:gd name="connsiteY72" fmla="*/ 129667 h 159258"/>
                <a:gd name="connsiteX73" fmla="*/ 86701 w 239605"/>
                <a:gd name="connsiteY73" fmla="*/ 134620 h 159258"/>
                <a:gd name="connsiteX74" fmla="*/ 89247 w 239605"/>
                <a:gd name="connsiteY74" fmla="*/ 126619 h 159258"/>
                <a:gd name="connsiteX75" fmla="*/ 82245 w 239605"/>
                <a:gd name="connsiteY75" fmla="*/ 121666 h 159258"/>
                <a:gd name="connsiteX76" fmla="*/ 90775 w 239605"/>
                <a:gd name="connsiteY76" fmla="*/ 121666 h 159258"/>
                <a:gd name="connsiteX77" fmla="*/ 93449 w 239605"/>
                <a:gd name="connsiteY77" fmla="*/ 113538 h 159258"/>
                <a:gd name="connsiteX78" fmla="*/ 96122 w 239605"/>
                <a:gd name="connsiteY78" fmla="*/ 121666 h 159258"/>
                <a:gd name="connsiteX79" fmla="*/ 104652 w 239605"/>
                <a:gd name="connsiteY79" fmla="*/ 121666 h 159258"/>
                <a:gd name="connsiteX80" fmla="*/ 97650 w 239605"/>
                <a:gd name="connsiteY80" fmla="*/ 126619 h 159258"/>
                <a:gd name="connsiteX81" fmla="*/ 100196 w 239605"/>
                <a:gd name="connsiteY81" fmla="*/ 134620 h 159258"/>
                <a:gd name="connsiteX82" fmla="*/ 117129 w 239605"/>
                <a:gd name="connsiteY82" fmla="*/ 24130 h 159258"/>
                <a:gd name="connsiteX83" fmla="*/ 119803 w 239605"/>
                <a:gd name="connsiteY83" fmla="*/ 16002 h 159258"/>
                <a:gd name="connsiteX84" fmla="*/ 122476 w 239605"/>
                <a:gd name="connsiteY84" fmla="*/ 24130 h 159258"/>
                <a:gd name="connsiteX85" fmla="*/ 131006 w 239605"/>
                <a:gd name="connsiteY85" fmla="*/ 24130 h 159258"/>
                <a:gd name="connsiteX86" fmla="*/ 124004 w 239605"/>
                <a:gd name="connsiteY86" fmla="*/ 29083 h 159258"/>
                <a:gd name="connsiteX87" fmla="*/ 126551 w 239605"/>
                <a:gd name="connsiteY87" fmla="*/ 37084 h 159258"/>
                <a:gd name="connsiteX88" fmla="*/ 119675 w 239605"/>
                <a:gd name="connsiteY88" fmla="*/ 32131 h 159258"/>
                <a:gd name="connsiteX89" fmla="*/ 112800 w 239605"/>
                <a:gd name="connsiteY89" fmla="*/ 37084 h 159258"/>
                <a:gd name="connsiteX90" fmla="*/ 115347 w 239605"/>
                <a:gd name="connsiteY90" fmla="*/ 29083 h 159258"/>
                <a:gd name="connsiteX91" fmla="*/ 108344 w 239605"/>
                <a:gd name="connsiteY91" fmla="*/ 24130 h 159258"/>
                <a:gd name="connsiteX92" fmla="*/ 116874 w 239605"/>
                <a:gd name="connsiteY92" fmla="*/ 24130 h 159258"/>
                <a:gd name="connsiteX93" fmla="*/ 126551 w 239605"/>
                <a:gd name="connsiteY93" fmla="*/ 141478 h 159258"/>
                <a:gd name="connsiteX94" fmla="*/ 119675 w 239605"/>
                <a:gd name="connsiteY94" fmla="*/ 136525 h 159258"/>
                <a:gd name="connsiteX95" fmla="*/ 112800 w 239605"/>
                <a:gd name="connsiteY95" fmla="*/ 141478 h 159258"/>
                <a:gd name="connsiteX96" fmla="*/ 115347 w 239605"/>
                <a:gd name="connsiteY96" fmla="*/ 133477 h 159258"/>
                <a:gd name="connsiteX97" fmla="*/ 108344 w 239605"/>
                <a:gd name="connsiteY97" fmla="*/ 128524 h 159258"/>
                <a:gd name="connsiteX98" fmla="*/ 116874 w 239605"/>
                <a:gd name="connsiteY98" fmla="*/ 128524 h 159258"/>
                <a:gd name="connsiteX99" fmla="*/ 119548 w 239605"/>
                <a:gd name="connsiteY99" fmla="*/ 120396 h 159258"/>
                <a:gd name="connsiteX100" fmla="*/ 122221 w 239605"/>
                <a:gd name="connsiteY100" fmla="*/ 128524 h 159258"/>
                <a:gd name="connsiteX101" fmla="*/ 130752 w 239605"/>
                <a:gd name="connsiteY101" fmla="*/ 128524 h 159258"/>
                <a:gd name="connsiteX102" fmla="*/ 123750 w 239605"/>
                <a:gd name="connsiteY102" fmla="*/ 133477 h 159258"/>
                <a:gd name="connsiteX103" fmla="*/ 126296 w 239605"/>
                <a:gd name="connsiteY103" fmla="*/ 141478 h 159258"/>
                <a:gd name="connsiteX104" fmla="*/ 152650 w 239605"/>
                <a:gd name="connsiteY104" fmla="*/ 134620 h 159258"/>
                <a:gd name="connsiteX105" fmla="*/ 145775 w 239605"/>
                <a:gd name="connsiteY105" fmla="*/ 129667 h 159258"/>
                <a:gd name="connsiteX106" fmla="*/ 138900 w 239605"/>
                <a:gd name="connsiteY106" fmla="*/ 134620 h 159258"/>
                <a:gd name="connsiteX107" fmla="*/ 141446 w 239605"/>
                <a:gd name="connsiteY107" fmla="*/ 126619 h 159258"/>
                <a:gd name="connsiteX108" fmla="*/ 134444 w 239605"/>
                <a:gd name="connsiteY108" fmla="*/ 121666 h 159258"/>
                <a:gd name="connsiteX109" fmla="*/ 142974 w 239605"/>
                <a:gd name="connsiteY109" fmla="*/ 121666 h 159258"/>
                <a:gd name="connsiteX110" fmla="*/ 145648 w 239605"/>
                <a:gd name="connsiteY110" fmla="*/ 113538 h 159258"/>
                <a:gd name="connsiteX111" fmla="*/ 148321 w 239605"/>
                <a:gd name="connsiteY111" fmla="*/ 121666 h 159258"/>
                <a:gd name="connsiteX112" fmla="*/ 156851 w 239605"/>
                <a:gd name="connsiteY112" fmla="*/ 121666 h 159258"/>
                <a:gd name="connsiteX113" fmla="*/ 149849 w 239605"/>
                <a:gd name="connsiteY113" fmla="*/ 126619 h 159258"/>
                <a:gd name="connsiteX114" fmla="*/ 152395 w 239605"/>
                <a:gd name="connsiteY114" fmla="*/ 134620 h 159258"/>
                <a:gd name="connsiteX115" fmla="*/ 171874 w 239605"/>
                <a:gd name="connsiteY115" fmla="*/ 115443 h 159258"/>
                <a:gd name="connsiteX116" fmla="*/ 164999 w 239605"/>
                <a:gd name="connsiteY116" fmla="*/ 110490 h 159258"/>
                <a:gd name="connsiteX117" fmla="*/ 158124 w 239605"/>
                <a:gd name="connsiteY117" fmla="*/ 115443 h 159258"/>
                <a:gd name="connsiteX118" fmla="*/ 160671 w 239605"/>
                <a:gd name="connsiteY118" fmla="*/ 107442 h 159258"/>
                <a:gd name="connsiteX119" fmla="*/ 153668 w 239605"/>
                <a:gd name="connsiteY119" fmla="*/ 102489 h 159258"/>
                <a:gd name="connsiteX120" fmla="*/ 162198 w 239605"/>
                <a:gd name="connsiteY120" fmla="*/ 102489 h 159258"/>
                <a:gd name="connsiteX121" fmla="*/ 164872 w 239605"/>
                <a:gd name="connsiteY121" fmla="*/ 94361 h 159258"/>
                <a:gd name="connsiteX122" fmla="*/ 167546 w 239605"/>
                <a:gd name="connsiteY122" fmla="*/ 102489 h 159258"/>
                <a:gd name="connsiteX123" fmla="*/ 176076 w 239605"/>
                <a:gd name="connsiteY123" fmla="*/ 102489 h 159258"/>
                <a:gd name="connsiteX124" fmla="*/ 169073 w 239605"/>
                <a:gd name="connsiteY124" fmla="*/ 107442 h 159258"/>
                <a:gd name="connsiteX125" fmla="*/ 171620 w 239605"/>
                <a:gd name="connsiteY125" fmla="*/ 115443 h 159258"/>
                <a:gd name="connsiteX126" fmla="*/ 178749 w 239605"/>
                <a:gd name="connsiteY126" fmla="*/ 89281 h 159258"/>
                <a:gd name="connsiteX127" fmla="*/ 171874 w 239605"/>
                <a:gd name="connsiteY127" fmla="*/ 84328 h 159258"/>
                <a:gd name="connsiteX128" fmla="*/ 164999 w 239605"/>
                <a:gd name="connsiteY128" fmla="*/ 89281 h 159258"/>
                <a:gd name="connsiteX129" fmla="*/ 167546 w 239605"/>
                <a:gd name="connsiteY129" fmla="*/ 81280 h 159258"/>
                <a:gd name="connsiteX130" fmla="*/ 160543 w 239605"/>
                <a:gd name="connsiteY130" fmla="*/ 76327 h 159258"/>
                <a:gd name="connsiteX131" fmla="*/ 169073 w 239605"/>
                <a:gd name="connsiteY131" fmla="*/ 76327 h 159258"/>
                <a:gd name="connsiteX132" fmla="*/ 171747 w 239605"/>
                <a:gd name="connsiteY132" fmla="*/ 68199 h 159258"/>
                <a:gd name="connsiteX133" fmla="*/ 174420 w 239605"/>
                <a:gd name="connsiteY133" fmla="*/ 76327 h 159258"/>
                <a:gd name="connsiteX134" fmla="*/ 182951 w 239605"/>
                <a:gd name="connsiteY134" fmla="*/ 76327 h 159258"/>
                <a:gd name="connsiteX135" fmla="*/ 175948 w 239605"/>
                <a:gd name="connsiteY135" fmla="*/ 81280 h 159258"/>
                <a:gd name="connsiteX136" fmla="*/ 178495 w 239605"/>
                <a:gd name="connsiteY136" fmla="*/ 89281 h 15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39605" h="159258">
                  <a:moveTo>
                    <a:pt x="0" y="0"/>
                  </a:moveTo>
                  <a:lnTo>
                    <a:pt x="0" y="159258"/>
                  </a:lnTo>
                  <a:lnTo>
                    <a:pt x="239605" y="159258"/>
                  </a:lnTo>
                  <a:lnTo>
                    <a:pt x="239605" y="0"/>
                  </a:lnTo>
                  <a:lnTo>
                    <a:pt x="0" y="0"/>
                  </a:lnTo>
                  <a:close/>
                  <a:moveTo>
                    <a:pt x="164999" y="42037"/>
                  </a:moveTo>
                  <a:lnTo>
                    <a:pt x="167673" y="50165"/>
                  </a:lnTo>
                  <a:lnTo>
                    <a:pt x="176203" y="50165"/>
                  </a:lnTo>
                  <a:lnTo>
                    <a:pt x="169201" y="55118"/>
                  </a:lnTo>
                  <a:lnTo>
                    <a:pt x="171747" y="63119"/>
                  </a:lnTo>
                  <a:lnTo>
                    <a:pt x="164872" y="58166"/>
                  </a:lnTo>
                  <a:lnTo>
                    <a:pt x="157997" y="63119"/>
                  </a:lnTo>
                  <a:lnTo>
                    <a:pt x="160543" y="55118"/>
                  </a:lnTo>
                  <a:lnTo>
                    <a:pt x="153541" y="50165"/>
                  </a:lnTo>
                  <a:lnTo>
                    <a:pt x="162071" y="50165"/>
                  </a:lnTo>
                  <a:cubicBezTo>
                    <a:pt x="162071" y="50165"/>
                    <a:pt x="164745" y="42037"/>
                    <a:pt x="164745" y="42037"/>
                  </a:cubicBezTo>
                  <a:close/>
                  <a:moveTo>
                    <a:pt x="143229" y="31115"/>
                  </a:moveTo>
                  <a:lnTo>
                    <a:pt x="145902" y="22987"/>
                  </a:lnTo>
                  <a:lnTo>
                    <a:pt x="148576" y="31115"/>
                  </a:lnTo>
                  <a:lnTo>
                    <a:pt x="157106" y="31115"/>
                  </a:lnTo>
                  <a:lnTo>
                    <a:pt x="150103" y="36068"/>
                  </a:lnTo>
                  <a:lnTo>
                    <a:pt x="152650" y="44069"/>
                  </a:lnTo>
                  <a:lnTo>
                    <a:pt x="145775" y="39116"/>
                  </a:lnTo>
                  <a:lnTo>
                    <a:pt x="138900" y="44069"/>
                  </a:lnTo>
                  <a:lnTo>
                    <a:pt x="141446" y="36068"/>
                  </a:lnTo>
                  <a:lnTo>
                    <a:pt x="134444" y="31115"/>
                  </a:lnTo>
                  <a:lnTo>
                    <a:pt x="142974" y="31115"/>
                  </a:lnTo>
                  <a:close/>
                  <a:moveTo>
                    <a:pt x="90902" y="31115"/>
                  </a:moveTo>
                  <a:lnTo>
                    <a:pt x="93576" y="22987"/>
                  </a:lnTo>
                  <a:lnTo>
                    <a:pt x="96250" y="31115"/>
                  </a:lnTo>
                  <a:lnTo>
                    <a:pt x="104779" y="31115"/>
                  </a:lnTo>
                  <a:lnTo>
                    <a:pt x="97777" y="36068"/>
                  </a:lnTo>
                  <a:lnTo>
                    <a:pt x="100323" y="44069"/>
                  </a:lnTo>
                  <a:lnTo>
                    <a:pt x="93449" y="39116"/>
                  </a:lnTo>
                  <a:lnTo>
                    <a:pt x="86574" y="44069"/>
                  </a:lnTo>
                  <a:lnTo>
                    <a:pt x="89120" y="36068"/>
                  </a:lnTo>
                  <a:lnTo>
                    <a:pt x="82118" y="31115"/>
                  </a:lnTo>
                  <a:lnTo>
                    <a:pt x="90648" y="31115"/>
                  </a:lnTo>
                  <a:close/>
                  <a:moveTo>
                    <a:pt x="71805" y="50292"/>
                  </a:moveTo>
                  <a:lnTo>
                    <a:pt x="74479" y="42164"/>
                  </a:lnTo>
                  <a:lnTo>
                    <a:pt x="77152" y="50292"/>
                  </a:lnTo>
                  <a:lnTo>
                    <a:pt x="85682" y="50292"/>
                  </a:lnTo>
                  <a:lnTo>
                    <a:pt x="78680" y="55245"/>
                  </a:lnTo>
                  <a:lnTo>
                    <a:pt x="81226" y="63246"/>
                  </a:lnTo>
                  <a:lnTo>
                    <a:pt x="74352" y="58293"/>
                  </a:lnTo>
                  <a:lnTo>
                    <a:pt x="67476" y="63246"/>
                  </a:lnTo>
                  <a:lnTo>
                    <a:pt x="70023" y="55245"/>
                  </a:lnTo>
                  <a:lnTo>
                    <a:pt x="63020" y="50292"/>
                  </a:lnTo>
                  <a:lnTo>
                    <a:pt x="71551" y="50292"/>
                  </a:lnTo>
                  <a:close/>
                  <a:moveTo>
                    <a:pt x="56146" y="76327"/>
                  </a:moveTo>
                  <a:lnTo>
                    <a:pt x="64676" y="76327"/>
                  </a:lnTo>
                  <a:cubicBezTo>
                    <a:pt x="64676" y="76327"/>
                    <a:pt x="67349" y="68199"/>
                    <a:pt x="67349" y="68199"/>
                  </a:cubicBezTo>
                  <a:lnTo>
                    <a:pt x="70023" y="76327"/>
                  </a:lnTo>
                  <a:lnTo>
                    <a:pt x="78553" y="76327"/>
                  </a:lnTo>
                  <a:lnTo>
                    <a:pt x="71551" y="81280"/>
                  </a:lnTo>
                  <a:lnTo>
                    <a:pt x="74097" y="89281"/>
                  </a:lnTo>
                  <a:lnTo>
                    <a:pt x="67222" y="84328"/>
                  </a:lnTo>
                  <a:lnTo>
                    <a:pt x="60347" y="89281"/>
                  </a:lnTo>
                  <a:lnTo>
                    <a:pt x="62893" y="81280"/>
                  </a:lnTo>
                  <a:lnTo>
                    <a:pt x="55891" y="76327"/>
                  </a:lnTo>
                  <a:close/>
                  <a:moveTo>
                    <a:pt x="74352" y="110490"/>
                  </a:moveTo>
                  <a:lnTo>
                    <a:pt x="67476" y="115443"/>
                  </a:lnTo>
                  <a:lnTo>
                    <a:pt x="70023" y="107442"/>
                  </a:lnTo>
                  <a:lnTo>
                    <a:pt x="63020" y="102489"/>
                  </a:lnTo>
                  <a:lnTo>
                    <a:pt x="71551" y="102489"/>
                  </a:lnTo>
                  <a:cubicBezTo>
                    <a:pt x="71551" y="102489"/>
                    <a:pt x="74224" y="94361"/>
                    <a:pt x="74224" y="94361"/>
                  </a:cubicBezTo>
                  <a:lnTo>
                    <a:pt x="76898" y="102489"/>
                  </a:lnTo>
                  <a:lnTo>
                    <a:pt x="85428" y="102489"/>
                  </a:lnTo>
                  <a:lnTo>
                    <a:pt x="78426" y="107442"/>
                  </a:lnTo>
                  <a:lnTo>
                    <a:pt x="80972" y="115443"/>
                  </a:lnTo>
                  <a:lnTo>
                    <a:pt x="74097" y="110490"/>
                  </a:lnTo>
                  <a:close/>
                  <a:moveTo>
                    <a:pt x="100451" y="134620"/>
                  </a:moveTo>
                  <a:lnTo>
                    <a:pt x="93576" y="129667"/>
                  </a:lnTo>
                  <a:lnTo>
                    <a:pt x="86701" y="134620"/>
                  </a:lnTo>
                  <a:lnTo>
                    <a:pt x="89247" y="126619"/>
                  </a:lnTo>
                  <a:lnTo>
                    <a:pt x="82245" y="121666"/>
                  </a:lnTo>
                  <a:lnTo>
                    <a:pt x="90775" y="121666"/>
                  </a:lnTo>
                  <a:cubicBezTo>
                    <a:pt x="90775" y="121666"/>
                    <a:pt x="93449" y="113538"/>
                    <a:pt x="93449" y="113538"/>
                  </a:cubicBezTo>
                  <a:lnTo>
                    <a:pt x="96122" y="121666"/>
                  </a:lnTo>
                  <a:lnTo>
                    <a:pt x="104652" y="121666"/>
                  </a:lnTo>
                  <a:lnTo>
                    <a:pt x="97650" y="126619"/>
                  </a:lnTo>
                  <a:lnTo>
                    <a:pt x="100196" y="134620"/>
                  </a:lnTo>
                  <a:close/>
                  <a:moveTo>
                    <a:pt x="117129" y="24130"/>
                  </a:moveTo>
                  <a:lnTo>
                    <a:pt x="119803" y="16002"/>
                  </a:lnTo>
                  <a:lnTo>
                    <a:pt x="122476" y="24130"/>
                  </a:lnTo>
                  <a:lnTo>
                    <a:pt x="131006" y="24130"/>
                  </a:lnTo>
                  <a:lnTo>
                    <a:pt x="124004" y="29083"/>
                  </a:lnTo>
                  <a:lnTo>
                    <a:pt x="126551" y="37084"/>
                  </a:lnTo>
                  <a:lnTo>
                    <a:pt x="119675" y="32131"/>
                  </a:lnTo>
                  <a:lnTo>
                    <a:pt x="112800" y="37084"/>
                  </a:lnTo>
                  <a:lnTo>
                    <a:pt x="115347" y="29083"/>
                  </a:lnTo>
                  <a:lnTo>
                    <a:pt x="108344" y="24130"/>
                  </a:lnTo>
                  <a:lnTo>
                    <a:pt x="116874" y="24130"/>
                  </a:lnTo>
                  <a:close/>
                  <a:moveTo>
                    <a:pt x="126551" y="141478"/>
                  </a:moveTo>
                  <a:lnTo>
                    <a:pt x="119675" y="136525"/>
                  </a:lnTo>
                  <a:lnTo>
                    <a:pt x="112800" y="141478"/>
                  </a:lnTo>
                  <a:lnTo>
                    <a:pt x="115347" y="133477"/>
                  </a:lnTo>
                  <a:lnTo>
                    <a:pt x="108344" y="128524"/>
                  </a:lnTo>
                  <a:lnTo>
                    <a:pt x="116874" y="128524"/>
                  </a:lnTo>
                  <a:cubicBezTo>
                    <a:pt x="116874" y="128524"/>
                    <a:pt x="119548" y="120396"/>
                    <a:pt x="119548" y="120396"/>
                  </a:cubicBezTo>
                  <a:lnTo>
                    <a:pt x="122221" y="128524"/>
                  </a:lnTo>
                  <a:lnTo>
                    <a:pt x="130752" y="128524"/>
                  </a:lnTo>
                  <a:lnTo>
                    <a:pt x="123750" y="133477"/>
                  </a:lnTo>
                  <a:lnTo>
                    <a:pt x="126296" y="141478"/>
                  </a:lnTo>
                  <a:close/>
                  <a:moveTo>
                    <a:pt x="152650" y="134620"/>
                  </a:moveTo>
                  <a:lnTo>
                    <a:pt x="145775" y="129667"/>
                  </a:lnTo>
                  <a:lnTo>
                    <a:pt x="138900" y="134620"/>
                  </a:lnTo>
                  <a:lnTo>
                    <a:pt x="141446" y="126619"/>
                  </a:lnTo>
                  <a:lnTo>
                    <a:pt x="134444" y="121666"/>
                  </a:lnTo>
                  <a:lnTo>
                    <a:pt x="142974" y="121666"/>
                  </a:lnTo>
                  <a:cubicBezTo>
                    <a:pt x="142974" y="121666"/>
                    <a:pt x="145648" y="113538"/>
                    <a:pt x="145648" y="113538"/>
                  </a:cubicBezTo>
                  <a:lnTo>
                    <a:pt x="148321" y="121666"/>
                  </a:lnTo>
                  <a:lnTo>
                    <a:pt x="156851" y="121666"/>
                  </a:lnTo>
                  <a:lnTo>
                    <a:pt x="149849" y="126619"/>
                  </a:lnTo>
                  <a:lnTo>
                    <a:pt x="152395" y="134620"/>
                  </a:lnTo>
                  <a:close/>
                  <a:moveTo>
                    <a:pt x="171874" y="115443"/>
                  </a:moveTo>
                  <a:lnTo>
                    <a:pt x="164999" y="110490"/>
                  </a:lnTo>
                  <a:lnTo>
                    <a:pt x="158124" y="115443"/>
                  </a:lnTo>
                  <a:lnTo>
                    <a:pt x="160671" y="107442"/>
                  </a:lnTo>
                  <a:lnTo>
                    <a:pt x="153668" y="102489"/>
                  </a:lnTo>
                  <a:lnTo>
                    <a:pt x="162198" y="102489"/>
                  </a:lnTo>
                  <a:cubicBezTo>
                    <a:pt x="162198" y="102489"/>
                    <a:pt x="164872" y="94361"/>
                    <a:pt x="164872" y="94361"/>
                  </a:cubicBezTo>
                  <a:lnTo>
                    <a:pt x="167546" y="102489"/>
                  </a:lnTo>
                  <a:lnTo>
                    <a:pt x="176076" y="102489"/>
                  </a:lnTo>
                  <a:lnTo>
                    <a:pt x="169073" y="107442"/>
                  </a:lnTo>
                  <a:lnTo>
                    <a:pt x="171620" y="115443"/>
                  </a:lnTo>
                  <a:close/>
                  <a:moveTo>
                    <a:pt x="178749" y="89281"/>
                  </a:moveTo>
                  <a:lnTo>
                    <a:pt x="171874" y="84328"/>
                  </a:lnTo>
                  <a:lnTo>
                    <a:pt x="164999" y="89281"/>
                  </a:lnTo>
                  <a:lnTo>
                    <a:pt x="167546" y="81280"/>
                  </a:lnTo>
                  <a:lnTo>
                    <a:pt x="160543" y="76327"/>
                  </a:lnTo>
                  <a:lnTo>
                    <a:pt x="169073" y="76327"/>
                  </a:lnTo>
                  <a:cubicBezTo>
                    <a:pt x="169073" y="76327"/>
                    <a:pt x="171747" y="68199"/>
                    <a:pt x="171747" y="68199"/>
                  </a:cubicBezTo>
                  <a:lnTo>
                    <a:pt x="174420" y="76327"/>
                  </a:lnTo>
                  <a:lnTo>
                    <a:pt x="182951" y="76327"/>
                  </a:lnTo>
                  <a:lnTo>
                    <a:pt x="175948" y="81280"/>
                  </a:lnTo>
                  <a:lnTo>
                    <a:pt x="178495" y="89281"/>
                  </a:lnTo>
                  <a:close/>
                </a:path>
              </a:pathLst>
            </a:custGeom>
            <a:solidFill>
              <a:srgbClr val="FFFFFF"/>
            </a:solidFill>
            <a:ln w="0" cap="flat">
              <a:noFill/>
              <a:prstDash val="solid"/>
              <a:miter/>
            </a:ln>
          </p:spPr>
          <p:txBody>
            <a:bodyPr rtlCol="0" anchor="ctr"/>
            <a:lstStyle/>
            <a:p>
              <a:endParaRPr lang="en-AD" sz="2400"/>
            </a:p>
          </p:txBody>
        </p:sp>
        <p:sp>
          <p:nvSpPr>
            <p:cNvPr id="11" name="Freeform 10">
              <a:extLst>
                <a:ext uri="{FF2B5EF4-FFF2-40B4-BE49-F238E27FC236}">
                  <a16:creationId xmlns:a16="http://schemas.microsoft.com/office/drawing/2014/main" id="{D83CC2AB-55F9-4D20-07D0-AACE771AB9D2}"/>
                </a:ext>
              </a:extLst>
            </p:cNvPr>
            <p:cNvSpPr/>
            <p:nvPr/>
          </p:nvSpPr>
          <p:spPr>
            <a:xfrm>
              <a:off x="5633801" y="4727955"/>
              <a:ext cx="34247" cy="40640"/>
            </a:xfrm>
            <a:custGeom>
              <a:avLst/>
              <a:gdLst>
                <a:gd name="connsiteX0" fmla="*/ 26609 w 34247"/>
                <a:gd name="connsiteY0" fmla="*/ 25527 h 40640"/>
                <a:gd name="connsiteX1" fmla="*/ 34248 w 34247"/>
                <a:gd name="connsiteY1" fmla="*/ 27940 h 40640"/>
                <a:gd name="connsiteX2" fmla="*/ 28391 w 34247"/>
                <a:gd name="connsiteY2" fmla="*/ 37465 h 40640"/>
                <a:gd name="connsiteX3" fmla="*/ 17951 w 34247"/>
                <a:gd name="connsiteY3" fmla="*/ 40640 h 40640"/>
                <a:gd name="connsiteX4" fmla="*/ 5092 w 34247"/>
                <a:gd name="connsiteY4" fmla="*/ 35306 h 40640"/>
                <a:gd name="connsiteX5" fmla="*/ 0 w 34247"/>
                <a:gd name="connsiteY5" fmla="*/ 20701 h 40640"/>
                <a:gd name="connsiteX6" fmla="*/ 5092 w 34247"/>
                <a:gd name="connsiteY6" fmla="*/ 5461 h 40640"/>
                <a:gd name="connsiteX7" fmla="*/ 18461 w 34247"/>
                <a:gd name="connsiteY7" fmla="*/ 0 h 40640"/>
                <a:gd name="connsiteX8" fmla="*/ 30173 w 34247"/>
                <a:gd name="connsiteY8" fmla="*/ 4191 h 40640"/>
                <a:gd name="connsiteX9" fmla="*/ 34248 w 34247"/>
                <a:gd name="connsiteY9" fmla="*/ 11430 h 40640"/>
                <a:gd name="connsiteX10" fmla="*/ 26354 w 34247"/>
                <a:gd name="connsiteY10" fmla="*/ 13335 h 40640"/>
                <a:gd name="connsiteX11" fmla="*/ 23426 w 34247"/>
                <a:gd name="connsiteY11" fmla="*/ 8509 h 40640"/>
                <a:gd name="connsiteX12" fmla="*/ 18079 w 34247"/>
                <a:gd name="connsiteY12" fmla="*/ 6731 h 40640"/>
                <a:gd name="connsiteX13" fmla="*/ 10949 w 34247"/>
                <a:gd name="connsiteY13" fmla="*/ 9906 h 40640"/>
                <a:gd name="connsiteX14" fmla="*/ 8275 w 34247"/>
                <a:gd name="connsiteY14" fmla="*/ 20066 h 40640"/>
                <a:gd name="connsiteX15" fmla="*/ 10949 w 34247"/>
                <a:gd name="connsiteY15" fmla="*/ 30607 h 40640"/>
                <a:gd name="connsiteX16" fmla="*/ 17951 w 34247"/>
                <a:gd name="connsiteY16" fmla="*/ 33782 h 40640"/>
                <a:gd name="connsiteX17" fmla="*/ 23426 w 34247"/>
                <a:gd name="connsiteY17" fmla="*/ 31750 h 40640"/>
                <a:gd name="connsiteX18" fmla="*/ 26736 w 34247"/>
                <a:gd name="connsiteY18" fmla="*/ 2540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47" h="40640">
                  <a:moveTo>
                    <a:pt x="26609" y="25527"/>
                  </a:moveTo>
                  <a:lnTo>
                    <a:pt x="34248" y="27940"/>
                  </a:lnTo>
                  <a:cubicBezTo>
                    <a:pt x="33102" y="32258"/>
                    <a:pt x="31065" y="35433"/>
                    <a:pt x="28391" y="37465"/>
                  </a:cubicBezTo>
                  <a:cubicBezTo>
                    <a:pt x="25590" y="39497"/>
                    <a:pt x="22153" y="40640"/>
                    <a:pt x="17951" y="40640"/>
                  </a:cubicBezTo>
                  <a:cubicBezTo>
                    <a:pt x="12731" y="40640"/>
                    <a:pt x="8403" y="38862"/>
                    <a:pt x="5092" y="35306"/>
                  </a:cubicBezTo>
                  <a:cubicBezTo>
                    <a:pt x="1783" y="31750"/>
                    <a:pt x="0" y="26924"/>
                    <a:pt x="0" y="20701"/>
                  </a:cubicBezTo>
                  <a:cubicBezTo>
                    <a:pt x="0" y="14224"/>
                    <a:pt x="1655" y="9144"/>
                    <a:pt x="5092" y="5461"/>
                  </a:cubicBezTo>
                  <a:cubicBezTo>
                    <a:pt x="8530" y="1905"/>
                    <a:pt x="12859" y="0"/>
                    <a:pt x="18461" y="0"/>
                  </a:cubicBezTo>
                  <a:cubicBezTo>
                    <a:pt x="23299" y="0"/>
                    <a:pt x="27118" y="1397"/>
                    <a:pt x="30173" y="4191"/>
                  </a:cubicBezTo>
                  <a:cubicBezTo>
                    <a:pt x="31956" y="5842"/>
                    <a:pt x="33356" y="8255"/>
                    <a:pt x="34248" y="11430"/>
                  </a:cubicBezTo>
                  <a:lnTo>
                    <a:pt x="26354" y="13335"/>
                  </a:lnTo>
                  <a:cubicBezTo>
                    <a:pt x="25845" y="11303"/>
                    <a:pt x="24954" y="9652"/>
                    <a:pt x="23426" y="8509"/>
                  </a:cubicBezTo>
                  <a:cubicBezTo>
                    <a:pt x="21898" y="7366"/>
                    <a:pt x="20116" y="6731"/>
                    <a:pt x="18079" y="6731"/>
                  </a:cubicBezTo>
                  <a:cubicBezTo>
                    <a:pt x="15150" y="6731"/>
                    <a:pt x="12859" y="7747"/>
                    <a:pt x="10949" y="9906"/>
                  </a:cubicBezTo>
                  <a:cubicBezTo>
                    <a:pt x="9167" y="11938"/>
                    <a:pt x="8275" y="15367"/>
                    <a:pt x="8275" y="20066"/>
                  </a:cubicBezTo>
                  <a:cubicBezTo>
                    <a:pt x="8275" y="25019"/>
                    <a:pt x="9167" y="28575"/>
                    <a:pt x="10949" y="30607"/>
                  </a:cubicBezTo>
                  <a:cubicBezTo>
                    <a:pt x="12731" y="32766"/>
                    <a:pt x="15023" y="33782"/>
                    <a:pt x="17951" y="33782"/>
                  </a:cubicBezTo>
                  <a:cubicBezTo>
                    <a:pt x="20116" y="33782"/>
                    <a:pt x="21898" y="33147"/>
                    <a:pt x="23426" y="31750"/>
                  </a:cubicBezTo>
                  <a:cubicBezTo>
                    <a:pt x="24954" y="30353"/>
                    <a:pt x="25972" y="28321"/>
                    <a:pt x="26736" y="25400"/>
                  </a:cubicBezTo>
                  <a:close/>
                </a:path>
              </a:pathLst>
            </a:custGeom>
            <a:solidFill>
              <a:srgbClr val="FFFFFF"/>
            </a:solidFill>
            <a:ln w="0" cap="flat">
              <a:noFill/>
              <a:prstDash val="solid"/>
              <a:miter/>
            </a:ln>
          </p:spPr>
          <p:txBody>
            <a:bodyPr rtlCol="0" anchor="ctr"/>
            <a:lstStyle/>
            <a:p>
              <a:endParaRPr lang="en-AD" sz="2400"/>
            </a:p>
          </p:txBody>
        </p:sp>
        <p:sp>
          <p:nvSpPr>
            <p:cNvPr id="12" name="Freeform 11">
              <a:extLst>
                <a:ext uri="{FF2B5EF4-FFF2-40B4-BE49-F238E27FC236}">
                  <a16:creationId xmlns:a16="http://schemas.microsoft.com/office/drawing/2014/main" id="{BD7376CC-90E2-8E16-59A1-F238C0C85812}"/>
                </a:ext>
              </a:extLst>
            </p:cNvPr>
            <p:cNvSpPr/>
            <p:nvPr/>
          </p:nvSpPr>
          <p:spPr>
            <a:xfrm>
              <a:off x="5673014" y="4738878"/>
              <a:ext cx="29409" cy="29590"/>
            </a:xfrm>
            <a:custGeom>
              <a:avLst/>
              <a:gdLst>
                <a:gd name="connsiteX0" fmla="*/ 127 w 29409"/>
                <a:gd name="connsiteY0" fmla="*/ 14478 h 29590"/>
                <a:gd name="connsiteX1" fmla="*/ 2037 w 29409"/>
                <a:gd name="connsiteY1" fmla="*/ 7239 h 29590"/>
                <a:gd name="connsiteX2" fmla="*/ 7257 w 29409"/>
                <a:gd name="connsiteY2" fmla="*/ 1905 h 29590"/>
                <a:gd name="connsiteX3" fmla="*/ 14769 w 29409"/>
                <a:gd name="connsiteY3" fmla="*/ 0 h 29590"/>
                <a:gd name="connsiteX4" fmla="*/ 25335 w 29409"/>
                <a:gd name="connsiteY4" fmla="*/ 4191 h 29590"/>
                <a:gd name="connsiteX5" fmla="*/ 29410 w 29409"/>
                <a:gd name="connsiteY5" fmla="*/ 14732 h 29590"/>
                <a:gd name="connsiteX6" fmla="*/ 25208 w 29409"/>
                <a:gd name="connsiteY6" fmla="*/ 25400 h 29590"/>
                <a:gd name="connsiteX7" fmla="*/ 14769 w 29409"/>
                <a:gd name="connsiteY7" fmla="*/ 29591 h 29590"/>
                <a:gd name="connsiteX8" fmla="*/ 7257 w 29409"/>
                <a:gd name="connsiteY8" fmla="*/ 27813 h 29590"/>
                <a:gd name="connsiteX9" fmla="*/ 1910 w 29409"/>
                <a:gd name="connsiteY9" fmla="*/ 22606 h 29590"/>
                <a:gd name="connsiteX10" fmla="*/ 0 w 29409"/>
                <a:gd name="connsiteY10" fmla="*/ 14351 h 29590"/>
                <a:gd name="connsiteX11" fmla="*/ 7893 w 29409"/>
                <a:gd name="connsiteY11" fmla="*/ 14859 h 29590"/>
                <a:gd name="connsiteX12" fmla="*/ 9931 w 29409"/>
                <a:gd name="connsiteY12" fmla="*/ 21336 h 29590"/>
                <a:gd name="connsiteX13" fmla="*/ 14896 w 29409"/>
                <a:gd name="connsiteY13" fmla="*/ 23622 h 29590"/>
                <a:gd name="connsiteX14" fmla="*/ 19861 w 29409"/>
                <a:gd name="connsiteY14" fmla="*/ 21336 h 29590"/>
                <a:gd name="connsiteX15" fmla="*/ 21898 w 29409"/>
                <a:gd name="connsiteY15" fmla="*/ 14859 h 29590"/>
                <a:gd name="connsiteX16" fmla="*/ 19861 w 29409"/>
                <a:gd name="connsiteY16" fmla="*/ 8382 h 29590"/>
                <a:gd name="connsiteX17" fmla="*/ 14896 w 29409"/>
                <a:gd name="connsiteY17" fmla="*/ 6096 h 29590"/>
                <a:gd name="connsiteX18" fmla="*/ 9931 w 29409"/>
                <a:gd name="connsiteY18" fmla="*/ 8382 h 29590"/>
                <a:gd name="connsiteX19" fmla="*/ 7893 w 29409"/>
                <a:gd name="connsiteY19" fmla="*/ 1485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0">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859"/>
                  </a:moveTo>
                  <a:cubicBezTo>
                    <a:pt x="7893" y="17653"/>
                    <a:pt x="8530" y="19812"/>
                    <a:pt x="9931" y="21336"/>
                  </a:cubicBezTo>
                  <a:cubicBezTo>
                    <a:pt x="11331" y="22860"/>
                    <a:pt x="12986" y="23622"/>
                    <a:pt x="14896" y="23622"/>
                  </a:cubicBezTo>
                  <a:cubicBezTo>
                    <a:pt x="16805" y="23622"/>
                    <a:pt x="18460" y="22860"/>
                    <a:pt x="19861" y="21336"/>
                  </a:cubicBezTo>
                  <a:cubicBezTo>
                    <a:pt x="21261" y="19812"/>
                    <a:pt x="21898" y="17653"/>
                    <a:pt x="21898" y="14859"/>
                  </a:cubicBezTo>
                  <a:cubicBezTo>
                    <a:pt x="21898" y="12065"/>
                    <a:pt x="21261" y="9906"/>
                    <a:pt x="19861" y="8382"/>
                  </a:cubicBezTo>
                  <a:cubicBezTo>
                    <a:pt x="18460" y="6858"/>
                    <a:pt x="16933" y="6096"/>
                    <a:pt x="14896" y="6096"/>
                  </a:cubicBezTo>
                  <a:cubicBezTo>
                    <a:pt x="12858" y="6096"/>
                    <a:pt x="11331" y="6858"/>
                    <a:pt x="9931" y="8382"/>
                  </a:cubicBezTo>
                  <a:cubicBezTo>
                    <a:pt x="8530" y="9906"/>
                    <a:pt x="7893" y="12065"/>
                    <a:pt x="7893" y="14859"/>
                  </a:cubicBezTo>
                  <a:close/>
                </a:path>
              </a:pathLst>
            </a:custGeom>
            <a:solidFill>
              <a:srgbClr val="FFFFFF"/>
            </a:solidFill>
            <a:ln w="0" cap="flat">
              <a:noFill/>
              <a:prstDash val="solid"/>
              <a:miter/>
            </a:ln>
          </p:spPr>
          <p:txBody>
            <a:bodyPr rtlCol="0" anchor="ctr"/>
            <a:lstStyle/>
            <a:p>
              <a:endParaRPr lang="en-AD" sz="2400"/>
            </a:p>
          </p:txBody>
        </p:sp>
        <p:sp>
          <p:nvSpPr>
            <p:cNvPr id="13" name="Freeform 12">
              <a:extLst>
                <a:ext uri="{FF2B5EF4-FFF2-40B4-BE49-F238E27FC236}">
                  <a16:creationId xmlns:a16="http://schemas.microsoft.com/office/drawing/2014/main" id="{FC280F38-13F3-EDB9-F905-AFA59D725E93}"/>
                </a:ext>
              </a:extLst>
            </p:cNvPr>
            <p:cNvSpPr/>
            <p:nvPr/>
          </p:nvSpPr>
          <p:spPr>
            <a:xfrm>
              <a:off x="5707644" y="4750053"/>
              <a:ext cx="14768" cy="7492"/>
            </a:xfrm>
            <a:custGeom>
              <a:avLst/>
              <a:gdLst>
                <a:gd name="connsiteX0" fmla="*/ 0 w 14768"/>
                <a:gd name="connsiteY0" fmla="*/ 7493 h 7492"/>
                <a:gd name="connsiteX1" fmla="*/ 0 w 14768"/>
                <a:gd name="connsiteY1" fmla="*/ 0 h 7492"/>
                <a:gd name="connsiteX2" fmla="*/ 14768 w 14768"/>
                <a:gd name="connsiteY2" fmla="*/ 0 h 7492"/>
                <a:gd name="connsiteX3" fmla="*/ 14768 w 14768"/>
                <a:gd name="connsiteY3" fmla="*/ 7493 h 7492"/>
                <a:gd name="connsiteX4" fmla="*/ 0 w 14768"/>
                <a:gd name="connsiteY4" fmla="*/ 7493 h 7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68" h="7492">
                  <a:moveTo>
                    <a:pt x="0" y="7493"/>
                  </a:moveTo>
                  <a:lnTo>
                    <a:pt x="0" y="0"/>
                  </a:lnTo>
                  <a:lnTo>
                    <a:pt x="14768" y="0"/>
                  </a:lnTo>
                  <a:lnTo>
                    <a:pt x="14768" y="7493"/>
                  </a:lnTo>
                  <a:lnTo>
                    <a:pt x="0" y="7493"/>
                  </a:lnTo>
                  <a:close/>
                </a:path>
              </a:pathLst>
            </a:custGeom>
            <a:solidFill>
              <a:srgbClr val="FFFFFF"/>
            </a:solidFill>
            <a:ln w="0" cap="flat">
              <a:noFill/>
              <a:prstDash val="solid"/>
              <a:miter/>
            </a:ln>
          </p:spPr>
          <p:txBody>
            <a:bodyPr rtlCol="0" anchor="ctr"/>
            <a:lstStyle/>
            <a:p>
              <a:endParaRPr lang="en-AD" sz="2400"/>
            </a:p>
          </p:txBody>
        </p:sp>
        <p:sp>
          <p:nvSpPr>
            <p:cNvPr id="14" name="Freeform 13">
              <a:extLst>
                <a:ext uri="{FF2B5EF4-FFF2-40B4-BE49-F238E27FC236}">
                  <a16:creationId xmlns:a16="http://schemas.microsoft.com/office/drawing/2014/main" id="{A21E4AC2-4E1A-8500-05C2-0C221A5CA573}"/>
                </a:ext>
              </a:extLst>
            </p:cNvPr>
            <p:cNvSpPr/>
            <p:nvPr/>
          </p:nvSpPr>
          <p:spPr>
            <a:xfrm>
              <a:off x="5723431" y="4727955"/>
              <a:ext cx="19224" cy="40004"/>
            </a:xfrm>
            <a:custGeom>
              <a:avLst/>
              <a:gdLst>
                <a:gd name="connsiteX0" fmla="*/ 0 w 19224"/>
                <a:gd name="connsiteY0" fmla="*/ 11557 h 40004"/>
                <a:gd name="connsiteX1" fmla="*/ 4201 w 19224"/>
                <a:gd name="connsiteY1" fmla="*/ 11557 h 40004"/>
                <a:gd name="connsiteX2" fmla="*/ 4201 w 19224"/>
                <a:gd name="connsiteY2" fmla="*/ 9398 h 40004"/>
                <a:gd name="connsiteX3" fmla="*/ 4965 w 19224"/>
                <a:gd name="connsiteY3" fmla="*/ 4064 h 40004"/>
                <a:gd name="connsiteX4" fmla="*/ 7766 w 19224"/>
                <a:gd name="connsiteY4" fmla="*/ 1143 h 40004"/>
                <a:gd name="connsiteX5" fmla="*/ 12986 w 19224"/>
                <a:gd name="connsiteY5" fmla="*/ 0 h 40004"/>
                <a:gd name="connsiteX6" fmla="*/ 19225 w 19224"/>
                <a:gd name="connsiteY6" fmla="*/ 1016 h 40004"/>
                <a:gd name="connsiteX7" fmla="*/ 18206 w 19224"/>
                <a:gd name="connsiteY7" fmla="*/ 6223 h 40004"/>
                <a:gd name="connsiteX8" fmla="*/ 14769 w 19224"/>
                <a:gd name="connsiteY8" fmla="*/ 5842 h 40004"/>
                <a:gd name="connsiteX9" fmla="*/ 12477 w 19224"/>
                <a:gd name="connsiteY9" fmla="*/ 6604 h 40004"/>
                <a:gd name="connsiteX10" fmla="*/ 11713 w 19224"/>
                <a:gd name="connsiteY10" fmla="*/ 9525 h 40004"/>
                <a:gd name="connsiteX11" fmla="*/ 11713 w 19224"/>
                <a:gd name="connsiteY11" fmla="*/ 11557 h 40004"/>
                <a:gd name="connsiteX12" fmla="*/ 17315 w 19224"/>
                <a:gd name="connsiteY12" fmla="*/ 11557 h 40004"/>
                <a:gd name="connsiteX13" fmla="*/ 17315 w 19224"/>
                <a:gd name="connsiteY13" fmla="*/ 17526 h 40004"/>
                <a:gd name="connsiteX14" fmla="*/ 11713 w 19224"/>
                <a:gd name="connsiteY14" fmla="*/ 17526 h 40004"/>
                <a:gd name="connsiteX15" fmla="*/ 11713 w 19224"/>
                <a:gd name="connsiteY15" fmla="*/ 40005 h 40004"/>
                <a:gd name="connsiteX16" fmla="*/ 4201 w 19224"/>
                <a:gd name="connsiteY16" fmla="*/ 40005 h 40004"/>
                <a:gd name="connsiteX17" fmla="*/ 4201 w 19224"/>
                <a:gd name="connsiteY17" fmla="*/ 17526 h 40004"/>
                <a:gd name="connsiteX18" fmla="*/ 0 w 19224"/>
                <a:gd name="connsiteY18" fmla="*/ 17526 h 40004"/>
                <a:gd name="connsiteX19" fmla="*/ 0 w 19224"/>
                <a:gd name="connsiteY19" fmla="*/ 1155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24" h="40004">
                  <a:moveTo>
                    <a:pt x="0" y="11557"/>
                  </a:moveTo>
                  <a:lnTo>
                    <a:pt x="4201" y="11557"/>
                  </a:lnTo>
                  <a:lnTo>
                    <a:pt x="4201" y="9398"/>
                  </a:lnTo>
                  <a:cubicBezTo>
                    <a:pt x="4201" y="6985"/>
                    <a:pt x="4456" y="5207"/>
                    <a:pt x="4965" y="4064"/>
                  </a:cubicBezTo>
                  <a:cubicBezTo>
                    <a:pt x="5474" y="2921"/>
                    <a:pt x="6366" y="1905"/>
                    <a:pt x="7766" y="1143"/>
                  </a:cubicBezTo>
                  <a:cubicBezTo>
                    <a:pt x="9167" y="381"/>
                    <a:pt x="10822" y="0"/>
                    <a:pt x="12986" y="0"/>
                  </a:cubicBezTo>
                  <a:cubicBezTo>
                    <a:pt x="15150" y="0"/>
                    <a:pt x="17188" y="381"/>
                    <a:pt x="19225" y="1016"/>
                  </a:cubicBezTo>
                  <a:lnTo>
                    <a:pt x="18206" y="6223"/>
                  </a:lnTo>
                  <a:cubicBezTo>
                    <a:pt x="17060" y="5969"/>
                    <a:pt x="15914" y="5842"/>
                    <a:pt x="14769" y="5842"/>
                  </a:cubicBezTo>
                  <a:cubicBezTo>
                    <a:pt x="13623" y="5842"/>
                    <a:pt x="12859" y="6096"/>
                    <a:pt x="12477" y="6604"/>
                  </a:cubicBezTo>
                  <a:cubicBezTo>
                    <a:pt x="11968" y="7112"/>
                    <a:pt x="11713" y="8128"/>
                    <a:pt x="11713" y="9525"/>
                  </a:cubicBezTo>
                  <a:lnTo>
                    <a:pt x="11713" y="11557"/>
                  </a:lnTo>
                  <a:lnTo>
                    <a:pt x="17315" y="11557"/>
                  </a:lnTo>
                  <a:lnTo>
                    <a:pt x="17315" y="17526"/>
                  </a:lnTo>
                  <a:lnTo>
                    <a:pt x="11713" y="17526"/>
                  </a:lnTo>
                  <a:lnTo>
                    <a:pt x="11713" y="40005"/>
                  </a:lnTo>
                  <a:lnTo>
                    <a:pt x="4201" y="40005"/>
                  </a:lnTo>
                  <a:lnTo>
                    <a:pt x="4201" y="17526"/>
                  </a:lnTo>
                  <a:lnTo>
                    <a:pt x="0" y="17526"/>
                  </a:lnTo>
                  <a:lnTo>
                    <a:pt x="0" y="11557"/>
                  </a:lnTo>
                  <a:close/>
                </a:path>
              </a:pathLst>
            </a:custGeom>
            <a:solidFill>
              <a:srgbClr val="FFFFFF"/>
            </a:solidFill>
            <a:ln w="0" cap="flat">
              <a:noFill/>
              <a:prstDash val="solid"/>
              <a:miter/>
            </a:ln>
          </p:spPr>
          <p:txBody>
            <a:bodyPr rtlCol="0" anchor="ctr"/>
            <a:lstStyle/>
            <a:p>
              <a:endParaRPr lang="en-AD" sz="2400"/>
            </a:p>
          </p:txBody>
        </p:sp>
        <p:sp>
          <p:nvSpPr>
            <p:cNvPr id="16" name="Freeform 15">
              <a:extLst>
                <a:ext uri="{FF2B5EF4-FFF2-40B4-BE49-F238E27FC236}">
                  <a16:creationId xmlns:a16="http://schemas.microsoft.com/office/drawing/2014/main" id="{15098D30-395C-9CC3-B494-7124AD7B922F}"/>
                </a:ext>
              </a:extLst>
            </p:cNvPr>
            <p:cNvSpPr/>
            <p:nvPr/>
          </p:nvSpPr>
          <p:spPr>
            <a:xfrm>
              <a:off x="5744947" y="4739513"/>
              <a:ext cx="25717" cy="29083"/>
            </a:xfrm>
            <a:custGeom>
              <a:avLst/>
              <a:gdLst>
                <a:gd name="connsiteX0" fmla="*/ 18842 w 25717"/>
                <a:gd name="connsiteY0" fmla="*/ 28448 h 29083"/>
                <a:gd name="connsiteX1" fmla="*/ 18842 w 25717"/>
                <a:gd name="connsiteY1" fmla="*/ 24257 h 29083"/>
                <a:gd name="connsiteX2" fmla="*/ 14769 w 25717"/>
                <a:gd name="connsiteY2" fmla="*/ 27813 h 29083"/>
                <a:gd name="connsiteX3" fmla="*/ 9421 w 25717"/>
                <a:gd name="connsiteY3" fmla="*/ 29083 h 29083"/>
                <a:gd name="connsiteX4" fmla="*/ 4329 w 25717"/>
                <a:gd name="connsiteY4" fmla="*/ 27813 h 29083"/>
                <a:gd name="connsiteX5" fmla="*/ 1018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3 w 25717"/>
                <a:gd name="connsiteY10" fmla="*/ 20447 h 29083"/>
                <a:gd name="connsiteX11" fmla="*/ 9421 w 25717"/>
                <a:gd name="connsiteY11" fmla="*/ 22606 h 29083"/>
                <a:gd name="connsiteX12" fmla="*/ 12222 w 25717"/>
                <a:gd name="connsiteY12" fmla="*/ 23368 h 29083"/>
                <a:gd name="connsiteX13" fmla="*/ 15659 w 25717"/>
                <a:gd name="connsiteY13" fmla="*/ 22352 h 29083"/>
                <a:gd name="connsiteX14" fmla="*/ 17696 w 25717"/>
                <a:gd name="connsiteY14" fmla="*/ 19685 h 29083"/>
                <a:gd name="connsiteX15" fmla="*/ 18206 w 25717"/>
                <a:gd name="connsiteY15" fmla="*/ 12065 h 29083"/>
                <a:gd name="connsiteX16" fmla="*/ 18206 w 25717"/>
                <a:gd name="connsiteY16" fmla="*/ 127 h 29083"/>
                <a:gd name="connsiteX17" fmla="*/ 25717 w 25717"/>
                <a:gd name="connsiteY17" fmla="*/ 127 h 29083"/>
                <a:gd name="connsiteX18" fmla="*/ 25717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2" y="28448"/>
                  </a:moveTo>
                  <a:lnTo>
                    <a:pt x="18842" y="24257"/>
                  </a:lnTo>
                  <a:cubicBezTo>
                    <a:pt x="17824" y="25781"/>
                    <a:pt x="16424" y="26924"/>
                    <a:pt x="14769" y="27813"/>
                  </a:cubicBezTo>
                  <a:cubicBezTo>
                    <a:pt x="13113" y="28702"/>
                    <a:pt x="11331" y="29083"/>
                    <a:pt x="9421" y="29083"/>
                  </a:cubicBezTo>
                  <a:cubicBezTo>
                    <a:pt x="7512" y="29083"/>
                    <a:pt x="5856" y="28702"/>
                    <a:pt x="4329" y="27813"/>
                  </a:cubicBezTo>
                  <a:cubicBezTo>
                    <a:pt x="2801" y="26924"/>
                    <a:pt x="1655" y="25781"/>
                    <a:pt x="1018" y="24257"/>
                  </a:cubicBezTo>
                  <a:cubicBezTo>
                    <a:pt x="382" y="22733"/>
                    <a:pt x="0" y="20701"/>
                    <a:pt x="0" y="18034"/>
                  </a:cubicBezTo>
                  <a:lnTo>
                    <a:pt x="0" y="0"/>
                  </a:lnTo>
                  <a:lnTo>
                    <a:pt x="7512" y="0"/>
                  </a:lnTo>
                  <a:lnTo>
                    <a:pt x="7512" y="13081"/>
                  </a:lnTo>
                  <a:cubicBezTo>
                    <a:pt x="7512" y="17018"/>
                    <a:pt x="7639" y="19558"/>
                    <a:pt x="7893" y="20447"/>
                  </a:cubicBezTo>
                  <a:cubicBezTo>
                    <a:pt x="8148" y="21336"/>
                    <a:pt x="8657" y="22098"/>
                    <a:pt x="9421" y="22606"/>
                  </a:cubicBezTo>
                  <a:cubicBezTo>
                    <a:pt x="10185" y="23114"/>
                    <a:pt x="11076" y="23368"/>
                    <a:pt x="12222" y="23368"/>
                  </a:cubicBezTo>
                  <a:cubicBezTo>
                    <a:pt x="13495" y="23368"/>
                    <a:pt x="14641" y="22987"/>
                    <a:pt x="15659" y="22352"/>
                  </a:cubicBezTo>
                  <a:cubicBezTo>
                    <a:pt x="16678" y="21590"/>
                    <a:pt x="17315" y="20828"/>
                    <a:pt x="17696" y="19685"/>
                  </a:cubicBezTo>
                  <a:cubicBezTo>
                    <a:pt x="18078" y="18669"/>
                    <a:pt x="18206" y="16129"/>
                    <a:pt x="18206" y="12065"/>
                  </a:cubicBezTo>
                  <a:lnTo>
                    <a:pt x="18206" y="127"/>
                  </a:lnTo>
                  <a:lnTo>
                    <a:pt x="25717" y="127"/>
                  </a:lnTo>
                  <a:lnTo>
                    <a:pt x="25717"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17" name="Freeform 16">
              <a:extLst>
                <a:ext uri="{FF2B5EF4-FFF2-40B4-BE49-F238E27FC236}">
                  <a16:creationId xmlns:a16="http://schemas.microsoft.com/office/drawing/2014/main" id="{CE46CFB2-784D-EF94-DDA9-20E79810061F}"/>
                </a:ext>
              </a:extLst>
            </p:cNvPr>
            <p:cNvSpPr/>
            <p:nvPr/>
          </p:nvSpPr>
          <p:spPr>
            <a:xfrm>
              <a:off x="5778303" y="473862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18" name="Freeform 17">
              <a:extLst>
                <a:ext uri="{FF2B5EF4-FFF2-40B4-BE49-F238E27FC236}">
                  <a16:creationId xmlns:a16="http://schemas.microsoft.com/office/drawing/2014/main" id="{C1842E2D-85E6-6422-6C46-9A9C51F7AA6C}"/>
                </a:ext>
              </a:extLst>
            </p:cNvPr>
            <p:cNvSpPr/>
            <p:nvPr/>
          </p:nvSpPr>
          <p:spPr>
            <a:xfrm>
              <a:off x="5810386" y="4728717"/>
              <a:ext cx="27881" cy="39878"/>
            </a:xfrm>
            <a:custGeom>
              <a:avLst/>
              <a:gdLst>
                <a:gd name="connsiteX0" fmla="*/ 27755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1 w 27881"/>
                <a:gd name="connsiteY4" fmla="*/ 39878 h 39878"/>
                <a:gd name="connsiteX5" fmla="*/ 3438 w 27881"/>
                <a:gd name="connsiteY5" fmla="*/ 35941 h 39878"/>
                <a:gd name="connsiteX6" fmla="*/ 0 w 27881"/>
                <a:gd name="connsiteY6" fmla="*/ 24892 h 39878"/>
                <a:gd name="connsiteX7" fmla="*/ 3438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2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5" y="39243"/>
                  </a:moveTo>
                  <a:lnTo>
                    <a:pt x="20752" y="39243"/>
                  </a:lnTo>
                  <a:lnTo>
                    <a:pt x="20752" y="35052"/>
                  </a:lnTo>
                  <a:cubicBezTo>
                    <a:pt x="19607" y="36703"/>
                    <a:pt x="18206" y="37846"/>
                    <a:pt x="16678" y="38735"/>
                  </a:cubicBezTo>
                  <a:cubicBezTo>
                    <a:pt x="15150" y="39624"/>
                    <a:pt x="13495" y="39878"/>
                    <a:pt x="11841" y="39878"/>
                  </a:cubicBezTo>
                  <a:cubicBezTo>
                    <a:pt x="8530" y="39878"/>
                    <a:pt x="5729" y="38608"/>
                    <a:pt x="3438" y="35941"/>
                  </a:cubicBezTo>
                  <a:cubicBezTo>
                    <a:pt x="1146" y="33274"/>
                    <a:pt x="0" y="29591"/>
                    <a:pt x="0" y="24892"/>
                  </a:cubicBezTo>
                  <a:cubicBezTo>
                    <a:pt x="0" y="20193"/>
                    <a:pt x="1146" y="16383"/>
                    <a:pt x="3438"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1"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2" y="18161"/>
                  </a:cubicBezTo>
                  <a:cubicBezTo>
                    <a:pt x="8276"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19" name="Freeform 18">
              <a:extLst>
                <a:ext uri="{FF2B5EF4-FFF2-40B4-BE49-F238E27FC236}">
                  <a16:creationId xmlns:a16="http://schemas.microsoft.com/office/drawing/2014/main" id="{A6956361-CD0A-1E4C-C0F3-50356F4C5D4C}"/>
                </a:ext>
              </a:extLst>
            </p:cNvPr>
            <p:cNvSpPr/>
            <p:nvPr/>
          </p:nvSpPr>
          <p:spPr>
            <a:xfrm>
              <a:off x="5843488" y="4739004"/>
              <a:ext cx="26608" cy="29591"/>
            </a:xfrm>
            <a:custGeom>
              <a:avLst/>
              <a:gdLst>
                <a:gd name="connsiteX0" fmla="*/ 18588 w 26608"/>
                <a:gd name="connsiteY0" fmla="*/ 19939 h 29591"/>
                <a:gd name="connsiteX1" fmla="*/ 26100 w 26608"/>
                <a:gd name="connsiteY1" fmla="*/ 21209 h 29591"/>
                <a:gd name="connsiteX2" fmla="*/ 21516 w 26608"/>
                <a:gd name="connsiteY2" fmla="*/ 27432 h 29591"/>
                <a:gd name="connsiteX3" fmla="*/ 13750 w 26608"/>
                <a:gd name="connsiteY3" fmla="*/ 29591 h 29591"/>
                <a:gd name="connsiteX4" fmla="*/ 2801 w 26608"/>
                <a:gd name="connsiteY4" fmla="*/ 24765 h 29591"/>
                <a:gd name="connsiteX5" fmla="*/ 0 w 26608"/>
                <a:gd name="connsiteY5" fmla="*/ 14986 h 29591"/>
                <a:gd name="connsiteX6" fmla="*/ 3692 w 26608"/>
                <a:gd name="connsiteY6" fmla="*/ 3937 h 29591"/>
                <a:gd name="connsiteX7" fmla="*/ 12986 w 26608"/>
                <a:gd name="connsiteY7" fmla="*/ 0 h 29591"/>
                <a:gd name="connsiteX8" fmla="*/ 23044 w 26608"/>
                <a:gd name="connsiteY8" fmla="*/ 4191 h 29591"/>
                <a:gd name="connsiteX9" fmla="*/ 26609 w 26608"/>
                <a:gd name="connsiteY9" fmla="*/ 17018 h 29591"/>
                <a:gd name="connsiteX10" fmla="*/ 7766 w 26608"/>
                <a:gd name="connsiteY10" fmla="*/ 17018 h 29591"/>
                <a:gd name="connsiteX11" fmla="*/ 9549 w 26608"/>
                <a:gd name="connsiteY11" fmla="*/ 22225 h 29591"/>
                <a:gd name="connsiteX12" fmla="*/ 13877 w 26608"/>
                <a:gd name="connsiteY12" fmla="*/ 24130 h 29591"/>
                <a:gd name="connsiteX13" fmla="*/ 16806 w 26608"/>
                <a:gd name="connsiteY13" fmla="*/ 23114 h 29591"/>
                <a:gd name="connsiteX14" fmla="*/ 18588 w 26608"/>
                <a:gd name="connsiteY14" fmla="*/ 20066 h 29591"/>
                <a:gd name="connsiteX15" fmla="*/ 19097 w 26608"/>
                <a:gd name="connsiteY15" fmla="*/ 12319 h 29591"/>
                <a:gd name="connsiteX16" fmla="*/ 17442 w 26608"/>
                <a:gd name="connsiteY16" fmla="*/ 7366 h 29591"/>
                <a:gd name="connsiteX17" fmla="*/ 13495 w 26608"/>
                <a:gd name="connsiteY17" fmla="*/ 5715 h 29591"/>
                <a:gd name="connsiteX18" fmla="*/ 9421 w 26608"/>
                <a:gd name="connsiteY18" fmla="*/ 7493 h 29591"/>
                <a:gd name="connsiteX19" fmla="*/ 7893 w 26608"/>
                <a:gd name="connsiteY19" fmla="*/ 12319 h 29591"/>
                <a:gd name="connsiteX20" fmla="*/ 19097 w 26608"/>
                <a:gd name="connsiteY20" fmla="*/ 12319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1">
                  <a:moveTo>
                    <a:pt x="18588" y="19939"/>
                  </a:moveTo>
                  <a:lnTo>
                    <a:pt x="26100"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20" name="Freeform 19">
              <a:extLst>
                <a:ext uri="{FF2B5EF4-FFF2-40B4-BE49-F238E27FC236}">
                  <a16:creationId xmlns:a16="http://schemas.microsoft.com/office/drawing/2014/main" id="{E85108C2-FBE9-3A08-11C5-577A13443871}"/>
                </a:ext>
              </a:extLst>
            </p:cNvPr>
            <p:cNvSpPr/>
            <p:nvPr/>
          </p:nvSpPr>
          <p:spPr>
            <a:xfrm>
              <a:off x="5874553" y="4728717"/>
              <a:ext cx="27881" cy="39878"/>
            </a:xfrm>
            <a:custGeom>
              <a:avLst/>
              <a:gdLst>
                <a:gd name="connsiteX0" fmla="*/ 27754 w 27881"/>
                <a:gd name="connsiteY0" fmla="*/ 39243 h 39878"/>
                <a:gd name="connsiteX1" fmla="*/ 20752 w 27881"/>
                <a:gd name="connsiteY1" fmla="*/ 39243 h 39878"/>
                <a:gd name="connsiteX2" fmla="*/ 20752 w 27881"/>
                <a:gd name="connsiteY2" fmla="*/ 35052 h 39878"/>
                <a:gd name="connsiteX3" fmla="*/ 16678 w 27881"/>
                <a:gd name="connsiteY3" fmla="*/ 38735 h 39878"/>
                <a:gd name="connsiteX4" fmla="*/ 11840 w 27881"/>
                <a:gd name="connsiteY4" fmla="*/ 39878 h 39878"/>
                <a:gd name="connsiteX5" fmla="*/ 3437 w 27881"/>
                <a:gd name="connsiteY5" fmla="*/ 35941 h 39878"/>
                <a:gd name="connsiteX6" fmla="*/ 0 w 27881"/>
                <a:gd name="connsiteY6" fmla="*/ 24892 h 39878"/>
                <a:gd name="connsiteX7" fmla="*/ 3437 w 27881"/>
                <a:gd name="connsiteY7" fmla="*/ 13970 h 39878"/>
                <a:gd name="connsiteX8" fmla="*/ 12095 w 27881"/>
                <a:gd name="connsiteY8" fmla="*/ 10160 h 39878"/>
                <a:gd name="connsiteX9" fmla="*/ 20370 w 27881"/>
                <a:gd name="connsiteY9" fmla="*/ 14097 h 39878"/>
                <a:gd name="connsiteX10" fmla="*/ 20370 w 27881"/>
                <a:gd name="connsiteY10" fmla="*/ 0 h 39878"/>
                <a:gd name="connsiteX11" fmla="*/ 27882 w 27881"/>
                <a:gd name="connsiteY11" fmla="*/ 0 h 39878"/>
                <a:gd name="connsiteX12" fmla="*/ 27882 w 27881"/>
                <a:gd name="connsiteY12" fmla="*/ 39243 h 39878"/>
                <a:gd name="connsiteX13" fmla="*/ 7639 w 27881"/>
                <a:gd name="connsiteY13" fmla="*/ 24384 h 39878"/>
                <a:gd name="connsiteX14" fmla="*/ 8912 w 27881"/>
                <a:gd name="connsiteY14" fmla="*/ 30988 h 39878"/>
                <a:gd name="connsiteX15" fmla="*/ 14005 w 27881"/>
                <a:gd name="connsiteY15" fmla="*/ 33909 h 39878"/>
                <a:gd name="connsiteX16" fmla="*/ 18461 w 27881"/>
                <a:gd name="connsiteY16" fmla="*/ 31750 h 39878"/>
                <a:gd name="connsiteX17" fmla="*/ 20243 w 27881"/>
                <a:gd name="connsiteY17" fmla="*/ 25146 h 39878"/>
                <a:gd name="connsiteX18" fmla="*/ 18461 w 27881"/>
                <a:gd name="connsiteY18" fmla="*/ 18161 h 39878"/>
                <a:gd name="connsiteX19" fmla="*/ 13877 w 27881"/>
                <a:gd name="connsiteY19" fmla="*/ 16002 h 39878"/>
                <a:gd name="connsiteX20" fmla="*/ 9421 w 27881"/>
                <a:gd name="connsiteY20" fmla="*/ 18161 h 39878"/>
                <a:gd name="connsiteX21" fmla="*/ 7639 w 27881"/>
                <a:gd name="connsiteY21" fmla="*/ 24511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27754" y="39243"/>
                  </a:moveTo>
                  <a:lnTo>
                    <a:pt x="20752" y="39243"/>
                  </a:lnTo>
                  <a:lnTo>
                    <a:pt x="20752" y="35052"/>
                  </a:lnTo>
                  <a:cubicBezTo>
                    <a:pt x="19607" y="36703"/>
                    <a:pt x="18206" y="37846"/>
                    <a:pt x="16678" y="38735"/>
                  </a:cubicBezTo>
                  <a:cubicBezTo>
                    <a:pt x="15150" y="39497"/>
                    <a:pt x="13495" y="39878"/>
                    <a:pt x="11840" y="39878"/>
                  </a:cubicBezTo>
                  <a:cubicBezTo>
                    <a:pt x="8530" y="39878"/>
                    <a:pt x="5729" y="38608"/>
                    <a:pt x="3437" y="35941"/>
                  </a:cubicBezTo>
                  <a:cubicBezTo>
                    <a:pt x="1146" y="33274"/>
                    <a:pt x="0" y="29591"/>
                    <a:pt x="0" y="24892"/>
                  </a:cubicBezTo>
                  <a:cubicBezTo>
                    <a:pt x="0" y="20193"/>
                    <a:pt x="1146" y="16383"/>
                    <a:pt x="3437" y="13970"/>
                  </a:cubicBezTo>
                  <a:cubicBezTo>
                    <a:pt x="5729" y="11430"/>
                    <a:pt x="8530" y="10160"/>
                    <a:pt x="12095" y="10160"/>
                  </a:cubicBezTo>
                  <a:cubicBezTo>
                    <a:pt x="15278" y="10160"/>
                    <a:pt x="18079" y="11430"/>
                    <a:pt x="20370" y="14097"/>
                  </a:cubicBezTo>
                  <a:lnTo>
                    <a:pt x="20370" y="0"/>
                  </a:lnTo>
                  <a:lnTo>
                    <a:pt x="27882" y="0"/>
                  </a:lnTo>
                  <a:lnTo>
                    <a:pt x="27882" y="39243"/>
                  </a:lnTo>
                  <a:close/>
                  <a:moveTo>
                    <a:pt x="7639" y="24384"/>
                  </a:moveTo>
                  <a:cubicBezTo>
                    <a:pt x="7639" y="27432"/>
                    <a:pt x="8021" y="29591"/>
                    <a:pt x="8912" y="30988"/>
                  </a:cubicBezTo>
                  <a:cubicBezTo>
                    <a:pt x="10185" y="32893"/>
                    <a:pt x="11840" y="33909"/>
                    <a:pt x="14005" y="33909"/>
                  </a:cubicBezTo>
                  <a:cubicBezTo>
                    <a:pt x="15787" y="33909"/>
                    <a:pt x="17188" y="33147"/>
                    <a:pt x="18461" y="31750"/>
                  </a:cubicBezTo>
                  <a:cubicBezTo>
                    <a:pt x="19734" y="30226"/>
                    <a:pt x="20243" y="28067"/>
                    <a:pt x="20243" y="25146"/>
                  </a:cubicBezTo>
                  <a:cubicBezTo>
                    <a:pt x="20243" y="21844"/>
                    <a:pt x="19607" y="19558"/>
                    <a:pt x="18461" y="18161"/>
                  </a:cubicBezTo>
                  <a:cubicBezTo>
                    <a:pt x="17315" y="16764"/>
                    <a:pt x="15787" y="16002"/>
                    <a:pt x="13877" y="16002"/>
                  </a:cubicBezTo>
                  <a:cubicBezTo>
                    <a:pt x="11968" y="16002"/>
                    <a:pt x="10567" y="16764"/>
                    <a:pt x="9421" y="18161"/>
                  </a:cubicBezTo>
                  <a:cubicBezTo>
                    <a:pt x="8275" y="19558"/>
                    <a:pt x="7639" y="21717"/>
                    <a:pt x="7639" y="24511"/>
                  </a:cubicBezTo>
                  <a:close/>
                </a:path>
              </a:pathLst>
            </a:custGeom>
            <a:solidFill>
              <a:srgbClr val="FFFFFF"/>
            </a:solidFill>
            <a:ln w="0" cap="flat">
              <a:noFill/>
              <a:prstDash val="solid"/>
              <a:miter/>
            </a:ln>
          </p:spPr>
          <p:txBody>
            <a:bodyPr rtlCol="0" anchor="ctr"/>
            <a:lstStyle/>
            <a:p>
              <a:endParaRPr lang="en-AD" sz="2400"/>
            </a:p>
          </p:txBody>
        </p:sp>
        <p:sp>
          <p:nvSpPr>
            <p:cNvPr id="21" name="Freeform 20">
              <a:extLst>
                <a:ext uri="{FF2B5EF4-FFF2-40B4-BE49-F238E27FC236}">
                  <a16:creationId xmlns:a16="http://schemas.microsoft.com/office/drawing/2014/main" id="{A2A15B75-3D23-2D40-DD9C-662D5E3CAF84}"/>
                </a:ext>
              </a:extLst>
            </p:cNvPr>
            <p:cNvSpPr/>
            <p:nvPr/>
          </p:nvSpPr>
          <p:spPr>
            <a:xfrm>
              <a:off x="5924587" y="4728717"/>
              <a:ext cx="27881" cy="39878"/>
            </a:xfrm>
            <a:custGeom>
              <a:avLst/>
              <a:gdLst>
                <a:gd name="connsiteX0" fmla="*/ 0 w 27881"/>
                <a:gd name="connsiteY0" fmla="*/ 39243 h 39878"/>
                <a:gd name="connsiteX1" fmla="*/ 0 w 27881"/>
                <a:gd name="connsiteY1" fmla="*/ 0 h 39878"/>
                <a:gd name="connsiteX2" fmla="*/ 7512 w 27881"/>
                <a:gd name="connsiteY2" fmla="*/ 0 h 39878"/>
                <a:gd name="connsiteX3" fmla="*/ 7512 w 27881"/>
                <a:gd name="connsiteY3" fmla="*/ 14097 h 39878"/>
                <a:gd name="connsiteX4" fmla="*/ 15787 w 27881"/>
                <a:gd name="connsiteY4" fmla="*/ 10160 h 39878"/>
                <a:gd name="connsiteX5" fmla="*/ 24445 w 27881"/>
                <a:gd name="connsiteY5" fmla="*/ 13970 h 39878"/>
                <a:gd name="connsiteX6" fmla="*/ 27882 w 27881"/>
                <a:gd name="connsiteY6" fmla="*/ 24765 h 39878"/>
                <a:gd name="connsiteX7" fmla="*/ 24445 w 27881"/>
                <a:gd name="connsiteY7" fmla="*/ 35941 h 39878"/>
                <a:gd name="connsiteX8" fmla="*/ 16042 w 27881"/>
                <a:gd name="connsiteY8" fmla="*/ 39878 h 39878"/>
                <a:gd name="connsiteX9" fmla="*/ 11204 w 27881"/>
                <a:gd name="connsiteY9" fmla="*/ 38608 h 39878"/>
                <a:gd name="connsiteX10" fmla="*/ 7130 w 27881"/>
                <a:gd name="connsiteY10" fmla="*/ 35052 h 39878"/>
                <a:gd name="connsiteX11" fmla="*/ 7130 w 27881"/>
                <a:gd name="connsiteY11" fmla="*/ 39243 h 39878"/>
                <a:gd name="connsiteX12" fmla="*/ 127 w 27881"/>
                <a:gd name="connsiteY12" fmla="*/ 39243 h 39878"/>
                <a:gd name="connsiteX13" fmla="*/ 7512 w 27881"/>
                <a:gd name="connsiteY13" fmla="*/ 24384 h 39878"/>
                <a:gd name="connsiteX14" fmla="*/ 8912 w 27881"/>
                <a:gd name="connsiteY14" fmla="*/ 30861 h 39878"/>
                <a:gd name="connsiteX15" fmla="*/ 14132 w 27881"/>
                <a:gd name="connsiteY15" fmla="*/ 33909 h 39878"/>
                <a:gd name="connsiteX16" fmla="*/ 18333 w 27881"/>
                <a:gd name="connsiteY16" fmla="*/ 31750 h 39878"/>
                <a:gd name="connsiteX17" fmla="*/ 20116 w 27881"/>
                <a:gd name="connsiteY17" fmla="*/ 25019 h 39878"/>
                <a:gd name="connsiteX18" fmla="*/ 18333 w 27881"/>
                <a:gd name="connsiteY18" fmla="*/ 18034 h 39878"/>
                <a:gd name="connsiteX19" fmla="*/ 13750 w 27881"/>
                <a:gd name="connsiteY19" fmla="*/ 15875 h 39878"/>
                <a:gd name="connsiteX20" fmla="*/ 9294 w 27881"/>
                <a:gd name="connsiteY20" fmla="*/ 18034 h 39878"/>
                <a:gd name="connsiteX21" fmla="*/ 7512 w 27881"/>
                <a:gd name="connsiteY21" fmla="*/ 24384 h 3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881" h="39878">
                  <a:moveTo>
                    <a:pt x="0" y="39243"/>
                  </a:moveTo>
                  <a:lnTo>
                    <a:pt x="0" y="0"/>
                  </a:lnTo>
                  <a:lnTo>
                    <a:pt x="7512" y="0"/>
                  </a:lnTo>
                  <a:lnTo>
                    <a:pt x="7512" y="14097"/>
                  </a:lnTo>
                  <a:cubicBezTo>
                    <a:pt x="9803" y="11430"/>
                    <a:pt x="12604" y="10160"/>
                    <a:pt x="15787" y="10160"/>
                  </a:cubicBezTo>
                  <a:cubicBezTo>
                    <a:pt x="19225" y="10160"/>
                    <a:pt x="22153" y="11430"/>
                    <a:pt x="24445" y="13970"/>
                  </a:cubicBezTo>
                  <a:cubicBezTo>
                    <a:pt x="26736" y="16510"/>
                    <a:pt x="27882" y="20066"/>
                    <a:pt x="27882" y="24765"/>
                  </a:cubicBezTo>
                  <a:cubicBezTo>
                    <a:pt x="27882" y="29464"/>
                    <a:pt x="26736" y="33401"/>
                    <a:pt x="24445" y="35941"/>
                  </a:cubicBezTo>
                  <a:cubicBezTo>
                    <a:pt x="22153" y="38608"/>
                    <a:pt x="19352" y="39878"/>
                    <a:pt x="16042" y="39878"/>
                  </a:cubicBezTo>
                  <a:cubicBezTo>
                    <a:pt x="14387" y="39878"/>
                    <a:pt x="12859" y="39497"/>
                    <a:pt x="11204" y="38608"/>
                  </a:cubicBezTo>
                  <a:cubicBezTo>
                    <a:pt x="9676" y="37846"/>
                    <a:pt x="8276" y="36576"/>
                    <a:pt x="7130" y="35052"/>
                  </a:cubicBezTo>
                  <a:lnTo>
                    <a:pt x="7130" y="39243"/>
                  </a:lnTo>
                  <a:lnTo>
                    <a:pt x="127" y="39243"/>
                  </a:lnTo>
                  <a:close/>
                  <a:moveTo>
                    <a:pt x="7512" y="24384"/>
                  </a:moveTo>
                  <a:cubicBezTo>
                    <a:pt x="7512" y="27305"/>
                    <a:pt x="8021" y="29464"/>
                    <a:pt x="8912" y="30861"/>
                  </a:cubicBezTo>
                  <a:cubicBezTo>
                    <a:pt x="10185" y="32893"/>
                    <a:pt x="11968" y="33909"/>
                    <a:pt x="14132" y="33909"/>
                  </a:cubicBezTo>
                  <a:cubicBezTo>
                    <a:pt x="15787" y="33909"/>
                    <a:pt x="17188" y="33147"/>
                    <a:pt x="18333" y="31750"/>
                  </a:cubicBezTo>
                  <a:cubicBezTo>
                    <a:pt x="19479" y="30353"/>
                    <a:pt x="20116" y="28067"/>
                    <a:pt x="20116" y="25019"/>
                  </a:cubicBezTo>
                  <a:cubicBezTo>
                    <a:pt x="20116" y="21717"/>
                    <a:pt x="19479" y="19431"/>
                    <a:pt x="18333" y="18034"/>
                  </a:cubicBezTo>
                  <a:cubicBezTo>
                    <a:pt x="17188" y="16637"/>
                    <a:pt x="15660" y="15875"/>
                    <a:pt x="13750" y="15875"/>
                  </a:cubicBezTo>
                  <a:cubicBezTo>
                    <a:pt x="11841" y="15875"/>
                    <a:pt x="10440" y="16637"/>
                    <a:pt x="9294" y="18034"/>
                  </a:cubicBezTo>
                  <a:cubicBezTo>
                    <a:pt x="8148" y="19431"/>
                    <a:pt x="7512" y="21590"/>
                    <a:pt x="7512" y="24384"/>
                  </a:cubicBezTo>
                  <a:close/>
                </a:path>
              </a:pathLst>
            </a:custGeom>
            <a:solidFill>
              <a:srgbClr val="FFFFFF"/>
            </a:solidFill>
            <a:ln w="0" cap="flat">
              <a:noFill/>
              <a:prstDash val="solid"/>
              <a:miter/>
            </a:ln>
          </p:spPr>
          <p:txBody>
            <a:bodyPr rtlCol="0" anchor="ctr"/>
            <a:lstStyle/>
            <a:p>
              <a:endParaRPr lang="en-AD" sz="2400"/>
            </a:p>
          </p:txBody>
        </p:sp>
        <p:sp>
          <p:nvSpPr>
            <p:cNvPr id="22" name="Freeform 21">
              <a:extLst>
                <a:ext uri="{FF2B5EF4-FFF2-40B4-BE49-F238E27FC236}">
                  <a16:creationId xmlns:a16="http://schemas.microsoft.com/office/drawing/2014/main" id="{8DEBF081-F558-6DB9-2C61-23873EB6CFBA}"/>
                </a:ext>
              </a:extLst>
            </p:cNvPr>
            <p:cNvSpPr/>
            <p:nvPr/>
          </p:nvSpPr>
          <p:spPr>
            <a:xfrm>
              <a:off x="5954888" y="4739513"/>
              <a:ext cx="29155" cy="40004"/>
            </a:xfrm>
            <a:custGeom>
              <a:avLst/>
              <a:gdLst>
                <a:gd name="connsiteX0" fmla="*/ 0 w 29155"/>
                <a:gd name="connsiteY0" fmla="*/ 0 h 40004"/>
                <a:gd name="connsiteX1" fmla="*/ 8021 w 29155"/>
                <a:gd name="connsiteY1" fmla="*/ 0 h 40004"/>
                <a:gd name="connsiteX2" fmla="*/ 14769 w 29155"/>
                <a:gd name="connsiteY2" fmla="*/ 20193 h 40004"/>
                <a:gd name="connsiteX3" fmla="*/ 21389 w 29155"/>
                <a:gd name="connsiteY3" fmla="*/ 0 h 40004"/>
                <a:gd name="connsiteX4" fmla="*/ 29155 w 29155"/>
                <a:gd name="connsiteY4" fmla="*/ 0 h 40004"/>
                <a:gd name="connsiteX5" fmla="*/ 19097 w 29155"/>
                <a:gd name="connsiteY5" fmla="*/ 27305 h 40004"/>
                <a:gd name="connsiteX6" fmla="*/ 17315 w 29155"/>
                <a:gd name="connsiteY6" fmla="*/ 32258 h 40004"/>
                <a:gd name="connsiteX7" fmla="*/ 15405 w 29155"/>
                <a:gd name="connsiteY7" fmla="*/ 36068 h 40004"/>
                <a:gd name="connsiteX8" fmla="*/ 13368 w 29155"/>
                <a:gd name="connsiteY8" fmla="*/ 38227 h 40004"/>
                <a:gd name="connsiteX9" fmla="*/ 10440 w 29155"/>
                <a:gd name="connsiteY9" fmla="*/ 39497 h 40004"/>
                <a:gd name="connsiteX10" fmla="*/ 6621 w 29155"/>
                <a:gd name="connsiteY10" fmla="*/ 40005 h 40004"/>
                <a:gd name="connsiteX11" fmla="*/ 2419 w 29155"/>
                <a:gd name="connsiteY11" fmla="*/ 39497 h 40004"/>
                <a:gd name="connsiteX12" fmla="*/ 1783 w 29155"/>
                <a:gd name="connsiteY12" fmla="*/ 33655 h 40004"/>
                <a:gd name="connsiteX13" fmla="*/ 4965 w 29155"/>
                <a:gd name="connsiteY13" fmla="*/ 34036 h 40004"/>
                <a:gd name="connsiteX14" fmla="*/ 8912 w 29155"/>
                <a:gd name="connsiteY14" fmla="*/ 32512 h 40004"/>
                <a:gd name="connsiteX15" fmla="*/ 10822 w 29155"/>
                <a:gd name="connsiteY15" fmla="*/ 28575 h 40004"/>
                <a:gd name="connsiteX16" fmla="*/ 0 w 29155"/>
                <a:gd name="connsiteY16" fmla="*/ 127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5" h="40004">
                  <a:moveTo>
                    <a:pt x="0" y="0"/>
                  </a:moveTo>
                  <a:lnTo>
                    <a:pt x="8021" y="0"/>
                  </a:lnTo>
                  <a:lnTo>
                    <a:pt x="14769" y="20193"/>
                  </a:lnTo>
                  <a:lnTo>
                    <a:pt x="21389" y="0"/>
                  </a:lnTo>
                  <a:lnTo>
                    <a:pt x="29155" y="0"/>
                  </a:lnTo>
                  <a:lnTo>
                    <a:pt x="19097" y="27305"/>
                  </a:lnTo>
                  <a:lnTo>
                    <a:pt x="17315" y="32258"/>
                  </a:lnTo>
                  <a:cubicBezTo>
                    <a:pt x="16678" y="33909"/>
                    <a:pt x="16042" y="35179"/>
                    <a:pt x="15405" y="36068"/>
                  </a:cubicBezTo>
                  <a:cubicBezTo>
                    <a:pt x="14769" y="36957"/>
                    <a:pt x="14132" y="37592"/>
                    <a:pt x="13368" y="38227"/>
                  </a:cubicBezTo>
                  <a:cubicBezTo>
                    <a:pt x="12604" y="38735"/>
                    <a:pt x="11586" y="39243"/>
                    <a:pt x="10440" y="39497"/>
                  </a:cubicBezTo>
                  <a:cubicBezTo>
                    <a:pt x="9294" y="39751"/>
                    <a:pt x="8021" y="40005"/>
                    <a:pt x="6621" y="40005"/>
                  </a:cubicBezTo>
                  <a:cubicBezTo>
                    <a:pt x="5220" y="40005"/>
                    <a:pt x="3692" y="39878"/>
                    <a:pt x="2419" y="39497"/>
                  </a:cubicBezTo>
                  <a:lnTo>
                    <a:pt x="1783" y="33655"/>
                  </a:lnTo>
                  <a:cubicBezTo>
                    <a:pt x="2928" y="33909"/>
                    <a:pt x="4074" y="34036"/>
                    <a:pt x="4965" y="34036"/>
                  </a:cubicBezTo>
                  <a:cubicBezTo>
                    <a:pt x="6748" y="34036"/>
                    <a:pt x="8021" y="33528"/>
                    <a:pt x="8912" y="32512"/>
                  </a:cubicBezTo>
                  <a:cubicBezTo>
                    <a:pt x="9803" y="31496"/>
                    <a:pt x="10440" y="30226"/>
                    <a:pt x="10822" y="28575"/>
                  </a:cubicBezTo>
                  <a:lnTo>
                    <a:pt x="0" y="127"/>
                  </a:lnTo>
                  <a:close/>
                </a:path>
              </a:pathLst>
            </a:custGeom>
            <a:solidFill>
              <a:srgbClr val="FFFFFF"/>
            </a:solidFill>
            <a:ln w="0" cap="flat">
              <a:noFill/>
              <a:prstDash val="solid"/>
              <a:miter/>
            </a:ln>
          </p:spPr>
          <p:txBody>
            <a:bodyPr rtlCol="0" anchor="ctr"/>
            <a:lstStyle/>
            <a:p>
              <a:endParaRPr lang="en-AD" sz="2400"/>
            </a:p>
          </p:txBody>
        </p:sp>
        <p:sp>
          <p:nvSpPr>
            <p:cNvPr id="23" name="Freeform 22">
              <a:extLst>
                <a:ext uri="{FF2B5EF4-FFF2-40B4-BE49-F238E27FC236}">
                  <a16:creationId xmlns:a16="http://schemas.microsoft.com/office/drawing/2014/main" id="{D5AAAA85-AD85-E6AD-F856-A57231C9DCE5}"/>
                </a:ext>
              </a:extLst>
            </p:cNvPr>
            <p:cNvSpPr/>
            <p:nvPr/>
          </p:nvSpPr>
          <p:spPr>
            <a:xfrm>
              <a:off x="5632146" y="4795265"/>
              <a:ext cx="16805" cy="38989"/>
            </a:xfrm>
            <a:custGeom>
              <a:avLst/>
              <a:gdLst>
                <a:gd name="connsiteX0" fmla="*/ 16169 w 16805"/>
                <a:gd name="connsiteY0" fmla="*/ 10033 h 38989"/>
                <a:gd name="connsiteX1" fmla="*/ 16169 w 16805"/>
                <a:gd name="connsiteY1" fmla="*/ 16002 h 38989"/>
                <a:gd name="connsiteX2" fmla="*/ 11077 w 16805"/>
                <a:gd name="connsiteY2" fmla="*/ 16002 h 38989"/>
                <a:gd name="connsiteX3" fmla="*/ 11077 w 16805"/>
                <a:gd name="connsiteY3" fmla="*/ 27432 h 38989"/>
                <a:gd name="connsiteX4" fmla="*/ 11204 w 16805"/>
                <a:gd name="connsiteY4" fmla="*/ 31496 h 38989"/>
                <a:gd name="connsiteX5" fmla="*/ 11841 w 16805"/>
                <a:gd name="connsiteY5" fmla="*/ 32385 h 38989"/>
                <a:gd name="connsiteX6" fmla="*/ 13113 w 16805"/>
                <a:gd name="connsiteY6" fmla="*/ 32766 h 38989"/>
                <a:gd name="connsiteX7" fmla="*/ 16169 w 16805"/>
                <a:gd name="connsiteY7" fmla="*/ 32004 h 38989"/>
                <a:gd name="connsiteX8" fmla="*/ 16806 w 16805"/>
                <a:gd name="connsiteY8" fmla="*/ 37846 h 38989"/>
                <a:gd name="connsiteX9" fmla="*/ 10822 w 16805"/>
                <a:gd name="connsiteY9" fmla="*/ 38989 h 38989"/>
                <a:gd name="connsiteX10" fmla="*/ 7130 w 16805"/>
                <a:gd name="connsiteY10" fmla="*/ 38354 h 38989"/>
                <a:gd name="connsiteX11" fmla="*/ 4711 w 16805"/>
                <a:gd name="connsiteY11" fmla="*/ 36576 h 38989"/>
                <a:gd name="connsiteX12" fmla="*/ 3692 w 16805"/>
                <a:gd name="connsiteY12" fmla="*/ 33655 h 38989"/>
                <a:gd name="connsiteX13" fmla="*/ 3438 w 16805"/>
                <a:gd name="connsiteY13" fmla="*/ 28321 h 38989"/>
                <a:gd name="connsiteX14" fmla="*/ 3438 w 16805"/>
                <a:gd name="connsiteY14" fmla="*/ 16002 h 38989"/>
                <a:gd name="connsiteX15" fmla="*/ 0 w 16805"/>
                <a:gd name="connsiteY15" fmla="*/ 16002 h 38989"/>
                <a:gd name="connsiteX16" fmla="*/ 0 w 16805"/>
                <a:gd name="connsiteY16" fmla="*/ 10033 h 38989"/>
                <a:gd name="connsiteX17" fmla="*/ 3438 w 16805"/>
                <a:gd name="connsiteY17" fmla="*/ 10033 h 38989"/>
                <a:gd name="connsiteX18" fmla="*/ 3438 w 16805"/>
                <a:gd name="connsiteY18" fmla="*/ 4445 h 38989"/>
                <a:gd name="connsiteX19" fmla="*/ 10949 w 16805"/>
                <a:gd name="connsiteY19" fmla="*/ 0 h 38989"/>
                <a:gd name="connsiteX20" fmla="*/ 10949 w 16805"/>
                <a:gd name="connsiteY20" fmla="*/ 10033 h 38989"/>
                <a:gd name="connsiteX21" fmla="*/ 16042 w 16805"/>
                <a:gd name="connsiteY21" fmla="*/ 10033 h 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05" h="38989">
                  <a:moveTo>
                    <a:pt x="16169" y="10033"/>
                  </a:moveTo>
                  <a:lnTo>
                    <a:pt x="16169" y="16002"/>
                  </a:lnTo>
                  <a:lnTo>
                    <a:pt x="11077" y="16002"/>
                  </a:lnTo>
                  <a:lnTo>
                    <a:pt x="11077" y="27432"/>
                  </a:lnTo>
                  <a:cubicBezTo>
                    <a:pt x="11077" y="29718"/>
                    <a:pt x="11077" y="31115"/>
                    <a:pt x="11204" y="31496"/>
                  </a:cubicBezTo>
                  <a:cubicBezTo>
                    <a:pt x="11331" y="31877"/>
                    <a:pt x="11586" y="32258"/>
                    <a:pt x="11841" y="32385"/>
                  </a:cubicBezTo>
                  <a:cubicBezTo>
                    <a:pt x="12222" y="32639"/>
                    <a:pt x="12604" y="32766"/>
                    <a:pt x="13113" y="32766"/>
                  </a:cubicBezTo>
                  <a:cubicBezTo>
                    <a:pt x="13750" y="32766"/>
                    <a:pt x="14769" y="32512"/>
                    <a:pt x="16169" y="32004"/>
                  </a:cubicBezTo>
                  <a:lnTo>
                    <a:pt x="16806" y="37846"/>
                  </a:lnTo>
                  <a:cubicBezTo>
                    <a:pt x="15023" y="38608"/>
                    <a:pt x="13113" y="38989"/>
                    <a:pt x="10822" y="38989"/>
                  </a:cubicBezTo>
                  <a:cubicBezTo>
                    <a:pt x="9422" y="38989"/>
                    <a:pt x="8276" y="38735"/>
                    <a:pt x="7130" y="38354"/>
                  </a:cubicBezTo>
                  <a:cubicBezTo>
                    <a:pt x="5984" y="37846"/>
                    <a:pt x="5220" y="37338"/>
                    <a:pt x="4711" y="36576"/>
                  </a:cubicBezTo>
                  <a:cubicBezTo>
                    <a:pt x="4202" y="35814"/>
                    <a:pt x="3820" y="34925"/>
                    <a:pt x="3692" y="33655"/>
                  </a:cubicBezTo>
                  <a:cubicBezTo>
                    <a:pt x="3565" y="32766"/>
                    <a:pt x="3438" y="30988"/>
                    <a:pt x="3438" y="28321"/>
                  </a:cubicBezTo>
                  <a:lnTo>
                    <a:pt x="3438" y="16002"/>
                  </a:lnTo>
                  <a:lnTo>
                    <a:pt x="0" y="16002"/>
                  </a:lnTo>
                  <a:lnTo>
                    <a:pt x="0" y="10033"/>
                  </a:lnTo>
                  <a:lnTo>
                    <a:pt x="3438" y="10033"/>
                  </a:lnTo>
                  <a:lnTo>
                    <a:pt x="3438" y="4445"/>
                  </a:lnTo>
                  <a:lnTo>
                    <a:pt x="10949" y="0"/>
                  </a:lnTo>
                  <a:lnTo>
                    <a:pt x="10949" y="10033"/>
                  </a:lnTo>
                  <a:lnTo>
                    <a:pt x="16042" y="10033"/>
                  </a:lnTo>
                  <a:close/>
                </a:path>
              </a:pathLst>
            </a:custGeom>
            <a:solidFill>
              <a:srgbClr val="FFFFFF"/>
            </a:solidFill>
            <a:ln w="0" cap="flat">
              <a:noFill/>
              <a:prstDash val="solid"/>
              <a:miter/>
            </a:ln>
          </p:spPr>
          <p:txBody>
            <a:bodyPr rtlCol="0" anchor="ctr"/>
            <a:lstStyle/>
            <a:p>
              <a:endParaRPr lang="en-AD" sz="2400"/>
            </a:p>
          </p:txBody>
        </p:sp>
        <p:sp>
          <p:nvSpPr>
            <p:cNvPr id="24" name="Freeform 23">
              <a:extLst>
                <a:ext uri="{FF2B5EF4-FFF2-40B4-BE49-F238E27FC236}">
                  <a16:creationId xmlns:a16="http://schemas.microsoft.com/office/drawing/2014/main" id="{4B99427C-DA39-B9AB-E6D5-6C4ACF47A6E3}"/>
                </a:ext>
              </a:extLst>
            </p:cNvPr>
            <p:cNvSpPr/>
            <p:nvPr/>
          </p:nvSpPr>
          <p:spPr>
            <a:xfrm>
              <a:off x="5653662" y="4794377"/>
              <a:ext cx="25717" cy="39242"/>
            </a:xfrm>
            <a:custGeom>
              <a:avLst/>
              <a:gdLst>
                <a:gd name="connsiteX0" fmla="*/ 7384 w 25717"/>
                <a:gd name="connsiteY0" fmla="*/ 127 h 39242"/>
                <a:gd name="connsiteX1" fmla="*/ 7384 w 25717"/>
                <a:gd name="connsiteY1" fmla="*/ 14478 h 39242"/>
                <a:gd name="connsiteX2" fmla="*/ 16042 w 25717"/>
                <a:gd name="connsiteY2" fmla="*/ 10287 h 39242"/>
                <a:gd name="connsiteX3" fmla="*/ 20752 w 25717"/>
                <a:gd name="connsiteY3" fmla="*/ 11303 h 39242"/>
                <a:gd name="connsiteX4" fmla="*/ 23935 w 25717"/>
                <a:gd name="connsiteY4" fmla="*/ 13716 h 39242"/>
                <a:gd name="connsiteX5" fmla="*/ 25336 w 25717"/>
                <a:gd name="connsiteY5" fmla="*/ 17018 h 39242"/>
                <a:gd name="connsiteX6" fmla="*/ 25718 w 25717"/>
                <a:gd name="connsiteY6" fmla="*/ 22606 h 39242"/>
                <a:gd name="connsiteX7" fmla="*/ 25718 w 25717"/>
                <a:gd name="connsiteY7" fmla="*/ 39243 h 39242"/>
                <a:gd name="connsiteX8" fmla="*/ 18206 w 25717"/>
                <a:gd name="connsiteY8" fmla="*/ 39243 h 39242"/>
                <a:gd name="connsiteX9" fmla="*/ 18206 w 25717"/>
                <a:gd name="connsiteY9" fmla="*/ 24257 h 39242"/>
                <a:gd name="connsiteX10" fmla="*/ 17824 w 25717"/>
                <a:gd name="connsiteY10" fmla="*/ 18542 h 39242"/>
                <a:gd name="connsiteX11" fmla="*/ 16296 w 25717"/>
                <a:gd name="connsiteY11" fmla="*/ 16637 h 39242"/>
                <a:gd name="connsiteX12" fmla="*/ 13623 w 25717"/>
                <a:gd name="connsiteY12" fmla="*/ 15875 h 39242"/>
                <a:gd name="connsiteX13" fmla="*/ 10312 w 25717"/>
                <a:gd name="connsiteY13" fmla="*/ 16764 h 39242"/>
                <a:gd name="connsiteX14" fmla="*/ 8148 w 25717"/>
                <a:gd name="connsiteY14" fmla="*/ 19558 h 39242"/>
                <a:gd name="connsiteX15" fmla="*/ 7512 w 25717"/>
                <a:gd name="connsiteY15" fmla="*/ 25019 h 39242"/>
                <a:gd name="connsiteX16" fmla="*/ 7512 w 25717"/>
                <a:gd name="connsiteY16" fmla="*/ 39243 h 39242"/>
                <a:gd name="connsiteX17" fmla="*/ 0 w 25717"/>
                <a:gd name="connsiteY17" fmla="*/ 39243 h 39242"/>
                <a:gd name="connsiteX18" fmla="*/ 0 w 25717"/>
                <a:gd name="connsiteY18" fmla="*/ 0 h 39242"/>
                <a:gd name="connsiteX19" fmla="*/ 7512 w 25717"/>
                <a:gd name="connsiteY19" fmla="*/ 0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39242">
                  <a:moveTo>
                    <a:pt x="7384" y="127"/>
                  </a:moveTo>
                  <a:lnTo>
                    <a:pt x="7384" y="14478"/>
                  </a:lnTo>
                  <a:cubicBezTo>
                    <a:pt x="9803" y="11684"/>
                    <a:pt x="12731" y="10287"/>
                    <a:pt x="16042" y="10287"/>
                  </a:cubicBezTo>
                  <a:cubicBezTo>
                    <a:pt x="17824" y="10287"/>
                    <a:pt x="19352" y="10668"/>
                    <a:pt x="20752" y="11303"/>
                  </a:cubicBezTo>
                  <a:cubicBezTo>
                    <a:pt x="22153" y="11938"/>
                    <a:pt x="23171" y="12827"/>
                    <a:pt x="23935" y="13716"/>
                  </a:cubicBezTo>
                  <a:cubicBezTo>
                    <a:pt x="24699" y="14732"/>
                    <a:pt x="25081" y="15875"/>
                    <a:pt x="25336" y="17018"/>
                  </a:cubicBezTo>
                  <a:cubicBezTo>
                    <a:pt x="25590" y="18288"/>
                    <a:pt x="25718" y="20066"/>
                    <a:pt x="25718" y="22606"/>
                  </a:cubicBezTo>
                  <a:lnTo>
                    <a:pt x="25718" y="39243"/>
                  </a:lnTo>
                  <a:lnTo>
                    <a:pt x="18206" y="39243"/>
                  </a:lnTo>
                  <a:lnTo>
                    <a:pt x="18206" y="24257"/>
                  </a:lnTo>
                  <a:cubicBezTo>
                    <a:pt x="18206" y="21336"/>
                    <a:pt x="18079" y="19431"/>
                    <a:pt x="17824" y="18542"/>
                  </a:cubicBezTo>
                  <a:cubicBezTo>
                    <a:pt x="17569" y="17780"/>
                    <a:pt x="17060" y="17145"/>
                    <a:pt x="16296" y="16637"/>
                  </a:cubicBezTo>
                  <a:cubicBezTo>
                    <a:pt x="15532" y="16129"/>
                    <a:pt x="14641" y="15875"/>
                    <a:pt x="13623" y="15875"/>
                  </a:cubicBezTo>
                  <a:cubicBezTo>
                    <a:pt x="12350" y="15875"/>
                    <a:pt x="11204" y="16129"/>
                    <a:pt x="10312" y="16764"/>
                  </a:cubicBezTo>
                  <a:cubicBezTo>
                    <a:pt x="9294" y="17399"/>
                    <a:pt x="8658" y="18288"/>
                    <a:pt x="8148" y="19558"/>
                  </a:cubicBezTo>
                  <a:cubicBezTo>
                    <a:pt x="7639" y="20828"/>
                    <a:pt x="7512" y="22606"/>
                    <a:pt x="7512" y="25019"/>
                  </a:cubicBezTo>
                  <a:lnTo>
                    <a:pt x="7512" y="39243"/>
                  </a:lnTo>
                  <a:lnTo>
                    <a:pt x="0" y="39243"/>
                  </a:lnTo>
                  <a:lnTo>
                    <a:pt x="0" y="0"/>
                  </a:lnTo>
                  <a:lnTo>
                    <a:pt x="7512" y="0"/>
                  </a:lnTo>
                  <a:close/>
                </a:path>
              </a:pathLst>
            </a:custGeom>
            <a:solidFill>
              <a:srgbClr val="FFFFFF"/>
            </a:solidFill>
            <a:ln w="0" cap="flat">
              <a:noFill/>
              <a:prstDash val="solid"/>
              <a:miter/>
            </a:ln>
          </p:spPr>
          <p:txBody>
            <a:bodyPr rtlCol="0" anchor="ctr"/>
            <a:lstStyle/>
            <a:p>
              <a:endParaRPr lang="en-AD" sz="2400"/>
            </a:p>
          </p:txBody>
        </p:sp>
        <p:sp>
          <p:nvSpPr>
            <p:cNvPr id="25" name="Freeform 24">
              <a:extLst>
                <a:ext uri="{FF2B5EF4-FFF2-40B4-BE49-F238E27FC236}">
                  <a16:creationId xmlns:a16="http://schemas.microsoft.com/office/drawing/2014/main" id="{DAF34E0C-D0DB-999F-5F63-A7F7C87D3C9A}"/>
                </a:ext>
              </a:extLst>
            </p:cNvPr>
            <p:cNvSpPr/>
            <p:nvPr/>
          </p:nvSpPr>
          <p:spPr>
            <a:xfrm>
              <a:off x="5684982"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5 w 26608"/>
                <a:gd name="connsiteY13" fmla="*/ 23114 h 29590"/>
                <a:gd name="connsiteX14" fmla="*/ 18588 w 26608"/>
                <a:gd name="connsiteY14" fmla="*/ 20066 h 29590"/>
                <a:gd name="connsiteX15" fmla="*/ 18970 w 26608"/>
                <a:gd name="connsiteY15" fmla="*/ 12319 h 29590"/>
                <a:gd name="connsiteX16" fmla="*/ 17315 w 26608"/>
                <a:gd name="connsiteY16" fmla="*/ 7366 h 29590"/>
                <a:gd name="connsiteX17" fmla="*/ 13368 w 26608"/>
                <a:gd name="connsiteY17" fmla="*/ 5715 h 29590"/>
                <a:gd name="connsiteX18" fmla="*/ 9294 w 26608"/>
                <a:gd name="connsiteY18" fmla="*/ 7493 h 29590"/>
                <a:gd name="connsiteX19" fmla="*/ 7766 w 26608"/>
                <a:gd name="connsiteY19" fmla="*/ 12319 h 29590"/>
                <a:gd name="connsiteX20" fmla="*/ 18970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5" y="29591"/>
                    <a:pt x="13750" y="29591"/>
                  </a:cubicBezTo>
                  <a:cubicBezTo>
                    <a:pt x="8784"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7" y="0"/>
                    <a:pt x="20625" y="1397"/>
                    <a:pt x="23044" y="4191"/>
                  </a:cubicBezTo>
                  <a:cubicBezTo>
                    <a:pt x="25463" y="6985"/>
                    <a:pt x="26609" y="11303"/>
                    <a:pt x="26609" y="17018"/>
                  </a:cubicBezTo>
                  <a:lnTo>
                    <a:pt x="7766" y="17018"/>
                  </a:lnTo>
                  <a:cubicBezTo>
                    <a:pt x="7766" y="19304"/>
                    <a:pt x="8402" y="20955"/>
                    <a:pt x="9549" y="22225"/>
                  </a:cubicBezTo>
                  <a:cubicBezTo>
                    <a:pt x="10694" y="23495"/>
                    <a:pt x="12095" y="24130"/>
                    <a:pt x="13877" y="24130"/>
                  </a:cubicBezTo>
                  <a:cubicBezTo>
                    <a:pt x="15023" y="24130"/>
                    <a:pt x="16041" y="23749"/>
                    <a:pt x="16805" y="23114"/>
                  </a:cubicBezTo>
                  <a:cubicBezTo>
                    <a:pt x="17569" y="22479"/>
                    <a:pt x="18206" y="21463"/>
                    <a:pt x="18588" y="20066"/>
                  </a:cubicBezTo>
                  <a:close/>
                  <a:moveTo>
                    <a:pt x="18970" y="12319"/>
                  </a:moveTo>
                  <a:cubicBezTo>
                    <a:pt x="18970" y="10160"/>
                    <a:pt x="18333" y="8509"/>
                    <a:pt x="17315" y="7366"/>
                  </a:cubicBezTo>
                  <a:cubicBezTo>
                    <a:pt x="16296" y="6223"/>
                    <a:pt x="14896" y="5715"/>
                    <a:pt x="13368" y="5715"/>
                  </a:cubicBezTo>
                  <a:cubicBezTo>
                    <a:pt x="11713" y="5715"/>
                    <a:pt x="10312" y="6350"/>
                    <a:pt x="9294" y="7493"/>
                  </a:cubicBezTo>
                  <a:cubicBezTo>
                    <a:pt x="8275" y="8636"/>
                    <a:pt x="7639" y="10287"/>
                    <a:pt x="7766" y="12319"/>
                  </a:cubicBezTo>
                  <a:lnTo>
                    <a:pt x="18970" y="12319"/>
                  </a:lnTo>
                  <a:close/>
                </a:path>
              </a:pathLst>
            </a:custGeom>
            <a:solidFill>
              <a:srgbClr val="FFFFFF"/>
            </a:solidFill>
            <a:ln w="0" cap="flat">
              <a:noFill/>
              <a:prstDash val="solid"/>
              <a:miter/>
            </a:ln>
          </p:spPr>
          <p:txBody>
            <a:bodyPr rtlCol="0" anchor="ctr"/>
            <a:lstStyle/>
            <a:p>
              <a:endParaRPr lang="en-AD" sz="2400"/>
            </a:p>
          </p:txBody>
        </p:sp>
        <p:sp>
          <p:nvSpPr>
            <p:cNvPr id="26" name="Freeform 25">
              <a:extLst>
                <a:ext uri="{FF2B5EF4-FFF2-40B4-BE49-F238E27FC236}">
                  <a16:creationId xmlns:a16="http://schemas.microsoft.com/office/drawing/2014/main" id="{5036C387-5461-D58C-C49B-0218AE03D639}"/>
                </a:ext>
              </a:extLst>
            </p:cNvPr>
            <p:cNvSpPr/>
            <p:nvPr/>
          </p:nvSpPr>
          <p:spPr>
            <a:xfrm>
              <a:off x="5732725" y="4794377"/>
              <a:ext cx="29918" cy="39242"/>
            </a:xfrm>
            <a:custGeom>
              <a:avLst/>
              <a:gdLst>
                <a:gd name="connsiteX0" fmla="*/ 127 w 29918"/>
                <a:gd name="connsiteY0" fmla="*/ 39243 h 39242"/>
                <a:gd name="connsiteX1" fmla="*/ 127 w 29918"/>
                <a:gd name="connsiteY1" fmla="*/ 0 h 39242"/>
                <a:gd name="connsiteX2" fmla="*/ 29282 w 29918"/>
                <a:gd name="connsiteY2" fmla="*/ 0 h 39242"/>
                <a:gd name="connsiteX3" fmla="*/ 29282 w 29918"/>
                <a:gd name="connsiteY3" fmla="*/ 6604 h 39242"/>
                <a:gd name="connsiteX4" fmla="*/ 8020 w 29918"/>
                <a:gd name="connsiteY4" fmla="*/ 6604 h 39242"/>
                <a:gd name="connsiteX5" fmla="*/ 8020 w 29918"/>
                <a:gd name="connsiteY5" fmla="*/ 15240 h 39242"/>
                <a:gd name="connsiteX6" fmla="*/ 27754 w 29918"/>
                <a:gd name="connsiteY6" fmla="*/ 15240 h 39242"/>
                <a:gd name="connsiteX7" fmla="*/ 27754 w 29918"/>
                <a:gd name="connsiteY7" fmla="*/ 21844 h 39242"/>
                <a:gd name="connsiteX8" fmla="*/ 8020 w 29918"/>
                <a:gd name="connsiteY8" fmla="*/ 21844 h 39242"/>
                <a:gd name="connsiteX9" fmla="*/ 8020 w 29918"/>
                <a:gd name="connsiteY9" fmla="*/ 32512 h 39242"/>
                <a:gd name="connsiteX10" fmla="*/ 29919 w 29918"/>
                <a:gd name="connsiteY10" fmla="*/ 32512 h 39242"/>
                <a:gd name="connsiteX11" fmla="*/ 29919 w 29918"/>
                <a:gd name="connsiteY11" fmla="*/ 39116 h 39242"/>
                <a:gd name="connsiteX12" fmla="*/ 0 w 29918"/>
                <a:gd name="connsiteY12" fmla="*/ 39116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18" h="39242">
                  <a:moveTo>
                    <a:pt x="127" y="39243"/>
                  </a:moveTo>
                  <a:lnTo>
                    <a:pt x="127" y="0"/>
                  </a:lnTo>
                  <a:lnTo>
                    <a:pt x="29282" y="0"/>
                  </a:lnTo>
                  <a:lnTo>
                    <a:pt x="29282" y="6604"/>
                  </a:lnTo>
                  <a:lnTo>
                    <a:pt x="8020" y="6604"/>
                  </a:lnTo>
                  <a:lnTo>
                    <a:pt x="8020" y="15240"/>
                  </a:lnTo>
                  <a:lnTo>
                    <a:pt x="27754" y="15240"/>
                  </a:lnTo>
                  <a:lnTo>
                    <a:pt x="27754" y="21844"/>
                  </a:lnTo>
                  <a:lnTo>
                    <a:pt x="8020" y="21844"/>
                  </a:lnTo>
                  <a:lnTo>
                    <a:pt x="8020" y="32512"/>
                  </a:lnTo>
                  <a:lnTo>
                    <a:pt x="29919" y="32512"/>
                  </a:lnTo>
                  <a:lnTo>
                    <a:pt x="29919"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27" name="Freeform 26">
              <a:extLst>
                <a:ext uri="{FF2B5EF4-FFF2-40B4-BE49-F238E27FC236}">
                  <a16:creationId xmlns:a16="http://schemas.microsoft.com/office/drawing/2014/main" id="{4396F606-999C-B861-BE54-FE076EC6A31F}"/>
                </a:ext>
              </a:extLst>
            </p:cNvPr>
            <p:cNvSpPr/>
            <p:nvPr/>
          </p:nvSpPr>
          <p:spPr>
            <a:xfrm>
              <a:off x="5769391" y="4805171"/>
              <a:ext cx="25717" cy="29083"/>
            </a:xfrm>
            <a:custGeom>
              <a:avLst/>
              <a:gdLst>
                <a:gd name="connsiteX0" fmla="*/ 18843 w 25717"/>
                <a:gd name="connsiteY0" fmla="*/ 28448 h 29083"/>
                <a:gd name="connsiteX1" fmla="*/ 18843 w 25717"/>
                <a:gd name="connsiteY1" fmla="*/ 24257 h 29083"/>
                <a:gd name="connsiteX2" fmla="*/ 14769 w 25717"/>
                <a:gd name="connsiteY2" fmla="*/ 27813 h 29083"/>
                <a:gd name="connsiteX3" fmla="*/ 9422 w 25717"/>
                <a:gd name="connsiteY3" fmla="*/ 29083 h 29083"/>
                <a:gd name="connsiteX4" fmla="*/ 4329 w 25717"/>
                <a:gd name="connsiteY4" fmla="*/ 27813 h 29083"/>
                <a:gd name="connsiteX5" fmla="*/ 1019 w 25717"/>
                <a:gd name="connsiteY5" fmla="*/ 24257 h 29083"/>
                <a:gd name="connsiteX6" fmla="*/ 0 w 25717"/>
                <a:gd name="connsiteY6" fmla="*/ 18034 h 29083"/>
                <a:gd name="connsiteX7" fmla="*/ 0 w 25717"/>
                <a:gd name="connsiteY7" fmla="*/ 0 h 29083"/>
                <a:gd name="connsiteX8" fmla="*/ 7512 w 25717"/>
                <a:gd name="connsiteY8" fmla="*/ 0 h 29083"/>
                <a:gd name="connsiteX9" fmla="*/ 7512 w 25717"/>
                <a:gd name="connsiteY9" fmla="*/ 13081 h 29083"/>
                <a:gd name="connsiteX10" fmla="*/ 7894 w 25717"/>
                <a:gd name="connsiteY10" fmla="*/ 20447 h 29083"/>
                <a:gd name="connsiteX11" fmla="*/ 9422 w 25717"/>
                <a:gd name="connsiteY11" fmla="*/ 22606 h 29083"/>
                <a:gd name="connsiteX12" fmla="*/ 12222 w 25717"/>
                <a:gd name="connsiteY12" fmla="*/ 23368 h 29083"/>
                <a:gd name="connsiteX13" fmla="*/ 15660 w 25717"/>
                <a:gd name="connsiteY13" fmla="*/ 22352 h 29083"/>
                <a:gd name="connsiteX14" fmla="*/ 17697 w 25717"/>
                <a:gd name="connsiteY14" fmla="*/ 19685 h 29083"/>
                <a:gd name="connsiteX15" fmla="*/ 18206 w 25717"/>
                <a:gd name="connsiteY15" fmla="*/ 12065 h 29083"/>
                <a:gd name="connsiteX16" fmla="*/ 18206 w 25717"/>
                <a:gd name="connsiteY16" fmla="*/ 127 h 29083"/>
                <a:gd name="connsiteX17" fmla="*/ 25718 w 25717"/>
                <a:gd name="connsiteY17" fmla="*/ 127 h 29083"/>
                <a:gd name="connsiteX18" fmla="*/ 25718 w 25717"/>
                <a:gd name="connsiteY18" fmla="*/ 28575 h 29083"/>
                <a:gd name="connsiteX19" fmla="*/ 18715 w 25717"/>
                <a:gd name="connsiteY19" fmla="*/ 28575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 h="29083">
                  <a:moveTo>
                    <a:pt x="18843" y="28448"/>
                  </a:moveTo>
                  <a:lnTo>
                    <a:pt x="18843" y="24257"/>
                  </a:lnTo>
                  <a:cubicBezTo>
                    <a:pt x="17824" y="25781"/>
                    <a:pt x="16424" y="26924"/>
                    <a:pt x="14769" y="27813"/>
                  </a:cubicBezTo>
                  <a:cubicBezTo>
                    <a:pt x="13113" y="28702"/>
                    <a:pt x="11331" y="29083"/>
                    <a:pt x="9422" y="29083"/>
                  </a:cubicBezTo>
                  <a:cubicBezTo>
                    <a:pt x="7512" y="29083"/>
                    <a:pt x="5729" y="28702"/>
                    <a:pt x="4329" y="27813"/>
                  </a:cubicBezTo>
                  <a:cubicBezTo>
                    <a:pt x="2801" y="26924"/>
                    <a:pt x="1655" y="25781"/>
                    <a:pt x="1019" y="24257"/>
                  </a:cubicBezTo>
                  <a:cubicBezTo>
                    <a:pt x="382" y="22733"/>
                    <a:pt x="0" y="20701"/>
                    <a:pt x="0" y="18034"/>
                  </a:cubicBezTo>
                  <a:lnTo>
                    <a:pt x="0" y="0"/>
                  </a:lnTo>
                  <a:lnTo>
                    <a:pt x="7512" y="0"/>
                  </a:lnTo>
                  <a:lnTo>
                    <a:pt x="7512" y="13081"/>
                  </a:lnTo>
                  <a:cubicBezTo>
                    <a:pt x="7512" y="17018"/>
                    <a:pt x="7639" y="19558"/>
                    <a:pt x="7894" y="20447"/>
                  </a:cubicBezTo>
                  <a:cubicBezTo>
                    <a:pt x="8148" y="21336"/>
                    <a:pt x="8658" y="22098"/>
                    <a:pt x="9422" y="22606"/>
                  </a:cubicBezTo>
                  <a:cubicBezTo>
                    <a:pt x="10185" y="23114"/>
                    <a:pt x="11077" y="23368"/>
                    <a:pt x="12222" y="23368"/>
                  </a:cubicBezTo>
                  <a:cubicBezTo>
                    <a:pt x="13495" y="23368"/>
                    <a:pt x="14641" y="22987"/>
                    <a:pt x="15660" y="22352"/>
                  </a:cubicBezTo>
                  <a:cubicBezTo>
                    <a:pt x="16678" y="21590"/>
                    <a:pt x="17315" y="20828"/>
                    <a:pt x="17697" y="19685"/>
                  </a:cubicBezTo>
                  <a:cubicBezTo>
                    <a:pt x="18079" y="18669"/>
                    <a:pt x="18206" y="16129"/>
                    <a:pt x="18206" y="12065"/>
                  </a:cubicBezTo>
                  <a:lnTo>
                    <a:pt x="18206" y="127"/>
                  </a:lnTo>
                  <a:lnTo>
                    <a:pt x="25718" y="127"/>
                  </a:lnTo>
                  <a:lnTo>
                    <a:pt x="25718" y="28575"/>
                  </a:lnTo>
                  <a:lnTo>
                    <a:pt x="18715" y="28575"/>
                  </a:lnTo>
                  <a:close/>
                </a:path>
              </a:pathLst>
            </a:custGeom>
            <a:solidFill>
              <a:srgbClr val="FFFFFF"/>
            </a:solidFill>
            <a:ln w="0" cap="flat">
              <a:noFill/>
              <a:prstDash val="solid"/>
              <a:miter/>
            </a:ln>
          </p:spPr>
          <p:txBody>
            <a:bodyPr rtlCol="0" anchor="ctr"/>
            <a:lstStyle/>
            <a:p>
              <a:endParaRPr lang="en-AD" sz="2400"/>
            </a:p>
          </p:txBody>
        </p:sp>
        <p:sp>
          <p:nvSpPr>
            <p:cNvPr id="28" name="Freeform 27">
              <a:extLst>
                <a:ext uri="{FF2B5EF4-FFF2-40B4-BE49-F238E27FC236}">
                  <a16:creationId xmlns:a16="http://schemas.microsoft.com/office/drawing/2014/main" id="{3F85E44E-FE28-15ED-0B68-B9EFAD2D392B}"/>
                </a:ext>
              </a:extLst>
            </p:cNvPr>
            <p:cNvSpPr/>
            <p:nvPr/>
          </p:nvSpPr>
          <p:spPr>
            <a:xfrm>
              <a:off x="5802748" y="4804536"/>
              <a:ext cx="18460" cy="29083"/>
            </a:xfrm>
            <a:custGeom>
              <a:avLst/>
              <a:gdLst>
                <a:gd name="connsiteX0" fmla="*/ 7512 w 18460"/>
                <a:gd name="connsiteY0" fmla="*/ 29083 h 29083"/>
                <a:gd name="connsiteX1" fmla="*/ 0 w 18460"/>
                <a:gd name="connsiteY1" fmla="*/ 29083 h 29083"/>
                <a:gd name="connsiteX2" fmla="*/ 0 w 18460"/>
                <a:gd name="connsiteY2" fmla="*/ 635 h 29083"/>
                <a:gd name="connsiteX3" fmla="*/ 7002 w 18460"/>
                <a:gd name="connsiteY3" fmla="*/ 635 h 29083"/>
                <a:gd name="connsiteX4" fmla="*/ 7002 w 18460"/>
                <a:gd name="connsiteY4" fmla="*/ 4699 h 29083"/>
                <a:gd name="connsiteX5" fmla="*/ 10185 w 18460"/>
                <a:gd name="connsiteY5" fmla="*/ 889 h 29083"/>
                <a:gd name="connsiteX6" fmla="*/ 13495 w 18460"/>
                <a:gd name="connsiteY6" fmla="*/ 0 h 29083"/>
                <a:gd name="connsiteX7" fmla="*/ 18460 w 18460"/>
                <a:gd name="connsiteY7" fmla="*/ 1397 h 29083"/>
                <a:gd name="connsiteX8" fmla="*/ 16169 w 18460"/>
                <a:gd name="connsiteY8" fmla="*/ 8001 h 29083"/>
                <a:gd name="connsiteX9" fmla="*/ 12604 w 18460"/>
                <a:gd name="connsiteY9" fmla="*/ 6731 h 29083"/>
                <a:gd name="connsiteX10" fmla="*/ 9931 w 18460"/>
                <a:gd name="connsiteY10" fmla="*/ 7620 h 29083"/>
                <a:gd name="connsiteX11" fmla="*/ 8148 w 18460"/>
                <a:gd name="connsiteY11" fmla="*/ 10795 h 29083"/>
                <a:gd name="connsiteX12" fmla="*/ 7512 w 18460"/>
                <a:gd name="connsiteY12" fmla="*/ 20320 h 29083"/>
                <a:gd name="connsiteX13" fmla="*/ 7512 w 18460"/>
                <a:gd name="connsiteY13" fmla="*/ 29083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60" h="29083">
                  <a:moveTo>
                    <a:pt x="7512" y="29083"/>
                  </a:moveTo>
                  <a:lnTo>
                    <a:pt x="0" y="29083"/>
                  </a:lnTo>
                  <a:lnTo>
                    <a:pt x="0" y="635"/>
                  </a:lnTo>
                  <a:lnTo>
                    <a:pt x="7002" y="635"/>
                  </a:lnTo>
                  <a:lnTo>
                    <a:pt x="7002" y="4699"/>
                  </a:lnTo>
                  <a:cubicBezTo>
                    <a:pt x="8148" y="2794"/>
                    <a:pt x="9294" y="1524"/>
                    <a:pt x="10185" y="889"/>
                  </a:cubicBezTo>
                  <a:cubicBezTo>
                    <a:pt x="11203" y="254"/>
                    <a:pt x="12222" y="0"/>
                    <a:pt x="13495" y="0"/>
                  </a:cubicBezTo>
                  <a:cubicBezTo>
                    <a:pt x="15150" y="0"/>
                    <a:pt x="16805" y="508"/>
                    <a:pt x="18460" y="1397"/>
                  </a:cubicBezTo>
                  <a:lnTo>
                    <a:pt x="16169" y="8001"/>
                  </a:lnTo>
                  <a:cubicBezTo>
                    <a:pt x="14896" y="7239"/>
                    <a:pt x="13750" y="6731"/>
                    <a:pt x="12604" y="6731"/>
                  </a:cubicBezTo>
                  <a:cubicBezTo>
                    <a:pt x="11458" y="6731"/>
                    <a:pt x="10694" y="6985"/>
                    <a:pt x="9931" y="7620"/>
                  </a:cubicBezTo>
                  <a:cubicBezTo>
                    <a:pt x="9167" y="8255"/>
                    <a:pt x="8657" y="9271"/>
                    <a:pt x="8148" y="10795"/>
                  </a:cubicBezTo>
                  <a:cubicBezTo>
                    <a:pt x="7766" y="12319"/>
                    <a:pt x="7512" y="15494"/>
                    <a:pt x="7512" y="20320"/>
                  </a:cubicBezTo>
                  <a:lnTo>
                    <a:pt x="7512" y="29083"/>
                  </a:lnTo>
                  <a:close/>
                </a:path>
              </a:pathLst>
            </a:custGeom>
            <a:solidFill>
              <a:srgbClr val="FFFFFF"/>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5F8C4A9A-A578-05AA-EA81-68407CB3E8CE}"/>
                </a:ext>
              </a:extLst>
            </p:cNvPr>
            <p:cNvSpPr/>
            <p:nvPr/>
          </p:nvSpPr>
          <p:spPr>
            <a:xfrm>
              <a:off x="5822481"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893 w 29409"/>
                <a:gd name="connsiteY11" fmla="*/ 14986 h 29591"/>
                <a:gd name="connsiteX12" fmla="*/ 9931 w 29409"/>
                <a:gd name="connsiteY12" fmla="*/ 21463 h 29591"/>
                <a:gd name="connsiteX13" fmla="*/ 14896 w 29409"/>
                <a:gd name="connsiteY13" fmla="*/ 23749 h 29591"/>
                <a:gd name="connsiteX14" fmla="*/ 19861 w 29409"/>
                <a:gd name="connsiteY14" fmla="*/ 21463 h 29591"/>
                <a:gd name="connsiteX15" fmla="*/ 21898 w 29409"/>
                <a:gd name="connsiteY15" fmla="*/ 14986 h 29591"/>
                <a:gd name="connsiteX16" fmla="*/ 19861 w 29409"/>
                <a:gd name="connsiteY16" fmla="*/ 8509 h 29591"/>
                <a:gd name="connsiteX17" fmla="*/ 14896 w 29409"/>
                <a:gd name="connsiteY17" fmla="*/ 6223 h 29591"/>
                <a:gd name="connsiteX18" fmla="*/ 9931 w 29409"/>
                <a:gd name="connsiteY18" fmla="*/ 8509 h 29591"/>
                <a:gd name="connsiteX19" fmla="*/ 7893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893" y="14986"/>
                  </a:moveTo>
                  <a:cubicBezTo>
                    <a:pt x="7893" y="17780"/>
                    <a:pt x="8530" y="19939"/>
                    <a:pt x="9931" y="21463"/>
                  </a:cubicBezTo>
                  <a:cubicBezTo>
                    <a:pt x="11331" y="22987"/>
                    <a:pt x="12986" y="23749"/>
                    <a:pt x="14896" y="23749"/>
                  </a:cubicBezTo>
                  <a:cubicBezTo>
                    <a:pt x="16806" y="23749"/>
                    <a:pt x="18461" y="22987"/>
                    <a:pt x="19861" y="21463"/>
                  </a:cubicBezTo>
                  <a:cubicBezTo>
                    <a:pt x="21262" y="19939"/>
                    <a:pt x="21898" y="17780"/>
                    <a:pt x="21898" y="14986"/>
                  </a:cubicBezTo>
                  <a:cubicBezTo>
                    <a:pt x="21898" y="12192"/>
                    <a:pt x="21262" y="10033"/>
                    <a:pt x="19861" y="8509"/>
                  </a:cubicBezTo>
                  <a:cubicBezTo>
                    <a:pt x="18461" y="6985"/>
                    <a:pt x="16933" y="6223"/>
                    <a:pt x="14896" y="6223"/>
                  </a:cubicBezTo>
                  <a:cubicBezTo>
                    <a:pt x="12859" y="6223"/>
                    <a:pt x="11331" y="6985"/>
                    <a:pt x="9931" y="8509"/>
                  </a:cubicBezTo>
                  <a:cubicBezTo>
                    <a:pt x="8530" y="10033"/>
                    <a:pt x="7893" y="12192"/>
                    <a:pt x="7893" y="14986"/>
                  </a:cubicBezTo>
                  <a:close/>
                </a:path>
              </a:pathLst>
            </a:custGeom>
            <a:solidFill>
              <a:srgbClr val="FFFFFF"/>
            </a:solidFill>
            <a:ln w="0" cap="flat">
              <a:noFill/>
              <a:prstDash val="solid"/>
              <a:miter/>
            </a:ln>
          </p:spPr>
          <p:txBody>
            <a:bodyPr rtlCol="0" anchor="ctr"/>
            <a:lstStyle/>
            <a:p>
              <a:endParaRPr lang="en-AD" sz="2400"/>
            </a:p>
          </p:txBody>
        </p:sp>
        <p:sp>
          <p:nvSpPr>
            <p:cNvPr id="33" name="Freeform 32">
              <a:extLst>
                <a:ext uri="{FF2B5EF4-FFF2-40B4-BE49-F238E27FC236}">
                  <a16:creationId xmlns:a16="http://schemas.microsoft.com/office/drawing/2014/main" id="{530812FF-6123-FEB8-7A2F-875AF47E78EB}"/>
                </a:ext>
              </a:extLst>
            </p:cNvPr>
            <p:cNvSpPr/>
            <p:nvPr/>
          </p:nvSpPr>
          <p:spPr>
            <a:xfrm>
              <a:off x="5857747" y="4804664"/>
              <a:ext cx="27754" cy="40004"/>
            </a:xfrm>
            <a:custGeom>
              <a:avLst/>
              <a:gdLst>
                <a:gd name="connsiteX0" fmla="*/ 0 w 27754"/>
                <a:gd name="connsiteY0" fmla="*/ 635 h 40004"/>
                <a:gd name="connsiteX1" fmla="*/ 7003 w 27754"/>
                <a:gd name="connsiteY1" fmla="*/ 635 h 40004"/>
                <a:gd name="connsiteX2" fmla="*/ 7003 w 27754"/>
                <a:gd name="connsiteY2" fmla="*/ 4826 h 40004"/>
                <a:gd name="connsiteX3" fmla="*/ 10694 w 27754"/>
                <a:gd name="connsiteY3" fmla="*/ 1397 h 40004"/>
                <a:gd name="connsiteX4" fmla="*/ 15914 w 27754"/>
                <a:gd name="connsiteY4" fmla="*/ 0 h 40004"/>
                <a:gd name="connsiteX5" fmla="*/ 24317 w 27754"/>
                <a:gd name="connsiteY5" fmla="*/ 3937 h 40004"/>
                <a:gd name="connsiteX6" fmla="*/ 27755 w 27754"/>
                <a:gd name="connsiteY6" fmla="*/ 14732 h 40004"/>
                <a:gd name="connsiteX7" fmla="*/ 24317 w 27754"/>
                <a:gd name="connsiteY7" fmla="*/ 25781 h 40004"/>
                <a:gd name="connsiteX8" fmla="*/ 15914 w 27754"/>
                <a:gd name="connsiteY8" fmla="*/ 29718 h 40004"/>
                <a:gd name="connsiteX9" fmla="*/ 11586 w 27754"/>
                <a:gd name="connsiteY9" fmla="*/ 28829 h 40004"/>
                <a:gd name="connsiteX10" fmla="*/ 7512 w 27754"/>
                <a:gd name="connsiteY10" fmla="*/ 25654 h 40004"/>
                <a:gd name="connsiteX11" fmla="*/ 7512 w 27754"/>
                <a:gd name="connsiteY11" fmla="*/ 40005 h 40004"/>
                <a:gd name="connsiteX12" fmla="*/ 0 w 27754"/>
                <a:gd name="connsiteY12" fmla="*/ 40005 h 40004"/>
                <a:gd name="connsiteX13" fmla="*/ 0 w 27754"/>
                <a:gd name="connsiteY13" fmla="*/ 762 h 40004"/>
                <a:gd name="connsiteX14" fmla="*/ 7384 w 27754"/>
                <a:gd name="connsiteY14" fmla="*/ 14351 h 40004"/>
                <a:gd name="connsiteX15" fmla="*/ 9294 w 27754"/>
                <a:gd name="connsiteY15" fmla="*/ 21463 h 40004"/>
                <a:gd name="connsiteX16" fmla="*/ 13877 w 27754"/>
                <a:gd name="connsiteY16" fmla="*/ 23749 h 40004"/>
                <a:gd name="connsiteX17" fmla="*/ 18206 w 27754"/>
                <a:gd name="connsiteY17" fmla="*/ 21590 h 40004"/>
                <a:gd name="connsiteX18" fmla="*/ 19988 w 27754"/>
                <a:gd name="connsiteY18" fmla="*/ 14732 h 40004"/>
                <a:gd name="connsiteX19" fmla="*/ 18206 w 27754"/>
                <a:gd name="connsiteY19" fmla="*/ 8128 h 40004"/>
                <a:gd name="connsiteX20" fmla="*/ 13750 w 27754"/>
                <a:gd name="connsiteY20" fmla="*/ 5969 h 40004"/>
                <a:gd name="connsiteX21" fmla="*/ 9167 w 27754"/>
                <a:gd name="connsiteY21" fmla="*/ 8128 h 40004"/>
                <a:gd name="connsiteX22" fmla="*/ 7384 w 27754"/>
                <a:gd name="connsiteY22" fmla="*/ 14478 h 4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754" h="40004">
                  <a:moveTo>
                    <a:pt x="0" y="635"/>
                  </a:moveTo>
                  <a:lnTo>
                    <a:pt x="7003" y="635"/>
                  </a:lnTo>
                  <a:lnTo>
                    <a:pt x="7003" y="4826"/>
                  </a:lnTo>
                  <a:cubicBezTo>
                    <a:pt x="7893" y="3429"/>
                    <a:pt x="9167" y="2286"/>
                    <a:pt x="10694" y="1397"/>
                  </a:cubicBezTo>
                  <a:cubicBezTo>
                    <a:pt x="12222" y="508"/>
                    <a:pt x="14005" y="0"/>
                    <a:pt x="15914" y="0"/>
                  </a:cubicBezTo>
                  <a:cubicBezTo>
                    <a:pt x="19225" y="0"/>
                    <a:pt x="22026" y="1270"/>
                    <a:pt x="24317" y="3937"/>
                  </a:cubicBezTo>
                  <a:cubicBezTo>
                    <a:pt x="26609" y="6477"/>
                    <a:pt x="27755" y="10160"/>
                    <a:pt x="27755" y="14732"/>
                  </a:cubicBezTo>
                  <a:cubicBezTo>
                    <a:pt x="27755" y="19304"/>
                    <a:pt x="26609" y="23114"/>
                    <a:pt x="24317" y="25781"/>
                  </a:cubicBezTo>
                  <a:cubicBezTo>
                    <a:pt x="22026" y="28448"/>
                    <a:pt x="19225" y="29718"/>
                    <a:pt x="15914" y="29718"/>
                  </a:cubicBezTo>
                  <a:cubicBezTo>
                    <a:pt x="14387" y="29718"/>
                    <a:pt x="12859" y="29464"/>
                    <a:pt x="11586" y="28829"/>
                  </a:cubicBezTo>
                  <a:cubicBezTo>
                    <a:pt x="10312" y="28194"/>
                    <a:pt x="8912" y="27178"/>
                    <a:pt x="7512" y="25654"/>
                  </a:cubicBezTo>
                  <a:lnTo>
                    <a:pt x="7512" y="40005"/>
                  </a:lnTo>
                  <a:lnTo>
                    <a:pt x="0" y="40005"/>
                  </a:lnTo>
                  <a:lnTo>
                    <a:pt x="0" y="762"/>
                  </a:lnTo>
                  <a:close/>
                  <a:moveTo>
                    <a:pt x="7384" y="14351"/>
                  </a:moveTo>
                  <a:cubicBezTo>
                    <a:pt x="7384" y="17526"/>
                    <a:pt x="8021" y="19939"/>
                    <a:pt x="9294" y="21463"/>
                  </a:cubicBezTo>
                  <a:cubicBezTo>
                    <a:pt x="10567" y="22987"/>
                    <a:pt x="12095" y="23749"/>
                    <a:pt x="13877" y="23749"/>
                  </a:cubicBezTo>
                  <a:cubicBezTo>
                    <a:pt x="15660" y="23749"/>
                    <a:pt x="17060" y="22987"/>
                    <a:pt x="18206" y="21590"/>
                  </a:cubicBezTo>
                  <a:cubicBezTo>
                    <a:pt x="19352" y="20193"/>
                    <a:pt x="19988" y="17907"/>
                    <a:pt x="19988" y="14732"/>
                  </a:cubicBezTo>
                  <a:cubicBezTo>
                    <a:pt x="19988" y="11811"/>
                    <a:pt x="19352" y="9525"/>
                    <a:pt x="18206" y="8128"/>
                  </a:cubicBezTo>
                  <a:cubicBezTo>
                    <a:pt x="17060" y="6731"/>
                    <a:pt x="15532" y="5969"/>
                    <a:pt x="13750" y="5969"/>
                  </a:cubicBezTo>
                  <a:cubicBezTo>
                    <a:pt x="11968" y="5969"/>
                    <a:pt x="10440" y="6731"/>
                    <a:pt x="9167" y="8128"/>
                  </a:cubicBezTo>
                  <a:cubicBezTo>
                    <a:pt x="7893" y="9525"/>
                    <a:pt x="7384" y="11684"/>
                    <a:pt x="7384" y="14478"/>
                  </a:cubicBezTo>
                  <a:close/>
                </a:path>
              </a:pathLst>
            </a:custGeom>
            <a:solidFill>
              <a:srgbClr val="FFFFFF"/>
            </a:solidFill>
            <a:ln w="0" cap="flat">
              <a:noFill/>
              <a:prstDash val="solid"/>
              <a:miter/>
            </a:ln>
          </p:spPr>
          <p:txBody>
            <a:bodyPr rtlCol="0" anchor="ctr"/>
            <a:lstStyle/>
            <a:p>
              <a:endParaRPr lang="en-AD" sz="2400"/>
            </a:p>
          </p:txBody>
        </p:sp>
        <p:sp>
          <p:nvSpPr>
            <p:cNvPr id="34" name="Freeform 33">
              <a:extLst>
                <a:ext uri="{FF2B5EF4-FFF2-40B4-BE49-F238E27FC236}">
                  <a16:creationId xmlns:a16="http://schemas.microsoft.com/office/drawing/2014/main" id="{5D9032EE-18FC-A497-8F07-DEB90F4A1E20}"/>
                </a:ext>
              </a:extLst>
            </p:cNvPr>
            <p:cNvSpPr/>
            <p:nvPr/>
          </p:nvSpPr>
          <p:spPr>
            <a:xfrm>
              <a:off x="5889321" y="4804664"/>
              <a:ext cx="26608" cy="29590"/>
            </a:xfrm>
            <a:custGeom>
              <a:avLst/>
              <a:gdLst>
                <a:gd name="connsiteX0" fmla="*/ 18588 w 26608"/>
                <a:gd name="connsiteY0" fmla="*/ 19939 h 29590"/>
                <a:gd name="connsiteX1" fmla="*/ 26099 w 26608"/>
                <a:gd name="connsiteY1" fmla="*/ 21209 h 29590"/>
                <a:gd name="connsiteX2" fmla="*/ 21516 w 26608"/>
                <a:gd name="connsiteY2" fmla="*/ 27432 h 29590"/>
                <a:gd name="connsiteX3" fmla="*/ 13750 w 26608"/>
                <a:gd name="connsiteY3" fmla="*/ 29591 h 29590"/>
                <a:gd name="connsiteX4" fmla="*/ 2801 w 26608"/>
                <a:gd name="connsiteY4" fmla="*/ 24765 h 29590"/>
                <a:gd name="connsiteX5" fmla="*/ 0 w 26608"/>
                <a:gd name="connsiteY5" fmla="*/ 14986 h 29590"/>
                <a:gd name="connsiteX6" fmla="*/ 3692 w 26608"/>
                <a:gd name="connsiteY6" fmla="*/ 3937 h 29590"/>
                <a:gd name="connsiteX7" fmla="*/ 12986 w 26608"/>
                <a:gd name="connsiteY7" fmla="*/ 0 h 29590"/>
                <a:gd name="connsiteX8" fmla="*/ 23044 w 26608"/>
                <a:gd name="connsiteY8" fmla="*/ 4191 h 29590"/>
                <a:gd name="connsiteX9" fmla="*/ 26609 w 26608"/>
                <a:gd name="connsiteY9" fmla="*/ 17018 h 29590"/>
                <a:gd name="connsiteX10" fmla="*/ 7766 w 26608"/>
                <a:gd name="connsiteY10" fmla="*/ 17018 h 29590"/>
                <a:gd name="connsiteX11" fmla="*/ 9549 w 26608"/>
                <a:gd name="connsiteY11" fmla="*/ 22225 h 29590"/>
                <a:gd name="connsiteX12" fmla="*/ 13877 w 26608"/>
                <a:gd name="connsiteY12" fmla="*/ 24130 h 29590"/>
                <a:gd name="connsiteX13" fmla="*/ 16806 w 26608"/>
                <a:gd name="connsiteY13" fmla="*/ 23114 h 29590"/>
                <a:gd name="connsiteX14" fmla="*/ 18588 w 26608"/>
                <a:gd name="connsiteY14" fmla="*/ 20066 h 29590"/>
                <a:gd name="connsiteX15" fmla="*/ 19097 w 26608"/>
                <a:gd name="connsiteY15" fmla="*/ 12319 h 29590"/>
                <a:gd name="connsiteX16" fmla="*/ 17442 w 26608"/>
                <a:gd name="connsiteY16" fmla="*/ 7366 h 29590"/>
                <a:gd name="connsiteX17" fmla="*/ 13495 w 26608"/>
                <a:gd name="connsiteY17" fmla="*/ 5715 h 29590"/>
                <a:gd name="connsiteX18" fmla="*/ 9421 w 26608"/>
                <a:gd name="connsiteY18" fmla="*/ 7493 h 29590"/>
                <a:gd name="connsiteX19" fmla="*/ 7893 w 26608"/>
                <a:gd name="connsiteY19" fmla="*/ 12319 h 29590"/>
                <a:gd name="connsiteX20" fmla="*/ 19097 w 26608"/>
                <a:gd name="connsiteY20" fmla="*/ 12319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8" h="29590">
                  <a:moveTo>
                    <a:pt x="18588" y="19939"/>
                  </a:moveTo>
                  <a:lnTo>
                    <a:pt x="26099" y="21209"/>
                  </a:lnTo>
                  <a:cubicBezTo>
                    <a:pt x="25081" y="24003"/>
                    <a:pt x="23553" y="26035"/>
                    <a:pt x="21516" y="27432"/>
                  </a:cubicBezTo>
                  <a:cubicBezTo>
                    <a:pt x="19479" y="28829"/>
                    <a:pt x="16806" y="29591"/>
                    <a:pt x="13750" y="29591"/>
                  </a:cubicBezTo>
                  <a:cubicBezTo>
                    <a:pt x="8785" y="29591"/>
                    <a:pt x="5092" y="27940"/>
                    <a:pt x="2801" y="24765"/>
                  </a:cubicBezTo>
                  <a:cubicBezTo>
                    <a:pt x="891" y="22225"/>
                    <a:pt x="0" y="18923"/>
                    <a:pt x="0" y="14986"/>
                  </a:cubicBezTo>
                  <a:cubicBezTo>
                    <a:pt x="0" y="10287"/>
                    <a:pt x="1273" y="6604"/>
                    <a:pt x="3692" y="3937"/>
                  </a:cubicBezTo>
                  <a:cubicBezTo>
                    <a:pt x="6111" y="1270"/>
                    <a:pt x="9294" y="0"/>
                    <a:pt x="12986" y="0"/>
                  </a:cubicBezTo>
                  <a:cubicBezTo>
                    <a:pt x="17188" y="0"/>
                    <a:pt x="20625" y="1397"/>
                    <a:pt x="23044" y="4191"/>
                  </a:cubicBezTo>
                  <a:cubicBezTo>
                    <a:pt x="25463" y="6985"/>
                    <a:pt x="26609" y="11303"/>
                    <a:pt x="26609" y="17018"/>
                  </a:cubicBezTo>
                  <a:lnTo>
                    <a:pt x="7766" y="17018"/>
                  </a:lnTo>
                  <a:cubicBezTo>
                    <a:pt x="7766" y="19304"/>
                    <a:pt x="8403" y="20955"/>
                    <a:pt x="9549" y="22225"/>
                  </a:cubicBezTo>
                  <a:cubicBezTo>
                    <a:pt x="10694" y="23495"/>
                    <a:pt x="12095" y="24130"/>
                    <a:pt x="13877" y="24130"/>
                  </a:cubicBezTo>
                  <a:cubicBezTo>
                    <a:pt x="15023" y="24130"/>
                    <a:pt x="16042" y="23749"/>
                    <a:pt x="16806" y="23114"/>
                  </a:cubicBezTo>
                  <a:cubicBezTo>
                    <a:pt x="17569" y="22479"/>
                    <a:pt x="18206" y="21463"/>
                    <a:pt x="18588" y="20066"/>
                  </a:cubicBezTo>
                  <a:close/>
                  <a:moveTo>
                    <a:pt x="19097" y="12319"/>
                  </a:moveTo>
                  <a:cubicBezTo>
                    <a:pt x="19097" y="10160"/>
                    <a:pt x="18461" y="8509"/>
                    <a:pt x="17442" y="7366"/>
                  </a:cubicBezTo>
                  <a:cubicBezTo>
                    <a:pt x="16424" y="6223"/>
                    <a:pt x="15023" y="5715"/>
                    <a:pt x="13495" y="5715"/>
                  </a:cubicBezTo>
                  <a:cubicBezTo>
                    <a:pt x="11840" y="5715"/>
                    <a:pt x="10440" y="6350"/>
                    <a:pt x="9421" y="7493"/>
                  </a:cubicBezTo>
                  <a:cubicBezTo>
                    <a:pt x="8403" y="8636"/>
                    <a:pt x="7766" y="10287"/>
                    <a:pt x="7893" y="12319"/>
                  </a:cubicBezTo>
                  <a:lnTo>
                    <a:pt x="19097" y="12319"/>
                  </a:lnTo>
                  <a:close/>
                </a:path>
              </a:pathLst>
            </a:custGeom>
            <a:solidFill>
              <a:srgbClr val="FFFFFF"/>
            </a:solidFill>
            <a:ln w="0" cap="flat">
              <a:noFill/>
              <a:prstDash val="solid"/>
              <a:miter/>
            </a:ln>
          </p:spPr>
          <p:txBody>
            <a:bodyPr rtlCol="0" anchor="ctr"/>
            <a:lstStyle/>
            <a:p>
              <a:endParaRPr lang="en-AD" sz="2400"/>
            </a:p>
          </p:txBody>
        </p:sp>
        <p:sp>
          <p:nvSpPr>
            <p:cNvPr id="35" name="Freeform 34">
              <a:extLst>
                <a:ext uri="{FF2B5EF4-FFF2-40B4-BE49-F238E27FC236}">
                  <a16:creationId xmlns:a16="http://schemas.microsoft.com/office/drawing/2014/main" id="{8F8C57E5-DBC1-38D0-EEA4-F4F8435DD6E9}"/>
                </a:ext>
              </a:extLst>
            </p:cNvPr>
            <p:cNvSpPr/>
            <p:nvPr/>
          </p:nvSpPr>
          <p:spPr>
            <a:xfrm>
              <a:off x="5920004" y="4804536"/>
              <a:ext cx="26736" cy="29591"/>
            </a:xfrm>
            <a:custGeom>
              <a:avLst/>
              <a:gdLst>
                <a:gd name="connsiteX0" fmla="*/ 7639 w 26736"/>
                <a:gd name="connsiteY0" fmla="*/ 9398 h 29591"/>
                <a:gd name="connsiteX1" fmla="*/ 764 w 26736"/>
                <a:gd name="connsiteY1" fmla="*/ 8128 h 29591"/>
                <a:gd name="connsiteX2" fmla="*/ 4711 w 26736"/>
                <a:gd name="connsiteY2" fmla="*/ 2032 h 29591"/>
                <a:gd name="connsiteX3" fmla="*/ 13113 w 26736"/>
                <a:gd name="connsiteY3" fmla="*/ 0 h 29591"/>
                <a:gd name="connsiteX4" fmla="*/ 20625 w 26736"/>
                <a:gd name="connsiteY4" fmla="*/ 1143 h 29591"/>
                <a:gd name="connsiteX5" fmla="*/ 24062 w 26736"/>
                <a:gd name="connsiteY5" fmla="*/ 4191 h 29591"/>
                <a:gd name="connsiteX6" fmla="*/ 25081 w 26736"/>
                <a:gd name="connsiteY6" fmla="*/ 10922 h 29591"/>
                <a:gd name="connsiteX7" fmla="*/ 25081 w 26736"/>
                <a:gd name="connsiteY7" fmla="*/ 19685 h 29591"/>
                <a:gd name="connsiteX8" fmla="*/ 25335 w 26736"/>
                <a:gd name="connsiteY8" fmla="*/ 25146 h 29591"/>
                <a:gd name="connsiteX9" fmla="*/ 26736 w 26736"/>
                <a:gd name="connsiteY9" fmla="*/ 28956 h 29591"/>
                <a:gd name="connsiteX10" fmla="*/ 19225 w 26736"/>
                <a:gd name="connsiteY10" fmla="*/ 28956 h 29591"/>
                <a:gd name="connsiteX11" fmla="*/ 18460 w 26736"/>
                <a:gd name="connsiteY11" fmla="*/ 26797 h 29591"/>
                <a:gd name="connsiteX12" fmla="*/ 18206 w 26736"/>
                <a:gd name="connsiteY12" fmla="*/ 25908 h 29591"/>
                <a:gd name="connsiteX13" fmla="*/ 14132 w 26736"/>
                <a:gd name="connsiteY13" fmla="*/ 28702 h 29591"/>
                <a:gd name="connsiteX14" fmla="*/ 9421 w 26736"/>
                <a:gd name="connsiteY14" fmla="*/ 29591 h 29591"/>
                <a:gd name="connsiteX15" fmla="*/ 2546 w 26736"/>
                <a:gd name="connsiteY15" fmla="*/ 27178 h 29591"/>
                <a:gd name="connsiteX16" fmla="*/ 0 w 26736"/>
                <a:gd name="connsiteY16" fmla="*/ 21209 h 29591"/>
                <a:gd name="connsiteX17" fmla="*/ 1146 w 26736"/>
                <a:gd name="connsiteY17" fmla="*/ 16891 h 29591"/>
                <a:gd name="connsiteX18" fmla="*/ 4329 w 26736"/>
                <a:gd name="connsiteY18" fmla="*/ 13970 h 29591"/>
                <a:gd name="connsiteX19" fmla="*/ 10312 w 26736"/>
                <a:gd name="connsiteY19" fmla="*/ 12192 h 29591"/>
                <a:gd name="connsiteX20" fmla="*/ 17569 w 26736"/>
                <a:gd name="connsiteY20" fmla="*/ 10287 h 29591"/>
                <a:gd name="connsiteX21" fmla="*/ 17569 w 26736"/>
                <a:gd name="connsiteY21" fmla="*/ 9525 h 29591"/>
                <a:gd name="connsiteX22" fmla="*/ 16551 w 26736"/>
                <a:gd name="connsiteY22" fmla="*/ 6477 h 29591"/>
                <a:gd name="connsiteX23" fmla="*/ 12477 w 26736"/>
                <a:gd name="connsiteY23" fmla="*/ 5588 h 29591"/>
                <a:gd name="connsiteX24" fmla="*/ 9294 w 26736"/>
                <a:gd name="connsiteY24" fmla="*/ 6350 h 29591"/>
                <a:gd name="connsiteX25" fmla="*/ 7512 w 26736"/>
                <a:gd name="connsiteY25" fmla="*/ 9144 h 29591"/>
                <a:gd name="connsiteX26" fmla="*/ 17696 w 26736"/>
                <a:gd name="connsiteY26" fmla="*/ 15494 h 29591"/>
                <a:gd name="connsiteX27" fmla="*/ 13113 w 26736"/>
                <a:gd name="connsiteY27" fmla="*/ 16637 h 29591"/>
                <a:gd name="connsiteX28" fmla="*/ 9039 w 26736"/>
                <a:gd name="connsiteY28" fmla="*/ 17907 h 29591"/>
                <a:gd name="connsiteX29" fmla="*/ 7512 w 26736"/>
                <a:gd name="connsiteY29" fmla="*/ 20574 h 29591"/>
                <a:gd name="connsiteX30" fmla="*/ 8657 w 26736"/>
                <a:gd name="connsiteY30" fmla="*/ 23241 h 29591"/>
                <a:gd name="connsiteX31" fmla="*/ 11713 w 26736"/>
                <a:gd name="connsiteY31" fmla="*/ 24384 h 29591"/>
                <a:gd name="connsiteX32" fmla="*/ 15659 w 26736"/>
                <a:gd name="connsiteY32" fmla="*/ 22987 h 29591"/>
                <a:gd name="connsiteX33" fmla="*/ 17442 w 26736"/>
                <a:gd name="connsiteY33" fmla="*/ 20447 h 29591"/>
                <a:gd name="connsiteX34" fmla="*/ 17696 w 26736"/>
                <a:gd name="connsiteY34" fmla="*/ 16764 h 29591"/>
                <a:gd name="connsiteX35" fmla="*/ 17696 w 26736"/>
                <a:gd name="connsiteY35" fmla="*/ 15240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736" h="29591">
                  <a:moveTo>
                    <a:pt x="7639" y="9398"/>
                  </a:moveTo>
                  <a:lnTo>
                    <a:pt x="764" y="8128"/>
                  </a:lnTo>
                  <a:cubicBezTo>
                    <a:pt x="1528" y="5334"/>
                    <a:pt x="2801" y="3302"/>
                    <a:pt x="4711" y="2032"/>
                  </a:cubicBezTo>
                  <a:cubicBezTo>
                    <a:pt x="6620" y="762"/>
                    <a:pt x="9421" y="0"/>
                    <a:pt x="13113" y="0"/>
                  </a:cubicBezTo>
                  <a:cubicBezTo>
                    <a:pt x="16424" y="0"/>
                    <a:pt x="18970" y="381"/>
                    <a:pt x="20625" y="1143"/>
                  </a:cubicBezTo>
                  <a:cubicBezTo>
                    <a:pt x="22280" y="1905"/>
                    <a:pt x="23426" y="2921"/>
                    <a:pt x="24062" y="4191"/>
                  </a:cubicBezTo>
                  <a:cubicBezTo>
                    <a:pt x="24699" y="5461"/>
                    <a:pt x="25081" y="7620"/>
                    <a:pt x="25081" y="10922"/>
                  </a:cubicBezTo>
                  <a:lnTo>
                    <a:pt x="25081" y="19685"/>
                  </a:lnTo>
                  <a:cubicBezTo>
                    <a:pt x="25081" y="22225"/>
                    <a:pt x="25081" y="24003"/>
                    <a:pt x="25335" y="25146"/>
                  </a:cubicBezTo>
                  <a:cubicBezTo>
                    <a:pt x="25590" y="26289"/>
                    <a:pt x="25972" y="27559"/>
                    <a:pt x="26736" y="28956"/>
                  </a:cubicBezTo>
                  <a:lnTo>
                    <a:pt x="19225" y="28956"/>
                  </a:lnTo>
                  <a:cubicBezTo>
                    <a:pt x="19225" y="28956"/>
                    <a:pt x="18842" y="27686"/>
                    <a:pt x="18460" y="26797"/>
                  </a:cubicBezTo>
                  <a:cubicBezTo>
                    <a:pt x="18460" y="26289"/>
                    <a:pt x="18206" y="26035"/>
                    <a:pt x="18206" y="25908"/>
                  </a:cubicBezTo>
                  <a:cubicBezTo>
                    <a:pt x="16933" y="27178"/>
                    <a:pt x="15532" y="28067"/>
                    <a:pt x="14132" y="28702"/>
                  </a:cubicBezTo>
                  <a:cubicBezTo>
                    <a:pt x="12604" y="29337"/>
                    <a:pt x="11076" y="29591"/>
                    <a:pt x="9421" y="29591"/>
                  </a:cubicBezTo>
                  <a:cubicBezTo>
                    <a:pt x="6493" y="29591"/>
                    <a:pt x="4201" y="28829"/>
                    <a:pt x="2546" y="27178"/>
                  </a:cubicBezTo>
                  <a:cubicBezTo>
                    <a:pt x="891" y="25654"/>
                    <a:pt x="0" y="23622"/>
                    <a:pt x="0" y="21209"/>
                  </a:cubicBezTo>
                  <a:cubicBezTo>
                    <a:pt x="0" y="19558"/>
                    <a:pt x="382" y="18161"/>
                    <a:pt x="1146" y="16891"/>
                  </a:cubicBezTo>
                  <a:cubicBezTo>
                    <a:pt x="1910" y="15621"/>
                    <a:pt x="3055" y="14732"/>
                    <a:pt x="4329" y="13970"/>
                  </a:cubicBezTo>
                  <a:cubicBezTo>
                    <a:pt x="5729" y="13335"/>
                    <a:pt x="7766" y="12700"/>
                    <a:pt x="10312" y="12192"/>
                  </a:cubicBezTo>
                  <a:cubicBezTo>
                    <a:pt x="13877" y="11557"/>
                    <a:pt x="16296" y="10922"/>
                    <a:pt x="17569" y="10287"/>
                  </a:cubicBezTo>
                  <a:lnTo>
                    <a:pt x="17569" y="9525"/>
                  </a:lnTo>
                  <a:cubicBezTo>
                    <a:pt x="17569" y="8128"/>
                    <a:pt x="17188" y="7112"/>
                    <a:pt x="16551" y="6477"/>
                  </a:cubicBezTo>
                  <a:cubicBezTo>
                    <a:pt x="15787" y="5842"/>
                    <a:pt x="14514" y="5588"/>
                    <a:pt x="12477" y="5588"/>
                  </a:cubicBezTo>
                  <a:cubicBezTo>
                    <a:pt x="11076" y="5588"/>
                    <a:pt x="10058" y="5842"/>
                    <a:pt x="9294" y="6350"/>
                  </a:cubicBezTo>
                  <a:cubicBezTo>
                    <a:pt x="8530" y="6858"/>
                    <a:pt x="7893" y="7747"/>
                    <a:pt x="7512" y="9144"/>
                  </a:cubicBezTo>
                  <a:close/>
                  <a:moveTo>
                    <a:pt x="17696" y="15494"/>
                  </a:moveTo>
                  <a:cubicBezTo>
                    <a:pt x="16678" y="15875"/>
                    <a:pt x="15150" y="16256"/>
                    <a:pt x="13113" y="16637"/>
                  </a:cubicBezTo>
                  <a:cubicBezTo>
                    <a:pt x="11076" y="17145"/>
                    <a:pt x="9676" y="17526"/>
                    <a:pt x="9039" y="17907"/>
                  </a:cubicBezTo>
                  <a:cubicBezTo>
                    <a:pt x="8021" y="18542"/>
                    <a:pt x="7512" y="19431"/>
                    <a:pt x="7512" y="20574"/>
                  </a:cubicBezTo>
                  <a:cubicBezTo>
                    <a:pt x="7512" y="21717"/>
                    <a:pt x="7893" y="22479"/>
                    <a:pt x="8657" y="23241"/>
                  </a:cubicBezTo>
                  <a:cubicBezTo>
                    <a:pt x="9421" y="24003"/>
                    <a:pt x="10440" y="24384"/>
                    <a:pt x="11713" y="24384"/>
                  </a:cubicBezTo>
                  <a:cubicBezTo>
                    <a:pt x="13113" y="24384"/>
                    <a:pt x="14387" y="23876"/>
                    <a:pt x="15659" y="22987"/>
                  </a:cubicBezTo>
                  <a:cubicBezTo>
                    <a:pt x="16551" y="22352"/>
                    <a:pt x="17188" y="21463"/>
                    <a:pt x="17442" y="20447"/>
                  </a:cubicBezTo>
                  <a:cubicBezTo>
                    <a:pt x="17696" y="19812"/>
                    <a:pt x="17696" y="18542"/>
                    <a:pt x="17696" y="16764"/>
                  </a:cubicBezTo>
                  <a:lnTo>
                    <a:pt x="17696" y="15240"/>
                  </a:lnTo>
                  <a:close/>
                </a:path>
              </a:pathLst>
            </a:custGeom>
            <a:solidFill>
              <a:srgbClr val="FFFFFF"/>
            </a:solidFill>
            <a:ln w="0" cap="flat">
              <a:noFill/>
              <a:prstDash val="solid"/>
              <a:miter/>
            </a:ln>
          </p:spPr>
          <p:txBody>
            <a:bodyPr rtlCol="0" anchor="ctr"/>
            <a:lstStyle/>
            <a:p>
              <a:endParaRPr lang="en-AD" sz="2400"/>
            </a:p>
          </p:txBody>
        </p:sp>
        <p:sp>
          <p:nvSpPr>
            <p:cNvPr id="36" name="Freeform 35">
              <a:extLst>
                <a:ext uri="{FF2B5EF4-FFF2-40B4-BE49-F238E27FC236}">
                  <a16:creationId xmlns:a16="http://schemas.microsoft.com/office/drawing/2014/main" id="{B923FA0F-A8BB-5DEB-D12F-83D4DBDDBD45}"/>
                </a:ext>
              </a:extLst>
            </p:cNvPr>
            <p:cNvSpPr/>
            <p:nvPr/>
          </p:nvSpPr>
          <p:spPr>
            <a:xfrm>
              <a:off x="5952342" y="4804283"/>
              <a:ext cx="26099" cy="29336"/>
            </a:xfrm>
            <a:custGeom>
              <a:avLst/>
              <a:gdLst>
                <a:gd name="connsiteX0" fmla="*/ 26099 w 26099"/>
                <a:gd name="connsiteY0" fmla="*/ 29337 h 29336"/>
                <a:gd name="connsiteX1" fmla="*/ 18588 w 26099"/>
                <a:gd name="connsiteY1" fmla="*/ 29337 h 29336"/>
                <a:gd name="connsiteX2" fmla="*/ 18588 w 26099"/>
                <a:gd name="connsiteY2" fmla="*/ 14859 h 29336"/>
                <a:gd name="connsiteX3" fmla="*/ 18078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2 w 26099"/>
                <a:gd name="connsiteY12" fmla="*/ 635 h 29336"/>
                <a:gd name="connsiteX13" fmla="*/ 7002 w 26099"/>
                <a:gd name="connsiteY13" fmla="*/ 4826 h 29336"/>
                <a:gd name="connsiteX14" fmla="*/ 16423 w 26099"/>
                <a:gd name="connsiteY14" fmla="*/ 0 h 29336"/>
                <a:gd name="connsiteX15" fmla="*/ 21007 w 26099"/>
                <a:gd name="connsiteY15" fmla="*/ 889 h 29336"/>
                <a:gd name="connsiteX16" fmla="*/ 24190 w 26099"/>
                <a:gd name="connsiteY16" fmla="*/ 3175 h 29336"/>
                <a:gd name="connsiteX17" fmla="*/ 25717 w 26099"/>
                <a:gd name="connsiteY17" fmla="*/ 6350 h 29336"/>
                <a:gd name="connsiteX18" fmla="*/ 26099 w 26099"/>
                <a:gd name="connsiteY18" fmla="*/ 11430 h 29336"/>
                <a:gd name="connsiteX19" fmla="*/ 26099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099" y="29337"/>
                  </a:moveTo>
                  <a:lnTo>
                    <a:pt x="18588" y="29337"/>
                  </a:lnTo>
                  <a:lnTo>
                    <a:pt x="18588" y="14859"/>
                  </a:lnTo>
                  <a:cubicBezTo>
                    <a:pt x="18588" y="11811"/>
                    <a:pt x="18460" y="9779"/>
                    <a:pt x="18078" y="8890"/>
                  </a:cubicBezTo>
                  <a:cubicBezTo>
                    <a:pt x="17696" y="8001"/>
                    <a:pt x="17187"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2" y="635"/>
                  </a:lnTo>
                  <a:lnTo>
                    <a:pt x="7002" y="4826"/>
                  </a:lnTo>
                  <a:cubicBezTo>
                    <a:pt x="9549" y="1651"/>
                    <a:pt x="12604" y="0"/>
                    <a:pt x="16423" y="0"/>
                  </a:cubicBezTo>
                  <a:cubicBezTo>
                    <a:pt x="18078" y="0"/>
                    <a:pt x="19606" y="254"/>
                    <a:pt x="21007" y="889"/>
                  </a:cubicBezTo>
                  <a:cubicBezTo>
                    <a:pt x="22407" y="1524"/>
                    <a:pt x="23426" y="2286"/>
                    <a:pt x="24190" y="3175"/>
                  </a:cubicBezTo>
                  <a:cubicBezTo>
                    <a:pt x="24954" y="4064"/>
                    <a:pt x="25335" y="5207"/>
                    <a:pt x="25717" y="6350"/>
                  </a:cubicBezTo>
                  <a:cubicBezTo>
                    <a:pt x="25972" y="7493"/>
                    <a:pt x="26099" y="9271"/>
                    <a:pt x="26099" y="11430"/>
                  </a:cubicBezTo>
                  <a:lnTo>
                    <a:pt x="26099" y="29083"/>
                  </a:lnTo>
                  <a:close/>
                </a:path>
              </a:pathLst>
            </a:custGeom>
            <a:solidFill>
              <a:srgbClr val="FFFFFF"/>
            </a:solidFill>
            <a:ln w="0" cap="flat">
              <a:noFill/>
              <a:prstDash val="solid"/>
              <a:miter/>
            </a:ln>
          </p:spPr>
          <p:txBody>
            <a:bodyPr rtlCol="0" anchor="ctr"/>
            <a:lstStyle/>
            <a:p>
              <a:endParaRPr lang="en-AD" sz="2400"/>
            </a:p>
          </p:txBody>
        </p:sp>
        <p:sp>
          <p:nvSpPr>
            <p:cNvPr id="37" name="Freeform 36">
              <a:extLst>
                <a:ext uri="{FF2B5EF4-FFF2-40B4-BE49-F238E27FC236}">
                  <a16:creationId xmlns:a16="http://schemas.microsoft.com/office/drawing/2014/main" id="{7158FDFA-C2BB-E108-F99D-FDBC8C7568D7}"/>
                </a:ext>
              </a:extLst>
            </p:cNvPr>
            <p:cNvSpPr/>
            <p:nvPr/>
          </p:nvSpPr>
          <p:spPr>
            <a:xfrm>
              <a:off x="6001358" y="4794377"/>
              <a:ext cx="31192" cy="39877"/>
            </a:xfrm>
            <a:custGeom>
              <a:avLst/>
              <a:gdLst>
                <a:gd name="connsiteX0" fmla="*/ 0 w 31192"/>
                <a:gd name="connsiteY0" fmla="*/ 127 h 39877"/>
                <a:gd name="connsiteX1" fmla="*/ 7894 w 31192"/>
                <a:gd name="connsiteY1" fmla="*/ 127 h 39877"/>
                <a:gd name="connsiteX2" fmla="*/ 7894 w 31192"/>
                <a:gd name="connsiteY2" fmla="*/ 21336 h 39877"/>
                <a:gd name="connsiteX3" fmla="*/ 8148 w 31192"/>
                <a:gd name="connsiteY3" fmla="*/ 27940 h 39877"/>
                <a:gd name="connsiteX4" fmla="*/ 10567 w 31192"/>
                <a:gd name="connsiteY4" fmla="*/ 31750 h 39877"/>
                <a:gd name="connsiteX5" fmla="*/ 15787 w 31192"/>
                <a:gd name="connsiteY5" fmla="*/ 33147 h 39877"/>
                <a:gd name="connsiteX6" fmla="*/ 20880 w 31192"/>
                <a:gd name="connsiteY6" fmla="*/ 31750 h 39877"/>
                <a:gd name="connsiteX7" fmla="*/ 22917 w 31192"/>
                <a:gd name="connsiteY7" fmla="*/ 28321 h 39877"/>
                <a:gd name="connsiteX8" fmla="*/ 23299 w 31192"/>
                <a:gd name="connsiteY8" fmla="*/ 21717 h 39877"/>
                <a:gd name="connsiteX9" fmla="*/ 23299 w 31192"/>
                <a:gd name="connsiteY9" fmla="*/ 0 h 39877"/>
                <a:gd name="connsiteX10" fmla="*/ 31192 w 31192"/>
                <a:gd name="connsiteY10" fmla="*/ 0 h 39877"/>
                <a:gd name="connsiteX11" fmla="*/ 31192 w 31192"/>
                <a:gd name="connsiteY11" fmla="*/ 20574 h 39877"/>
                <a:gd name="connsiteX12" fmla="*/ 30556 w 31192"/>
                <a:gd name="connsiteY12" fmla="*/ 30607 h 39877"/>
                <a:gd name="connsiteX13" fmla="*/ 28137 w 31192"/>
                <a:gd name="connsiteY13" fmla="*/ 35560 h 39877"/>
                <a:gd name="connsiteX14" fmla="*/ 23553 w 31192"/>
                <a:gd name="connsiteY14" fmla="*/ 38735 h 39877"/>
                <a:gd name="connsiteX15" fmla="*/ 16042 w 31192"/>
                <a:gd name="connsiteY15" fmla="*/ 39878 h 39877"/>
                <a:gd name="connsiteX16" fmla="*/ 7512 w 31192"/>
                <a:gd name="connsiteY16" fmla="*/ 38608 h 39877"/>
                <a:gd name="connsiteX17" fmla="*/ 2928 w 31192"/>
                <a:gd name="connsiteY17" fmla="*/ 35179 h 39877"/>
                <a:gd name="connsiteX18" fmla="*/ 764 w 31192"/>
                <a:gd name="connsiteY18" fmla="*/ 30861 h 39877"/>
                <a:gd name="connsiteX19" fmla="*/ 0 w 31192"/>
                <a:gd name="connsiteY19" fmla="*/ 20955 h 39877"/>
                <a:gd name="connsiteX20" fmla="*/ 0 w 31192"/>
                <a:gd name="connsiteY20"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92" h="39877">
                  <a:moveTo>
                    <a:pt x="0" y="127"/>
                  </a:moveTo>
                  <a:lnTo>
                    <a:pt x="7894" y="127"/>
                  </a:lnTo>
                  <a:lnTo>
                    <a:pt x="7894" y="21336"/>
                  </a:lnTo>
                  <a:cubicBezTo>
                    <a:pt x="7894" y="24765"/>
                    <a:pt x="7894" y="26924"/>
                    <a:pt x="8148" y="27940"/>
                  </a:cubicBezTo>
                  <a:cubicBezTo>
                    <a:pt x="8530" y="29591"/>
                    <a:pt x="9294" y="30861"/>
                    <a:pt x="10567" y="31750"/>
                  </a:cubicBezTo>
                  <a:cubicBezTo>
                    <a:pt x="11841" y="32766"/>
                    <a:pt x="13623" y="33147"/>
                    <a:pt x="15787" y="33147"/>
                  </a:cubicBezTo>
                  <a:cubicBezTo>
                    <a:pt x="17951" y="33147"/>
                    <a:pt x="19734" y="32639"/>
                    <a:pt x="20880" y="31750"/>
                  </a:cubicBezTo>
                  <a:cubicBezTo>
                    <a:pt x="22026" y="30861"/>
                    <a:pt x="22662" y="29718"/>
                    <a:pt x="22917" y="28321"/>
                  </a:cubicBezTo>
                  <a:cubicBezTo>
                    <a:pt x="23171" y="26924"/>
                    <a:pt x="23299" y="24765"/>
                    <a:pt x="23299" y="21717"/>
                  </a:cubicBezTo>
                  <a:lnTo>
                    <a:pt x="23299" y="0"/>
                  </a:lnTo>
                  <a:lnTo>
                    <a:pt x="31192" y="0"/>
                  </a:lnTo>
                  <a:lnTo>
                    <a:pt x="31192" y="20574"/>
                  </a:lnTo>
                  <a:cubicBezTo>
                    <a:pt x="31192" y="25273"/>
                    <a:pt x="30938" y="28575"/>
                    <a:pt x="30556" y="30607"/>
                  </a:cubicBezTo>
                  <a:cubicBezTo>
                    <a:pt x="30174" y="32512"/>
                    <a:pt x="29283" y="34163"/>
                    <a:pt x="28137" y="35560"/>
                  </a:cubicBezTo>
                  <a:cubicBezTo>
                    <a:pt x="26991" y="36957"/>
                    <a:pt x="25463" y="37973"/>
                    <a:pt x="23553" y="38735"/>
                  </a:cubicBezTo>
                  <a:cubicBezTo>
                    <a:pt x="21644" y="39497"/>
                    <a:pt x="19097" y="39878"/>
                    <a:pt x="16042" y="39878"/>
                  </a:cubicBezTo>
                  <a:cubicBezTo>
                    <a:pt x="12350" y="39878"/>
                    <a:pt x="9422" y="39497"/>
                    <a:pt x="7512" y="38608"/>
                  </a:cubicBezTo>
                  <a:cubicBezTo>
                    <a:pt x="5602" y="37719"/>
                    <a:pt x="4074" y="36576"/>
                    <a:pt x="2928" y="35179"/>
                  </a:cubicBezTo>
                  <a:cubicBezTo>
                    <a:pt x="1783" y="33782"/>
                    <a:pt x="1019" y="32385"/>
                    <a:pt x="764" y="30861"/>
                  </a:cubicBezTo>
                  <a:cubicBezTo>
                    <a:pt x="255" y="28575"/>
                    <a:pt x="0" y="25273"/>
                    <a:pt x="0" y="20955"/>
                  </a:cubicBezTo>
                  <a:lnTo>
                    <a:pt x="0" y="0"/>
                  </a:lnTo>
                  <a:close/>
                </a:path>
              </a:pathLst>
            </a:custGeom>
            <a:solidFill>
              <a:srgbClr val="FFFFFF"/>
            </a:solidFill>
            <a:ln w="0" cap="flat">
              <a:noFill/>
              <a:prstDash val="solid"/>
              <a:miter/>
            </a:ln>
          </p:spPr>
          <p:txBody>
            <a:bodyPr rtlCol="0" anchor="ctr"/>
            <a:lstStyle/>
            <a:p>
              <a:endParaRPr lang="en-AD" sz="2400"/>
            </a:p>
          </p:txBody>
        </p:sp>
        <p:sp>
          <p:nvSpPr>
            <p:cNvPr id="38" name="Freeform 37">
              <a:extLst>
                <a:ext uri="{FF2B5EF4-FFF2-40B4-BE49-F238E27FC236}">
                  <a16:creationId xmlns:a16="http://schemas.microsoft.com/office/drawing/2014/main" id="{A2381784-A24C-0F18-37DC-726810B4DD7E}"/>
                </a:ext>
              </a:extLst>
            </p:cNvPr>
            <p:cNvSpPr/>
            <p:nvPr/>
          </p:nvSpPr>
          <p:spPr>
            <a:xfrm>
              <a:off x="6040825"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7 w 26099"/>
                <a:gd name="connsiteY5" fmla="*/ 5969 h 29336"/>
                <a:gd name="connsiteX6" fmla="*/ 10312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7" y="5969"/>
                  </a:cubicBezTo>
                  <a:cubicBezTo>
                    <a:pt x="12604" y="5969"/>
                    <a:pt x="11458" y="6350"/>
                    <a:pt x="10312"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5" y="5207"/>
                    <a:pt x="25718" y="6350"/>
                  </a:cubicBezTo>
                  <a:cubicBezTo>
                    <a:pt x="26100"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sp>
          <p:nvSpPr>
            <p:cNvPr id="39" name="Freeform 38">
              <a:extLst>
                <a:ext uri="{FF2B5EF4-FFF2-40B4-BE49-F238E27FC236}">
                  <a16:creationId xmlns:a16="http://schemas.microsoft.com/office/drawing/2014/main" id="{E32D0BAC-3315-8AD4-964D-8C7B3D670C64}"/>
                </a:ext>
              </a:extLst>
            </p:cNvPr>
            <p:cNvSpPr/>
            <p:nvPr/>
          </p:nvSpPr>
          <p:spPr>
            <a:xfrm>
              <a:off x="6074563" y="4794503"/>
              <a:ext cx="7511" cy="39116"/>
            </a:xfrm>
            <a:custGeom>
              <a:avLst/>
              <a:gdLst>
                <a:gd name="connsiteX0" fmla="*/ 0 w 7511"/>
                <a:gd name="connsiteY0" fmla="*/ 6985 h 39116"/>
                <a:gd name="connsiteX1" fmla="*/ 0 w 7511"/>
                <a:gd name="connsiteY1" fmla="*/ 0 h 39116"/>
                <a:gd name="connsiteX2" fmla="*/ 7512 w 7511"/>
                <a:gd name="connsiteY2" fmla="*/ 0 h 39116"/>
                <a:gd name="connsiteX3" fmla="*/ 7512 w 7511"/>
                <a:gd name="connsiteY3" fmla="*/ 6985 h 39116"/>
                <a:gd name="connsiteX4" fmla="*/ 0 w 7511"/>
                <a:gd name="connsiteY4" fmla="*/ 6985 h 39116"/>
                <a:gd name="connsiteX5" fmla="*/ 0 w 7511"/>
                <a:gd name="connsiteY5" fmla="*/ 39116 h 39116"/>
                <a:gd name="connsiteX6" fmla="*/ 0 w 7511"/>
                <a:gd name="connsiteY6" fmla="*/ 10668 h 39116"/>
                <a:gd name="connsiteX7" fmla="*/ 7512 w 7511"/>
                <a:gd name="connsiteY7" fmla="*/ 10668 h 39116"/>
                <a:gd name="connsiteX8" fmla="*/ 7512 w 7511"/>
                <a:gd name="connsiteY8" fmla="*/ 39116 h 39116"/>
                <a:gd name="connsiteX9" fmla="*/ 0 w 7511"/>
                <a:gd name="connsiteY9" fmla="*/ 39116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1" h="39116">
                  <a:moveTo>
                    <a:pt x="0" y="6985"/>
                  </a:moveTo>
                  <a:lnTo>
                    <a:pt x="0" y="0"/>
                  </a:lnTo>
                  <a:lnTo>
                    <a:pt x="7512" y="0"/>
                  </a:lnTo>
                  <a:lnTo>
                    <a:pt x="7512" y="6985"/>
                  </a:lnTo>
                  <a:lnTo>
                    <a:pt x="0" y="6985"/>
                  </a:lnTo>
                  <a:close/>
                  <a:moveTo>
                    <a:pt x="0" y="39116"/>
                  </a:moveTo>
                  <a:lnTo>
                    <a:pt x="0" y="10668"/>
                  </a:lnTo>
                  <a:lnTo>
                    <a:pt x="7512" y="10668"/>
                  </a:lnTo>
                  <a:lnTo>
                    <a:pt x="7512" y="39116"/>
                  </a:lnTo>
                  <a:lnTo>
                    <a:pt x="0" y="39116"/>
                  </a:lnTo>
                  <a:close/>
                </a:path>
              </a:pathLst>
            </a:custGeom>
            <a:solidFill>
              <a:srgbClr val="FFFFFF"/>
            </a:solidFill>
            <a:ln w="0" cap="flat">
              <a:noFill/>
              <a:prstDash val="solid"/>
              <a:miter/>
            </a:ln>
          </p:spPr>
          <p:txBody>
            <a:bodyPr rtlCol="0" anchor="ctr"/>
            <a:lstStyle/>
            <a:p>
              <a:endParaRPr lang="en-AD" sz="2400"/>
            </a:p>
          </p:txBody>
        </p:sp>
        <p:sp>
          <p:nvSpPr>
            <p:cNvPr id="40" name="Freeform 39">
              <a:extLst>
                <a:ext uri="{FF2B5EF4-FFF2-40B4-BE49-F238E27FC236}">
                  <a16:creationId xmlns:a16="http://schemas.microsoft.com/office/drawing/2014/main" id="{84128A8D-E923-8673-B3E1-4BBE600B2A40}"/>
                </a:ext>
              </a:extLst>
            </p:cNvPr>
            <p:cNvSpPr/>
            <p:nvPr/>
          </p:nvSpPr>
          <p:spPr>
            <a:xfrm>
              <a:off x="6087932" y="4804536"/>
              <a:ext cx="29409" cy="29591"/>
            </a:xfrm>
            <a:custGeom>
              <a:avLst/>
              <a:gdLst>
                <a:gd name="connsiteX0" fmla="*/ 127 w 29409"/>
                <a:gd name="connsiteY0" fmla="*/ 14478 h 29591"/>
                <a:gd name="connsiteX1" fmla="*/ 2037 w 29409"/>
                <a:gd name="connsiteY1" fmla="*/ 7239 h 29591"/>
                <a:gd name="connsiteX2" fmla="*/ 7257 w 29409"/>
                <a:gd name="connsiteY2" fmla="*/ 1905 h 29591"/>
                <a:gd name="connsiteX3" fmla="*/ 14769 w 29409"/>
                <a:gd name="connsiteY3" fmla="*/ 0 h 29591"/>
                <a:gd name="connsiteX4" fmla="*/ 25335 w 29409"/>
                <a:gd name="connsiteY4" fmla="*/ 4191 h 29591"/>
                <a:gd name="connsiteX5" fmla="*/ 29410 w 29409"/>
                <a:gd name="connsiteY5" fmla="*/ 14732 h 29591"/>
                <a:gd name="connsiteX6" fmla="*/ 25208 w 29409"/>
                <a:gd name="connsiteY6" fmla="*/ 25400 h 29591"/>
                <a:gd name="connsiteX7" fmla="*/ 14769 w 29409"/>
                <a:gd name="connsiteY7" fmla="*/ 29591 h 29591"/>
                <a:gd name="connsiteX8" fmla="*/ 7257 w 29409"/>
                <a:gd name="connsiteY8" fmla="*/ 27813 h 29591"/>
                <a:gd name="connsiteX9" fmla="*/ 1910 w 29409"/>
                <a:gd name="connsiteY9" fmla="*/ 22606 h 29591"/>
                <a:gd name="connsiteX10" fmla="*/ 0 w 29409"/>
                <a:gd name="connsiteY10" fmla="*/ 14351 h 29591"/>
                <a:gd name="connsiteX11" fmla="*/ 7766 w 29409"/>
                <a:gd name="connsiteY11" fmla="*/ 14986 h 29591"/>
                <a:gd name="connsiteX12" fmla="*/ 9803 w 29409"/>
                <a:gd name="connsiteY12" fmla="*/ 21463 h 29591"/>
                <a:gd name="connsiteX13" fmla="*/ 14769 w 29409"/>
                <a:gd name="connsiteY13" fmla="*/ 23749 h 29591"/>
                <a:gd name="connsiteX14" fmla="*/ 19734 w 29409"/>
                <a:gd name="connsiteY14" fmla="*/ 21463 h 29591"/>
                <a:gd name="connsiteX15" fmla="*/ 21771 w 29409"/>
                <a:gd name="connsiteY15" fmla="*/ 14986 h 29591"/>
                <a:gd name="connsiteX16" fmla="*/ 19734 w 29409"/>
                <a:gd name="connsiteY16" fmla="*/ 8509 h 29591"/>
                <a:gd name="connsiteX17" fmla="*/ 14769 w 29409"/>
                <a:gd name="connsiteY17" fmla="*/ 6223 h 29591"/>
                <a:gd name="connsiteX18" fmla="*/ 9803 w 29409"/>
                <a:gd name="connsiteY18" fmla="*/ 8509 h 29591"/>
                <a:gd name="connsiteX19" fmla="*/ 7766 w 29409"/>
                <a:gd name="connsiteY19" fmla="*/ 14986 h 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09" h="29591">
                  <a:moveTo>
                    <a:pt x="127" y="14478"/>
                  </a:moveTo>
                  <a:cubicBezTo>
                    <a:pt x="127" y="11938"/>
                    <a:pt x="764" y="9525"/>
                    <a:pt x="2037" y="7239"/>
                  </a:cubicBezTo>
                  <a:cubicBezTo>
                    <a:pt x="3310" y="4953"/>
                    <a:pt x="4965" y="3175"/>
                    <a:pt x="7257" y="1905"/>
                  </a:cubicBezTo>
                  <a:cubicBezTo>
                    <a:pt x="9549" y="635"/>
                    <a:pt x="12095" y="0"/>
                    <a:pt x="14769" y="0"/>
                  </a:cubicBezTo>
                  <a:cubicBezTo>
                    <a:pt x="19097" y="0"/>
                    <a:pt x="22662" y="1397"/>
                    <a:pt x="25335" y="4191"/>
                  </a:cubicBezTo>
                  <a:cubicBezTo>
                    <a:pt x="28136" y="6985"/>
                    <a:pt x="29410" y="10541"/>
                    <a:pt x="29410" y="14732"/>
                  </a:cubicBezTo>
                  <a:cubicBezTo>
                    <a:pt x="29410" y="18923"/>
                    <a:pt x="28009" y="22606"/>
                    <a:pt x="25208" y="25400"/>
                  </a:cubicBezTo>
                  <a:cubicBezTo>
                    <a:pt x="22407" y="28194"/>
                    <a:pt x="18970" y="29591"/>
                    <a:pt x="14769" y="29591"/>
                  </a:cubicBezTo>
                  <a:cubicBezTo>
                    <a:pt x="12222" y="29591"/>
                    <a:pt x="9676" y="28956"/>
                    <a:pt x="7257" y="27813"/>
                  </a:cubicBezTo>
                  <a:cubicBezTo>
                    <a:pt x="4838" y="26670"/>
                    <a:pt x="3055" y="24892"/>
                    <a:pt x="1910" y="22606"/>
                  </a:cubicBezTo>
                  <a:cubicBezTo>
                    <a:pt x="636" y="20320"/>
                    <a:pt x="0" y="17526"/>
                    <a:pt x="0" y="14351"/>
                  </a:cubicBezTo>
                  <a:close/>
                  <a:moveTo>
                    <a:pt x="7766" y="14986"/>
                  </a:moveTo>
                  <a:cubicBezTo>
                    <a:pt x="7766" y="17780"/>
                    <a:pt x="8403" y="19939"/>
                    <a:pt x="9803" y="21463"/>
                  </a:cubicBezTo>
                  <a:cubicBezTo>
                    <a:pt x="11204" y="22987"/>
                    <a:pt x="12858" y="23749"/>
                    <a:pt x="14769" y="23749"/>
                  </a:cubicBezTo>
                  <a:cubicBezTo>
                    <a:pt x="16678" y="23749"/>
                    <a:pt x="18333" y="22987"/>
                    <a:pt x="19734" y="21463"/>
                  </a:cubicBezTo>
                  <a:cubicBezTo>
                    <a:pt x="21134" y="19939"/>
                    <a:pt x="21771" y="17780"/>
                    <a:pt x="21771" y="14986"/>
                  </a:cubicBezTo>
                  <a:cubicBezTo>
                    <a:pt x="21771" y="12192"/>
                    <a:pt x="21134" y="10033"/>
                    <a:pt x="19734" y="8509"/>
                  </a:cubicBezTo>
                  <a:cubicBezTo>
                    <a:pt x="18333" y="6985"/>
                    <a:pt x="16806" y="6223"/>
                    <a:pt x="14769" y="6223"/>
                  </a:cubicBezTo>
                  <a:cubicBezTo>
                    <a:pt x="12731" y="6223"/>
                    <a:pt x="11204" y="6985"/>
                    <a:pt x="9803" y="8509"/>
                  </a:cubicBezTo>
                  <a:cubicBezTo>
                    <a:pt x="8403" y="10033"/>
                    <a:pt x="7766" y="12192"/>
                    <a:pt x="7766" y="14986"/>
                  </a:cubicBezTo>
                  <a:close/>
                </a:path>
              </a:pathLst>
            </a:custGeom>
            <a:solidFill>
              <a:srgbClr val="FFFFFF"/>
            </a:solidFill>
            <a:ln w="0" cap="flat">
              <a:noFill/>
              <a:prstDash val="solid"/>
              <a:miter/>
            </a:ln>
          </p:spPr>
          <p:txBody>
            <a:bodyPr rtlCol="0" anchor="ctr"/>
            <a:lstStyle/>
            <a:p>
              <a:endParaRPr lang="en-AD" sz="2400"/>
            </a:p>
          </p:txBody>
        </p:sp>
        <p:sp>
          <p:nvSpPr>
            <p:cNvPr id="41" name="Freeform 40">
              <a:extLst>
                <a:ext uri="{FF2B5EF4-FFF2-40B4-BE49-F238E27FC236}">
                  <a16:creationId xmlns:a16="http://schemas.microsoft.com/office/drawing/2014/main" id="{806300D1-54CD-6B43-5A00-483836AD101C}"/>
                </a:ext>
              </a:extLst>
            </p:cNvPr>
            <p:cNvSpPr/>
            <p:nvPr/>
          </p:nvSpPr>
          <p:spPr>
            <a:xfrm>
              <a:off x="6123070" y="4804283"/>
              <a:ext cx="26099" cy="29336"/>
            </a:xfrm>
            <a:custGeom>
              <a:avLst/>
              <a:gdLst>
                <a:gd name="connsiteX0" fmla="*/ 26100 w 26099"/>
                <a:gd name="connsiteY0" fmla="*/ 29337 h 29336"/>
                <a:gd name="connsiteX1" fmla="*/ 18588 w 26099"/>
                <a:gd name="connsiteY1" fmla="*/ 29337 h 29336"/>
                <a:gd name="connsiteX2" fmla="*/ 18588 w 26099"/>
                <a:gd name="connsiteY2" fmla="*/ 14859 h 29336"/>
                <a:gd name="connsiteX3" fmla="*/ 18079 w 26099"/>
                <a:gd name="connsiteY3" fmla="*/ 8890 h 29336"/>
                <a:gd name="connsiteX4" fmla="*/ 16551 w 26099"/>
                <a:gd name="connsiteY4" fmla="*/ 6731 h 29336"/>
                <a:gd name="connsiteX5" fmla="*/ 13878 w 26099"/>
                <a:gd name="connsiteY5" fmla="*/ 5969 h 29336"/>
                <a:gd name="connsiteX6" fmla="*/ 10313 w 26099"/>
                <a:gd name="connsiteY6" fmla="*/ 6985 h 29336"/>
                <a:gd name="connsiteX7" fmla="*/ 8148 w 26099"/>
                <a:gd name="connsiteY7" fmla="*/ 9779 h 29336"/>
                <a:gd name="connsiteX8" fmla="*/ 7512 w 26099"/>
                <a:gd name="connsiteY8" fmla="*/ 16256 h 29336"/>
                <a:gd name="connsiteX9" fmla="*/ 7512 w 26099"/>
                <a:gd name="connsiteY9" fmla="*/ 29083 h 29336"/>
                <a:gd name="connsiteX10" fmla="*/ 0 w 26099"/>
                <a:gd name="connsiteY10" fmla="*/ 29083 h 29336"/>
                <a:gd name="connsiteX11" fmla="*/ 0 w 26099"/>
                <a:gd name="connsiteY11" fmla="*/ 635 h 29336"/>
                <a:gd name="connsiteX12" fmla="*/ 7003 w 26099"/>
                <a:gd name="connsiteY12" fmla="*/ 635 h 29336"/>
                <a:gd name="connsiteX13" fmla="*/ 7003 w 26099"/>
                <a:gd name="connsiteY13" fmla="*/ 4826 h 29336"/>
                <a:gd name="connsiteX14" fmla="*/ 16424 w 26099"/>
                <a:gd name="connsiteY14" fmla="*/ 0 h 29336"/>
                <a:gd name="connsiteX15" fmla="*/ 21007 w 26099"/>
                <a:gd name="connsiteY15" fmla="*/ 889 h 29336"/>
                <a:gd name="connsiteX16" fmla="*/ 24190 w 26099"/>
                <a:gd name="connsiteY16" fmla="*/ 3175 h 29336"/>
                <a:gd name="connsiteX17" fmla="*/ 25718 w 26099"/>
                <a:gd name="connsiteY17" fmla="*/ 6350 h 29336"/>
                <a:gd name="connsiteX18" fmla="*/ 26100 w 26099"/>
                <a:gd name="connsiteY18" fmla="*/ 11430 h 29336"/>
                <a:gd name="connsiteX19" fmla="*/ 26100 w 26099"/>
                <a:gd name="connsiteY19" fmla="*/ 29083 h 2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99" h="29336">
                  <a:moveTo>
                    <a:pt x="26100" y="29337"/>
                  </a:moveTo>
                  <a:lnTo>
                    <a:pt x="18588" y="29337"/>
                  </a:lnTo>
                  <a:lnTo>
                    <a:pt x="18588" y="14859"/>
                  </a:lnTo>
                  <a:cubicBezTo>
                    <a:pt x="18588" y="11811"/>
                    <a:pt x="18461" y="9779"/>
                    <a:pt x="18079" y="8890"/>
                  </a:cubicBezTo>
                  <a:cubicBezTo>
                    <a:pt x="17697" y="8001"/>
                    <a:pt x="17188" y="7239"/>
                    <a:pt x="16551" y="6731"/>
                  </a:cubicBezTo>
                  <a:cubicBezTo>
                    <a:pt x="15787" y="6223"/>
                    <a:pt x="14896" y="5969"/>
                    <a:pt x="13878" y="5969"/>
                  </a:cubicBezTo>
                  <a:cubicBezTo>
                    <a:pt x="12604" y="5969"/>
                    <a:pt x="11459" y="6350"/>
                    <a:pt x="10313" y="6985"/>
                  </a:cubicBezTo>
                  <a:cubicBezTo>
                    <a:pt x="9294" y="7747"/>
                    <a:pt x="8530" y="8636"/>
                    <a:pt x="8148" y="9779"/>
                  </a:cubicBezTo>
                  <a:cubicBezTo>
                    <a:pt x="7766" y="10922"/>
                    <a:pt x="7512" y="13081"/>
                    <a:pt x="7512" y="16256"/>
                  </a:cubicBezTo>
                  <a:lnTo>
                    <a:pt x="7512" y="29083"/>
                  </a:lnTo>
                  <a:lnTo>
                    <a:pt x="0" y="29083"/>
                  </a:lnTo>
                  <a:lnTo>
                    <a:pt x="0" y="635"/>
                  </a:lnTo>
                  <a:lnTo>
                    <a:pt x="7003" y="635"/>
                  </a:lnTo>
                  <a:lnTo>
                    <a:pt x="7003" y="4826"/>
                  </a:lnTo>
                  <a:cubicBezTo>
                    <a:pt x="9549" y="1651"/>
                    <a:pt x="12604" y="0"/>
                    <a:pt x="16424" y="0"/>
                  </a:cubicBezTo>
                  <a:cubicBezTo>
                    <a:pt x="18079" y="0"/>
                    <a:pt x="19607" y="254"/>
                    <a:pt x="21007" y="889"/>
                  </a:cubicBezTo>
                  <a:cubicBezTo>
                    <a:pt x="22407" y="1524"/>
                    <a:pt x="23426" y="2286"/>
                    <a:pt x="24190" y="3175"/>
                  </a:cubicBezTo>
                  <a:cubicBezTo>
                    <a:pt x="24954" y="4064"/>
                    <a:pt x="25336" y="5207"/>
                    <a:pt x="25718" y="6350"/>
                  </a:cubicBezTo>
                  <a:cubicBezTo>
                    <a:pt x="25972" y="7493"/>
                    <a:pt x="26100" y="9271"/>
                    <a:pt x="26100" y="11430"/>
                  </a:cubicBezTo>
                  <a:lnTo>
                    <a:pt x="26100" y="29083"/>
                  </a:lnTo>
                  <a:close/>
                </a:path>
              </a:pathLst>
            </a:custGeom>
            <a:solidFill>
              <a:srgbClr val="FFFFFF"/>
            </a:solidFill>
            <a:ln w="0" cap="flat">
              <a:noFill/>
              <a:prstDash val="solid"/>
              <a:miter/>
            </a:ln>
          </p:spPr>
          <p:txBody>
            <a:bodyPr rtlCol="0" anchor="ctr"/>
            <a:lstStyle/>
            <a:p>
              <a:endParaRPr lang="en-AD" sz="2400"/>
            </a:p>
          </p:txBody>
        </p:sp>
      </p:grpSp>
      <p:sp>
        <p:nvSpPr>
          <p:cNvPr id="42" name="Rounded Rectangle 41">
            <a:hlinkClick r:id="rId4"/>
            <a:extLst>
              <a:ext uri="{FF2B5EF4-FFF2-40B4-BE49-F238E27FC236}">
                <a16:creationId xmlns:a16="http://schemas.microsoft.com/office/drawing/2014/main" id="{8C801818-E483-AE9F-DB3E-0668766C8F47}"/>
              </a:ext>
            </a:extLst>
          </p:cNvPr>
          <p:cNvSpPr/>
          <p:nvPr userDrawn="1"/>
        </p:nvSpPr>
        <p:spPr>
          <a:xfrm>
            <a:off x="2605223" y="3289621"/>
            <a:ext cx="1708363" cy="447675"/>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D" sz="2400">
                <a:latin typeface="+mj-lt"/>
              </a:rPr>
              <a:t>vict3r.eu</a:t>
            </a:r>
          </a:p>
        </p:txBody>
      </p:sp>
      <p:pic>
        <p:nvPicPr>
          <p:cNvPr id="43" name="Graphic 42">
            <a:hlinkClick r:id="rId5"/>
            <a:extLst>
              <a:ext uri="{FF2B5EF4-FFF2-40B4-BE49-F238E27FC236}">
                <a16:creationId xmlns:a16="http://schemas.microsoft.com/office/drawing/2014/main" id="{8FBE50C1-1F10-13BB-F92F-87CE59083BB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21147" y="3286927"/>
            <a:ext cx="450371" cy="450371"/>
          </a:xfrm>
          <a:prstGeom prst="rect">
            <a:avLst/>
          </a:prstGeom>
        </p:spPr>
      </p:pic>
      <p:grpSp>
        <p:nvGrpSpPr>
          <p:cNvPr id="4" name="Group 3">
            <a:extLst>
              <a:ext uri="{FF2B5EF4-FFF2-40B4-BE49-F238E27FC236}">
                <a16:creationId xmlns:a16="http://schemas.microsoft.com/office/drawing/2014/main" id="{1765F451-F106-D4A7-4F16-9E70EA6B09E4}"/>
              </a:ext>
            </a:extLst>
          </p:cNvPr>
          <p:cNvGrpSpPr/>
          <p:nvPr userDrawn="1"/>
        </p:nvGrpSpPr>
        <p:grpSpPr>
          <a:xfrm>
            <a:off x="2635519" y="4048848"/>
            <a:ext cx="1212265" cy="349368"/>
            <a:chOff x="4623944" y="4701540"/>
            <a:chExt cx="569348" cy="164083"/>
          </a:xfrm>
        </p:grpSpPr>
        <p:sp>
          <p:nvSpPr>
            <p:cNvPr id="6" name="Freeform 5">
              <a:extLst>
                <a:ext uri="{FF2B5EF4-FFF2-40B4-BE49-F238E27FC236}">
                  <a16:creationId xmlns:a16="http://schemas.microsoft.com/office/drawing/2014/main" id="{0C99EB82-D1FB-E513-E6B9-D36BCE981521}"/>
                </a:ext>
              </a:extLst>
            </p:cNvPr>
            <p:cNvSpPr/>
            <p:nvPr/>
          </p:nvSpPr>
          <p:spPr>
            <a:xfrm>
              <a:off x="4914984"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E7F100C4-BA11-5A58-3A58-9849154D70C9}"/>
                </a:ext>
              </a:extLst>
            </p:cNvPr>
            <p:cNvSpPr/>
            <p:nvPr/>
          </p:nvSpPr>
          <p:spPr>
            <a:xfrm>
              <a:off x="4930771"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4" name="Freeform 43">
              <a:extLst>
                <a:ext uri="{FF2B5EF4-FFF2-40B4-BE49-F238E27FC236}">
                  <a16:creationId xmlns:a16="http://schemas.microsoft.com/office/drawing/2014/main" id="{BA61CF18-7493-8E96-CF9A-96A7E0B3C752}"/>
                </a:ext>
              </a:extLst>
            </p:cNvPr>
            <p:cNvSpPr/>
            <p:nvPr/>
          </p:nvSpPr>
          <p:spPr>
            <a:xfrm>
              <a:off x="4964637" y="4717796"/>
              <a:ext cx="27118" cy="29209"/>
            </a:xfrm>
            <a:custGeom>
              <a:avLst/>
              <a:gdLst>
                <a:gd name="connsiteX0" fmla="*/ 7639 w 27118"/>
                <a:gd name="connsiteY0" fmla="*/ 10668 h 29209"/>
                <a:gd name="connsiteX1" fmla="*/ 7639 w 27118"/>
                <a:gd name="connsiteY1" fmla="*/ 29210 h 29209"/>
                <a:gd name="connsiteX2" fmla="*/ 0 w 27118"/>
                <a:gd name="connsiteY2" fmla="*/ 29210 h 29209"/>
                <a:gd name="connsiteX3" fmla="*/ 0 w 27118"/>
                <a:gd name="connsiteY3" fmla="*/ 635 h 29209"/>
                <a:gd name="connsiteX4" fmla="*/ 7639 w 27118"/>
                <a:gd name="connsiteY4" fmla="*/ 635 h 29209"/>
                <a:gd name="connsiteX5" fmla="*/ 7639 w 27118"/>
                <a:gd name="connsiteY5" fmla="*/ 3810 h 29209"/>
                <a:gd name="connsiteX6" fmla="*/ 11204 w 27118"/>
                <a:gd name="connsiteY6" fmla="*/ 1016 h 29209"/>
                <a:gd name="connsiteX7" fmla="*/ 15660 w 27118"/>
                <a:gd name="connsiteY7" fmla="*/ 0 h 29209"/>
                <a:gd name="connsiteX8" fmla="*/ 23935 w 27118"/>
                <a:gd name="connsiteY8" fmla="*/ 3175 h 29209"/>
                <a:gd name="connsiteX9" fmla="*/ 27118 w 27118"/>
                <a:gd name="connsiteY9" fmla="*/ 11557 h 29209"/>
                <a:gd name="connsiteX10" fmla="*/ 27118 w 27118"/>
                <a:gd name="connsiteY10" fmla="*/ 29083 h 29209"/>
                <a:gd name="connsiteX11" fmla="*/ 19479 w 27118"/>
                <a:gd name="connsiteY11" fmla="*/ 29083 h 29209"/>
                <a:gd name="connsiteX12" fmla="*/ 19479 w 27118"/>
                <a:gd name="connsiteY12" fmla="*/ 12192 h 29209"/>
                <a:gd name="connsiteX13" fmla="*/ 17951 w 27118"/>
                <a:gd name="connsiteY13" fmla="*/ 8128 h 29209"/>
                <a:gd name="connsiteX14" fmla="*/ 13877 w 27118"/>
                <a:gd name="connsiteY14" fmla="*/ 6477 h 29209"/>
                <a:gd name="connsiteX15" fmla="*/ 10440 w 27118"/>
                <a:gd name="connsiteY15" fmla="*/ 7620 h 29209"/>
                <a:gd name="connsiteX16" fmla="*/ 7766 w 27118"/>
                <a:gd name="connsiteY16" fmla="*/ 10414 h 2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09">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46" name="Freeform 45">
              <a:extLst>
                <a:ext uri="{FF2B5EF4-FFF2-40B4-BE49-F238E27FC236}">
                  <a16:creationId xmlns:a16="http://schemas.microsoft.com/office/drawing/2014/main" id="{DD58B830-E8AA-A0DA-8D52-ABC96DCD5B24}"/>
                </a:ext>
              </a:extLst>
            </p:cNvPr>
            <p:cNvSpPr/>
            <p:nvPr/>
          </p:nvSpPr>
          <p:spPr>
            <a:xfrm>
              <a:off x="4996593" y="4717669"/>
              <a:ext cx="31828" cy="29971"/>
            </a:xfrm>
            <a:custGeom>
              <a:avLst/>
              <a:gdLst>
                <a:gd name="connsiteX0" fmla="*/ 4583 w 31828"/>
                <a:gd name="connsiteY0" fmla="*/ 25654 h 29971"/>
                <a:gd name="connsiteX1" fmla="*/ 0 w 31828"/>
                <a:gd name="connsiteY1" fmla="*/ 14986 h 29971"/>
                <a:gd name="connsiteX2" fmla="*/ 4583 w 31828"/>
                <a:gd name="connsiteY2" fmla="*/ 4318 h 29971"/>
                <a:gd name="connsiteX3" fmla="*/ 15914 w 31828"/>
                <a:gd name="connsiteY3" fmla="*/ 0 h 29971"/>
                <a:gd name="connsiteX4" fmla="*/ 24062 w 31828"/>
                <a:gd name="connsiteY4" fmla="*/ 2032 h 29971"/>
                <a:gd name="connsiteX5" fmla="*/ 29792 w 31828"/>
                <a:gd name="connsiteY5" fmla="*/ 7493 h 29971"/>
                <a:gd name="connsiteX6" fmla="*/ 31829 w 31828"/>
                <a:gd name="connsiteY6" fmla="*/ 14986 h 29971"/>
                <a:gd name="connsiteX7" fmla="*/ 29792 w 31828"/>
                <a:gd name="connsiteY7" fmla="*/ 22479 h 29971"/>
                <a:gd name="connsiteX8" fmla="*/ 24062 w 31828"/>
                <a:gd name="connsiteY8" fmla="*/ 27940 h 29971"/>
                <a:gd name="connsiteX9" fmla="*/ 15914 w 31828"/>
                <a:gd name="connsiteY9" fmla="*/ 29972 h 29971"/>
                <a:gd name="connsiteX10" fmla="*/ 4583 w 31828"/>
                <a:gd name="connsiteY10" fmla="*/ 25654 h 29971"/>
                <a:gd name="connsiteX11" fmla="*/ 7639 w 31828"/>
                <a:gd name="connsiteY11" fmla="*/ 15113 h 29971"/>
                <a:gd name="connsiteX12" fmla="*/ 10058 w 31828"/>
                <a:gd name="connsiteY12" fmla="*/ 20955 h 29971"/>
                <a:gd name="connsiteX13" fmla="*/ 15914 w 31828"/>
                <a:gd name="connsiteY13" fmla="*/ 23368 h 29971"/>
                <a:gd name="connsiteX14" fmla="*/ 21771 w 31828"/>
                <a:gd name="connsiteY14" fmla="*/ 20955 h 29971"/>
                <a:gd name="connsiteX15" fmla="*/ 24190 w 31828"/>
                <a:gd name="connsiteY15" fmla="*/ 15113 h 29971"/>
                <a:gd name="connsiteX16" fmla="*/ 21771 w 31828"/>
                <a:gd name="connsiteY16" fmla="*/ 9271 h 29971"/>
                <a:gd name="connsiteX17" fmla="*/ 15914 w 31828"/>
                <a:gd name="connsiteY17" fmla="*/ 6858 h 29971"/>
                <a:gd name="connsiteX18" fmla="*/ 10058 w 31828"/>
                <a:gd name="connsiteY18" fmla="*/ 9271 h 29971"/>
                <a:gd name="connsiteX19" fmla="*/ 7639 w 31828"/>
                <a:gd name="connsiteY19" fmla="*/ 15113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28" h="29971">
                  <a:moveTo>
                    <a:pt x="4583" y="25654"/>
                  </a:moveTo>
                  <a:cubicBezTo>
                    <a:pt x="1528" y="22733"/>
                    <a:pt x="0" y="19177"/>
                    <a:pt x="0" y="14986"/>
                  </a:cubicBezTo>
                  <a:cubicBezTo>
                    <a:pt x="0" y="10795"/>
                    <a:pt x="1528" y="7239"/>
                    <a:pt x="4583" y="4318"/>
                  </a:cubicBezTo>
                  <a:cubicBezTo>
                    <a:pt x="7639" y="1397"/>
                    <a:pt x="11458" y="0"/>
                    <a:pt x="15914" y="0"/>
                  </a:cubicBezTo>
                  <a:cubicBezTo>
                    <a:pt x="18842" y="0"/>
                    <a:pt x="21643" y="635"/>
                    <a:pt x="24062" y="2032"/>
                  </a:cubicBezTo>
                  <a:cubicBezTo>
                    <a:pt x="26481" y="3302"/>
                    <a:pt x="28391" y="5207"/>
                    <a:pt x="29792" y="7493"/>
                  </a:cubicBezTo>
                  <a:cubicBezTo>
                    <a:pt x="31192" y="9779"/>
                    <a:pt x="31829" y="12319"/>
                    <a:pt x="31829" y="14986"/>
                  </a:cubicBezTo>
                  <a:cubicBezTo>
                    <a:pt x="31829" y="17653"/>
                    <a:pt x="31192" y="20320"/>
                    <a:pt x="29792" y="22479"/>
                  </a:cubicBezTo>
                  <a:cubicBezTo>
                    <a:pt x="28391" y="24765"/>
                    <a:pt x="26481" y="26543"/>
                    <a:pt x="24062" y="27940"/>
                  </a:cubicBezTo>
                  <a:cubicBezTo>
                    <a:pt x="21643" y="29210"/>
                    <a:pt x="18970" y="29972"/>
                    <a:pt x="15914" y="29972"/>
                  </a:cubicBezTo>
                  <a:cubicBezTo>
                    <a:pt x="11458" y="29972"/>
                    <a:pt x="7639" y="28575"/>
                    <a:pt x="4583" y="25654"/>
                  </a:cubicBezTo>
                  <a:close/>
                  <a:moveTo>
                    <a:pt x="7639" y="15113"/>
                  </a:moveTo>
                  <a:cubicBezTo>
                    <a:pt x="7639" y="17399"/>
                    <a:pt x="8403" y="19431"/>
                    <a:pt x="10058" y="20955"/>
                  </a:cubicBezTo>
                  <a:cubicBezTo>
                    <a:pt x="11586" y="22479"/>
                    <a:pt x="13623" y="23368"/>
                    <a:pt x="15914" y="23368"/>
                  </a:cubicBezTo>
                  <a:cubicBezTo>
                    <a:pt x="18206" y="23368"/>
                    <a:pt x="20243" y="22606"/>
                    <a:pt x="21771" y="20955"/>
                  </a:cubicBezTo>
                  <a:cubicBezTo>
                    <a:pt x="23426" y="19431"/>
                    <a:pt x="24190" y="17399"/>
                    <a:pt x="24190" y="15113"/>
                  </a:cubicBezTo>
                  <a:cubicBezTo>
                    <a:pt x="24190" y="12827"/>
                    <a:pt x="23426" y="10795"/>
                    <a:pt x="21771" y="9271"/>
                  </a:cubicBezTo>
                  <a:cubicBezTo>
                    <a:pt x="20115" y="7620"/>
                    <a:pt x="18206" y="6858"/>
                    <a:pt x="15914" y="6858"/>
                  </a:cubicBezTo>
                  <a:cubicBezTo>
                    <a:pt x="13623" y="6858"/>
                    <a:pt x="11586" y="7620"/>
                    <a:pt x="10058" y="9271"/>
                  </a:cubicBezTo>
                  <a:cubicBezTo>
                    <a:pt x="8530" y="10922"/>
                    <a:pt x="7639" y="12827"/>
                    <a:pt x="7639" y="15113"/>
                  </a:cubicBezTo>
                  <a:close/>
                </a:path>
              </a:pathLst>
            </a:custGeom>
            <a:solidFill>
              <a:srgbClr val="FFFFFF"/>
            </a:solidFill>
            <a:ln w="0" cap="flat">
              <a:noFill/>
              <a:prstDash val="solid"/>
              <a:miter/>
            </a:ln>
          </p:spPr>
          <p:txBody>
            <a:bodyPr rtlCol="0" anchor="ctr"/>
            <a:lstStyle/>
            <a:p>
              <a:endParaRPr lang="en-AD" sz="2400"/>
            </a:p>
          </p:txBody>
        </p:sp>
        <p:sp>
          <p:nvSpPr>
            <p:cNvPr id="47" name="Freeform 46">
              <a:extLst>
                <a:ext uri="{FF2B5EF4-FFF2-40B4-BE49-F238E27FC236}">
                  <a16:creationId xmlns:a16="http://schemas.microsoft.com/office/drawing/2014/main" id="{1E253AF6-C2F4-A732-A648-CB7290BAFD84}"/>
                </a:ext>
              </a:extLst>
            </p:cNvPr>
            <p:cNvSpPr/>
            <p:nvPr/>
          </p:nvSpPr>
          <p:spPr>
            <a:xfrm>
              <a:off x="5030204" y="4718430"/>
              <a:ext cx="28518" cy="28575"/>
            </a:xfrm>
            <a:custGeom>
              <a:avLst/>
              <a:gdLst>
                <a:gd name="connsiteX0" fmla="*/ 20625 w 28518"/>
                <a:gd name="connsiteY0" fmla="*/ 0 h 28575"/>
                <a:gd name="connsiteX1" fmla="*/ 28519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9"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48" name="Freeform 47">
              <a:extLst>
                <a:ext uri="{FF2B5EF4-FFF2-40B4-BE49-F238E27FC236}">
                  <a16:creationId xmlns:a16="http://schemas.microsoft.com/office/drawing/2014/main" id="{C446775F-0899-25FF-010B-04009A03B365}"/>
                </a:ext>
              </a:extLst>
            </p:cNvPr>
            <p:cNvSpPr/>
            <p:nvPr/>
          </p:nvSpPr>
          <p:spPr>
            <a:xfrm>
              <a:off x="5060632" y="4717669"/>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787 w 30682"/>
                <a:gd name="connsiteY14" fmla="*/ 23241 h 29971"/>
                <a:gd name="connsiteX15" fmla="*/ 20243 w 30682"/>
                <a:gd name="connsiteY15" fmla="*/ 21971 h 29971"/>
                <a:gd name="connsiteX16" fmla="*/ 23298 w 30682"/>
                <a:gd name="connsiteY16" fmla="*/ 18669 h 29971"/>
                <a:gd name="connsiteX17" fmla="*/ 23298 w 30682"/>
                <a:gd name="connsiteY17" fmla="*/ 11303 h 29971"/>
                <a:gd name="connsiteX18" fmla="*/ 20243 w 30682"/>
                <a:gd name="connsiteY18" fmla="*/ 8001 h 29971"/>
                <a:gd name="connsiteX19" fmla="*/ 15787 w 30682"/>
                <a:gd name="connsiteY19" fmla="*/ 6731 h 29971"/>
                <a:gd name="connsiteX20" fmla="*/ 9931 w 30682"/>
                <a:gd name="connsiteY20" fmla="*/ 9144 h 29971"/>
                <a:gd name="connsiteX21" fmla="*/ 7512 w 30682"/>
                <a:gd name="connsiteY21" fmla="*/ 14986 h 29971"/>
                <a:gd name="connsiteX22" fmla="*/ 9931 w 30682"/>
                <a:gd name="connsiteY22" fmla="*/ 20828 h 29971"/>
                <a:gd name="connsiteX23" fmla="*/ 15787 w 30682"/>
                <a:gd name="connsiteY23" fmla="*/ 23241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787" y="23241"/>
                  </a:moveTo>
                  <a:cubicBezTo>
                    <a:pt x="17442" y="23241"/>
                    <a:pt x="18970" y="22860"/>
                    <a:pt x="20243" y="21971"/>
                  </a:cubicBezTo>
                  <a:cubicBezTo>
                    <a:pt x="21516" y="21082"/>
                    <a:pt x="22535" y="20066"/>
                    <a:pt x="23298" y="18669"/>
                  </a:cubicBezTo>
                  <a:lnTo>
                    <a:pt x="23298" y="11303"/>
                  </a:lnTo>
                  <a:cubicBezTo>
                    <a:pt x="22662" y="9906"/>
                    <a:pt x="21643" y="8763"/>
                    <a:pt x="20243" y="8001"/>
                  </a:cubicBezTo>
                  <a:cubicBezTo>
                    <a:pt x="18842" y="7239"/>
                    <a:pt x="17442" y="6731"/>
                    <a:pt x="15787" y="6731"/>
                  </a:cubicBezTo>
                  <a:cubicBezTo>
                    <a:pt x="13495" y="6731"/>
                    <a:pt x="11458" y="7493"/>
                    <a:pt x="9931" y="9144"/>
                  </a:cubicBezTo>
                  <a:cubicBezTo>
                    <a:pt x="8403" y="10668"/>
                    <a:pt x="7512" y="12700"/>
                    <a:pt x="7512" y="14986"/>
                  </a:cubicBezTo>
                  <a:cubicBezTo>
                    <a:pt x="7512" y="17272"/>
                    <a:pt x="8275" y="19304"/>
                    <a:pt x="9931" y="20828"/>
                  </a:cubicBezTo>
                  <a:cubicBezTo>
                    <a:pt x="11458" y="22352"/>
                    <a:pt x="13495" y="23241"/>
                    <a:pt x="15787" y="23241"/>
                  </a:cubicBezTo>
                  <a:close/>
                </a:path>
              </a:pathLst>
            </a:custGeom>
            <a:solidFill>
              <a:srgbClr val="FFFFFF"/>
            </a:solidFill>
            <a:ln w="0" cap="flat">
              <a:noFill/>
              <a:prstDash val="solid"/>
              <a:miter/>
            </a:ln>
          </p:spPr>
          <p:txBody>
            <a:bodyPr rtlCol="0" anchor="ctr"/>
            <a:lstStyle/>
            <a:p>
              <a:endParaRPr lang="en-AD" sz="2400"/>
            </a:p>
          </p:txBody>
        </p:sp>
        <p:sp>
          <p:nvSpPr>
            <p:cNvPr id="49" name="Freeform 48">
              <a:extLst>
                <a:ext uri="{FF2B5EF4-FFF2-40B4-BE49-F238E27FC236}">
                  <a16:creationId xmlns:a16="http://schemas.microsoft.com/office/drawing/2014/main" id="{65BCAE4E-CA04-A518-35CD-302BFE989269}"/>
                </a:ext>
              </a:extLst>
            </p:cNvPr>
            <p:cNvSpPr/>
            <p:nvPr/>
          </p:nvSpPr>
          <p:spPr>
            <a:xfrm>
              <a:off x="5095898" y="4710176"/>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4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3 w 19097"/>
                <a:gd name="connsiteY15" fmla="*/ 8255 h 37464"/>
                <a:gd name="connsiteX16" fmla="*/ 18843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0" name="Freeform 49">
              <a:extLst>
                <a:ext uri="{FF2B5EF4-FFF2-40B4-BE49-F238E27FC236}">
                  <a16:creationId xmlns:a16="http://schemas.microsoft.com/office/drawing/2014/main" id="{A9CE3B17-36E3-6D8F-16CF-3C1E49FD93F5}"/>
                </a:ext>
              </a:extLst>
            </p:cNvPr>
            <p:cNvSpPr/>
            <p:nvPr/>
          </p:nvSpPr>
          <p:spPr>
            <a:xfrm>
              <a:off x="5119706" y="4706365"/>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51" name="Freeform 50">
              <a:extLst>
                <a:ext uri="{FF2B5EF4-FFF2-40B4-BE49-F238E27FC236}">
                  <a16:creationId xmlns:a16="http://schemas.microsoft.com/office/drawing/2014/main" id="{1947C458-3EE4-0FB4-E1F1-C8FA1B7C753A}"/>
                </a:ext>
              </a:extLst>
            </p:cNvPr>
            <p:cNvSpPr/>
            <p:nvPr/>
          </p:nvSpPr>
          <p:spPr>
            <a:xfrm>
              <a:off x="5132310" y="4718430"/>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52" name="Freeform 51">
              <a:extLst>
                <a:ext uri="{FF2B5EF4-FFF2-40B4-BE49-F238E27FC236}">
                  <a16:creationId xmlns:a16="http://schemas.microsoft.com/office/drawing/2014/main" id="{D660F156-8113-0529-CB4D-783E366440C1}"/>
                </a:ext>
              </a:extLst>
            </p:cNvPr>
            <p:cNvSpPr/>
            <p:nvPr/>
          </p:nvSpPr>
          <p:spPr>
            <a:xfrm>
              <a:off x="5162865" y="4717922"/>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842 h 29717"/>
                <a:gd name="connsiteX20" fmla="*/ 10567 w 30427"/>
                <a:gd name="connsiteY20" fmla="*/ 7366 h 29717"/>
                <a:gd name="connsiteX21" fmla="*/ 7766 w 30427"/>
                <a:gd name="connsiteY21" fmla="*/ 11557 h 29717"/>
                <a:gd name="connsiteX22" fmla="*/ 22662 w 30427"/>
                <a:gd name="connsiteY22" fmla="*/ 11557 h 29717"/>
                <a:gd name="connsiteX23" fmla="*/ 20115 w 30427"/>
                <a:gd name="connsiteY23" fmla="*/ 7366 h 29717"/>
                <a:gd name="connsiteX24" fmla="*/ 15405 w 30427"/>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3" y="23622"/>
                    <a:pt x="15787" y="23622"/>
                  </a:cubicBezTo>
                  <a:cubicBezTo>
                    <a:pt x="18843" y="23622"/>
                    <a:pt x="21516" y="22479"/>
                    <a:pt x="23935" y="20066"/>
                  </a:cubicBezTo>
                  <a:lnTo>
                    <a:pt x="28518" y="24511"/>
                  </a:lnTo>
                  <a:cubicBezTo>
                    <a:pt x="25335" y="27940"/>
                    <a:pt x="21134" y="29718"/>
                    <a:pt x="15914" y="29718"/>
                  </a:cubicBezTo>
                  <a:cubicBezTo>
                    <a:pt x="13623"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1"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842"/>
                  </a:moveTo>
                  <a:cubicBezTo>
                    <a:pt x="13495" y="5842"/>
                    <a:pt x="11840" y="6350"/>
                    <a:pt x="10567" y="7366"/>
                  </a:cubicBezTo>
                  <a:cubicBezTo>
                    <a:pt x="9167" y="8382"/>
                    <a:pt x="8275" y="9779"/>
                    <a:pt x="7766" y="11557"/>
                  </a:cubicBezTo>
                  <a:lnTo>
                    <a:pt x="22662" y="11557"/>
                  </a:lnTo>
                  <a:cubicBezTo>
                    <a:pt x="22280" y="9779"/>
                    <a:pt x="21389" y="8382"/>
                    <a:pt x="20115"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53" name="Freeform 52">
              <a:extLst>
                <a:ext uri="{FF2B5EF4-FFF2-40B4-BE49-F238E27FC236}">
                  <a16:creationId xmlns:a16="http://schemas.microsoft.com/office/drawing/2014/main" id="{1D3BAE90-AAAE-97DB-D009-E86DEEDCFDB8}"/>
                </a:ext>
              </a:extLst>
            </p:cNvPr>
            <p:cNvSpPr/>
            <p:nvPr/>
          </p:nvSpPr>
          <p:spPr>
            <a:xfrm>
              <a:off x="4915494" y="4764785"/>
              <a:ext cx="27117" cy="40259"/>
            </a:xfrm>
            <a:custGeom>
              <a:avLst/>
              <a:gdLst>
                <a:gd name="connsiteX0" fmla="*/ 7639 w 27117"/>
                <a:gd name="connsiteY0" fmla="*/ 21717 h 40259"/>
                <a:gd name="connsiteX1" fmla="*/ 7639 w 27117"/>
                <a:gd name="connsiteY1" fmla="*/ 40259 h 40259"/>
                <a:gd name="connsiteX2" fmla="*/ 0 w 27117"/>
                <a:gd name="connsiteY2" fmla="*/ 40259 h 40259"/>
                <a:gd name="connsiteX3" fmla="*/ 0 w 27117"/>
                <a:gd name="connsiteY3" fmla="*/ 0 h 40259"/>
                <a:gd name="connsiteX4" fmla="*/ 7639 w 27117"/>
                <a:gd name="connsiteY4" fmla="*/ 0 h 40259"/>
                <a:gd name="connsiteX5" fmla="*/ 7639 w 27117"/>
                <a:gd name="connsiteY5" fmla="*/ 14859 h 40259"/>
                <a:gd name="connsiteX6" fmla="*/ 11203 w 27117"/>
                <a:gd name="connsiteY6" fmla="*/ 12065 h 40259"/>
                <a:gd name="connsiteX7" fmla="*/ 15659 w 27117"/>
                <a:gd name="connsiteY7" fmla="*/ 11049 h 40259"/>
                <a:gd name="connsiteX8" fmla="*/ 23935 w 27117"/>
                <a:gd name="connsiteY8" fmla="*/ 14224 h 40259"/>
                <a:gd name="connsiteX9" fmla="*/ 27118 w 27117"/>
                <a:gd name="connsiteY9" fmla="*/ 22606 h 40259"/>
                <a:gd name="connsiteX10" fmla="*/ 27118 w 27117"/>
                <a:gd name="connsiteY10" fmla="*/ 40132 h 40259"/>
                <a:gd name="connsiteX11" fmla="*/ 19479 w 27117"/>
                <a:gd name="connsiteY11" fmla="*/ 40132 h 40259"/>
                <a:gd name="connsiteX12" fmla="*/ 19479 w 27117"/>
                <a:gd name="connsiteY12" fmla="*/ 23241 h 40259"/>
                <a:gd name="connsiteX13" fmla="*/ 17951 w 27117"/>
                <a:gd name="connsiteY13" fmla="*/ 19177 h 40259"/>
                <a:gd name="connsiteX14" fmla="*/ 13877 w 27117"/>
                <a:gd name="connsiteY14" fmla="*/ 17526 h 40259"/>
                <a:gd name="connsiteX15" fmla="*/ 10439 w 27117"/>
                <a:gd name="connsiteY15" fmla="*/ 18669 h 40259"/>
                <a:gd name="connsiteX16" fmla="*/ 7766 w 27117"/>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7" h="40259">
                  <a:moveTo>
                    <a:pt x="7639" y="21717"/>
                  </a:moveTo>
                  <a:lnTo>
                    <a:pt x="7639" y="40259"/>
                  </a:lnTo>
                  <a:lnTo>
                    <a:pt x="0" y="40259"/>
                  </a:lnTo>
                  <a:lnTo>
                    <a:pt x="0" y="0"/>
                  </a:lnTo>
                  <a:lnTo>
                    <a:pt x="7639" y="0"/>
                  </a:lnTo>
                  <a:lnTo>
                    <a:pt x="7639" y="14859"/>
                  </a:lnTo>
                  <a:cubicBezTo>
                    <a:pt x="8657" y="13716"/>
                    <a:pt x="9803" y="12827"/>
                    <a:pt x="11203" y="12065"/>
                  </a:cubicBezTo>
                  <a:cubicBezTo>
                    <a:pt x="12604" y="11430"/>
                    <a:pt x="14132" y="11049"/>
                    <a:pt x="15659" y="11049"/>
                  </a:cubicBezTo>
                  <a:cubicBezTo>
                    <a:pt x="18970" y="11049"/>
                    <a:pt x="21771" y="12065"/>
                    <a:pt x="23935" y="14224"/>
                  </a:cubicBezTo>
                  <a:cubicBezTo>
                    <a:pt x="26099"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7" y="17526"/>
                  </a:cubicBezTo>
                  <a:cubicBezTo>
                    <a:pt x="12731" y="17526"/>
                    <a:pt x="11586" y="17907"/>
                    <a:pt x="10439"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4" name="Freeform 53">
              <a:extLst>
                <a:ext uri="{FF2B5EF4-FFF2-40B4-BE49-F238E27FC236}">
                  <a16:creationId xmlns:a16="http://schemas.microsoft.com/office/drawing/2014/main" id="{133704ED-0B62-72B4-5E7D-28E5C142842F}"/>
                </a:ext>
              </a:extLst>
            </p:cNvPr>
            <p:cNvSpPr/>
            <p:nvPr/>
          </p:nvSpPr>
          <p:spPr>
            <a:xfrm>
              <a:off x="4947704" y="4775961"/>
              <a:ext cx="30427" cy="29717"/>
            </a:xfrm>
            <a:custGeom>
              <a:avLst/>
              <a:gdLst>
                <a:gd name="connsiteX0" fmla="*/ 7512 w 30427"/>
                <a:gd name="connsiteY0" fmla="*/ 17018 h 29717"/>
                <a:gd name="connsiteX1" fmla="*/ 10312 w 30427"/>
                <a:gd name="connsiteY1" fmla="*/ 21844 h 29717"/>
                <a:gd name="connsiteX2" fmla="*/ 15787 w 30427"/>
                <a:gd name="connsiteY2" fmla="*/ 23622 h 29717"/>
                <a:gd name="connsiteX3" fmla="*/ 23935 w 30427"/>
                <a:gd name="connsiteY3" fmla="*/ 20066 h 29717"/>
                <a:gd name="connsiteX4" fmla="*/ 28518 w 30427"/>
                <a:gd name="connsiteY4" fmla="*/ 24511 h 29717"/>
                <a:gd name="connsiteX5" fmla="*/ 15914 w 30427"/>
                <a:gd name="connsiteY5" fmla="*/ 29718 h 29717"/>
                <a:gd name="connsiteX6" fmla="*/ 9421 w 30427"/>
                <a:gd name="connsiteY6" fmla="*/ 28575 h 29717"/>
                <a:gd name="connsiteX7" fmla="*/ 4329 w 30427"/>
                <a:gd name="connsiteY7" fmla="*/ 25400 h 29717"/>
                <a:gd name="connsiteX8" fmla="*/ 1146 w 30427"/>
                <a:gd name="connsiteY8" fmla="*/ 20701 h 29717"/>
                <a:gd name="connsiteX9" fmla="*/ 0 w 30427"/>
                <a:gd name="connsiteY9" fmla="*/ 14859 h 29717"/>
                <a:gd name="connsiteX10" fmla="*/ 1146 w 30427"/>
                <a:gd name="connsiteY10" fmla="*/ 9017 h 29717"/>
                <a:gd name="connsiteX11" fmla="*/ 4329 w 30427"/>
                <a:gd name="connsiteY11" fmla="*/ 4318 h 29717"/>
                <a:gd name="connsiteX12" fmla="*/ 9294 w 30427"/>
                <a:gd name="connsiteY12" fmla="*/ 1143 h 29717"/>
                <a:gd name="connsiteX13" fmla="*/ 15405 w 30427"/>
                <a:gd name="connsiteY13" fmla="*/ 0 h 29717"/>
                <a:gd name="connsiteX14" fmla="*/ 23171 w 30427"/>
                <a:gd name="connsiteY14" fmla="*/ 1905 h 29717"/>
                <a:gd name="connsiteX15" fmla="*/ 28518 w 30427"/>
                <a:gd name="connsiteY15" fmla="*/ 7112 h 29717"/>
                <a:gd name="connsiteX16" fmla="*/ 30428 w 30427"/>
                <a:gd name="connsiteY16" fmla="*/ 14351 h 29717"/>
                <a:gd name="connsiteX17" fmla="*/ 30046 w 30427"/>
                <a:gd name="connsiteY17" fmla="*/ 17145 h 29717"/>
                <a:gd name="connsiteX18" fmla="*/ 7512 w 30427"/>
                <a:gd name="connsiteY18" fmla="*/ 17145 h 29717"/>
                <a:gd name="connsiteX19" fmla="*/ 15277 w 30427"/>
                <a:gd name="connsiteY19" fmla="*/ 5969 h 29717"/>
                <a:gd name="connsiteX20" fmla="*/ 10567 w 30427"/>
                <a:gd name="connsiteY20" fmla="*/ 7493 h 29717"/>
                <a:gd name="connsiteX21" fmla="*/ 7766 w 30427"/>
                <a:gd name="connsiteY21" fmla="*/ 11684 h 29717"/>
                <a:gd name="connsiteX22" fmla="*/ 22662 w 30427"/>
                <a:gd name="connsiteY22" fmla="*/ 11684 h 29717"/>
                <a:gd name="connsiteX23" fmla="*/ 20115 w 30427"/>
                <a:gd name="connsiteY23" fmla="*/ 7493 h 29717"/>
                <a:gd name="connsiteX24" fmla="*/ 15405 w 30427"/>
                <a:gd name="connsiteY24" fmla="*/ 5969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7" h="29717">
                  <a:moveTo>
                    <a:pt x="7512" y="17018"/>
                  </a:moveTo>
                  <a:cubicBezTo>
                    <a:pt x="7893" y="19050"/>
                    <a:pt x="8785" y="20574"/>
                    <a:pt x="10312" y="21844"/>
                  </a:cubicBezTo>
                  <a:cubicBezTo>
                    <a:pt x="11840" y="23114"/>
                    <a:pt x="13622" y="23622"/>
                    <a:pt x="15787" y="23622"/>
                  </a:cubicBezTo>
                  <a:cubicBezTo>
                    <a:pt x="18842" y="23622"/>
                    <a:pt x="21516" y="22479"/>
                    <a:pt x="23935" y="20066"/>
                  </a:cubicBezTo>
                  <a:lnTo>
                    <a:pt x="28518" y="24511"/>
                  </a:lnTo>
                  <a:cubicBezTo>
                    <a:pt x="25335" y="27940"/>
                    <a:pt x="21134" y="29718"/>
                    <a:pt x="15914" y="29718"/>
                  </a:cubicBezTo>
                  <a:cubicBezTo>
                    <a:pt x="13622" y="29718"/>
                    <a:pt x="11458" y="29337"/>
                    <a:pt x="9421"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5" y="5588"/>
                    <a:pt x="4329" y="4318"/>
                  </a:cubicBezTo>
                  <a:cubicBezTo>
                    <a:pt x="5602" y="3048"/>
                    <a:pt x="7384" y="1905"/>
                    <a:pt x="9294" y="1143"/>
                  </a:cubicBezTo>
                  <a:cubicBezTo>
                    <a:pt x="11204" y="381"/>
                    <a:pt x="13240" y="0"/>
                    <a:pt x="15405" y="0"/>
                  </a:cubicBezTo>
                  <a:cubicBezTo>
                    <a:pt x="18206" y="0"/>
                    <a:pt x="20879" y="635"/>
                    <a:pt x="23171" y="1905"/>
                  </a:cubicBezTo>
                  <a:cubicBezTo>
                    <a:pt x="25463" y="3175"/>
                    <a:pt x="27245" y="4953"/>
                    <a:pt x="28518" y="7112"/>
                  </a:cubicBezTo>
                  <a:cubicBezTo>
                    <a:pt x="29792" y="9271"/>
                    <a:pt x="30428" y="11684"/>
                    <a:pt x="30428" y="14351"/>
                  </a:cubicBezTo>
                  <a:cubicBezTo>
                    <a:pt x="30428" y="15367"/>
                    <a:pt x="30428" y="16256"/>
                    <a:pt x="30046" y="17145"/>
                  </a:cubicBezTo>
                  <a:lnTo>
                    <a:pt x="7512" y="17145"/>
                  </a:lnTo>
                  <a:close/>
                  <a:moveTo>
                    <a:pt x="15277" y="5969"/>
                  </a:moveTo>
                  <a:cubicBezTo>
                    <a:pt x="13495" y="5969"/>
                    <a:pt x="11840" y="6477"/>
                    <a:pt x="10567" y="7493"/>
                  </a:cubicBezTo>
                  <a:cubicBezTo>
                    <a:pt x="9167" y="8509"/>
                    <a:pt x="8275" y="9906"/>
                    <a:pt x="7766" y="11684"/>
                  </a:cubicBezTo>
                  <a:lnTo>
                    <a:pt x="22662" y="11684"/>
                  </a:lnTo>
                  <a:cubicBezTo>
                    <a:pt x="22280" y="9906"/>
                    <a:pt x="21389" y="8509"/>
                    <a:pt x="20115" y="7493"/>
                  </a:cubicBezTo>
                  <a:cubicBezTo>
                    <a:pt x="18842" y="6477"/>
                    <a:pt x="17315" y="5969"/>
                    <a:pt x="15405" y="5969"/>
                  </a:cubicBezTo>
                  <a:close/>
                </a:path>
              </a:pathLst>
            </a:custGeom>
            <a:solidFill>
              <a:srgbClr val="FFFFFF"/>
            </a:solidFill>
            <a:ln w="0" cap="flat">
              <a:noFill/>
              <a:prstDash val="solid"/>
              <a:miter/>
            </a:ln>
          </p:spPr>
          <p:txBody>
            <a:bodyPr rtlCol="0" anchor="ctr"/>
            <a:lstStyle/>
            <a:p>
              <a:endParaRPr lang="en-AD" sz="2400"/>
            </a:p>
          </p:txBody>
        </p:sp>
        <p:sp>
          <p:nvSpPr>
            <p:cNvPr id="55" name="Freeform 54">
              <a:extLst>
                <a:ext uri="{FF2B5EF4-FFF2-40B4-BE49-F238E27FC236}">
                  <a16:creationId xmlns:a16="http://schemas.microsoft.com/office/drawing/2014/main" id="{9BB32066-2BFA-2345-44F5-143A2A046A1C}"/>
                </a:ext>
              </a:extLst>
            </p:cNvPr>
            <p:cNvSpPr/>
            <p:nvPr/>
          </p:nvSpPr>
          <p:spPr>
            <a:xfrm>
              <a:off x="4981824" y="4775708"/>
              <a:ext cx="30682" cy="29971"/>
            </a:xfrm>
            <a:custGeom>
              <a:avLst/>
              <a:gdLst>
                <a:gd name="connsiteX0" fmla="*/ 14132 w 30682"/>
                <a:gd name="connsiteY0" fmla="*/ 127 h 29971"/>
                <a:gd name="connsiteX1" fmla="*/ 23171 w 30682"/>
                <a:gd name="connsiteY1" fmla="*/ 3683 h 29971"/>
                <a:gd name="connsiteX2" fmla="*/ 23171 w 30682"/>
                <a:gd name="connsiteY2" fmla="*/ 762 h 29971"/>
                <a:gd name="connsiteX3" fmla="*/ 30683 w 30682"/>
                <a:gd name="connsiteY3" fmla="*/ 762 h 29971"/>
                <a:gd name="connsiteX4" fmla="*/ 30683 w 30682"/>
                <a:gd name="connsiteY4" fmla="*/ 29337 h 29971"/>
                <a:gd name="connsiteX5" fmla="*/ 23171 w 30682"/>
                <a:gd name="connsiteY5" fmla="*/ 29337 h 29971"/>
                <a:gd name="connsiteX6" fmla="*/ 23171 w 30682"/>
                <a:gd name="connsiteY6" fmla="*/ 26416 h 29971"/>
                <a:gd name="connsiteX7" fmla="*/ 14132 w 30682"/>
                <a:gd name="connsiteY7" fmla="*/ 29972 h 29971"/>
                <a:gd name="connsiteX8" fmla="*/ 6875 w 30682"/>
                <a:gd name="connsiteY8" fmla="*/ 27940 h 29971"/>
                <a:gd name="connsiteX9" fmla="*/ 1782 w 30682"/>
                <a:gd name="connsiteY9" fmla="*/ 22479 h 29971"/>
                <a:gd name="connsiteX10" fmla="*/ 0 w 30682"/>
                <a:gd name="connsiteY10" fmla="*/ 14986 h 29971"/>
                <a:gd name="connsiteX11" fmla="*/ 1782 w 30682"/>
                <a:gd name="connsiteY11" fmla="*/ 7493 h 29971"/>
                <a:gd name="connsiteX12" fmla="*/ 6875 w 30682"/>
                <a:gd name="connsiteY12" fmla="*/ 2032 h 29971"/>
                <a:gd name="connsiteX13" fmla="*/ 14132 w 30682"/>
                <a:gd name="connsiteY13" fmla="*/ 0 h 29971"/>
                <a:gd name="connsiteX14" fmla="*/ 15660 w 30682"/>
                <a:gd name="connsiteY14" fmla="*/ 23368 h 29971"/>
                <a:gd name="connsiteX15" fmla="*/ 20115 w 30682"/>
                <a:gd name="connsiteY15" fmla="*/ 22098 h 29971"/>
                <a:gd name="connsiteX16" fmla="*/ 23171 w 30682"/>
                <a:gd name="connsiteY16" fmla="*/ 18796 h 29971"/>
                <a:gd name="connsiteX17" fmla="*/ 23171 w 30682"/>
                <a:gd name="connsiteY17" fmla="*/ 11430 h 29971"/>
                <a:gd name="connsiteX18" fmla="*/ 20115 w 30682"/>
                <a:gd name="connsiteY18" fmla="*/ 8128 h 29971"/>
                <a:gd name="connsiteX19" fmla="*/ 15660 w 30682"/>
                <a:gd name="connsiteY19" fmla="*/ 6858 h 29971"/>
                <a:gd name="connsiteX20" fmla="*/ 9803 w 30682"/>
                <a:gd name="connsiteY20" fmla="*/ 9271 h 29971"/>
                <a:gd name="connsiteX21" fmla="*/ 7384 w 30682"/>
                <a:gd name="connsiteY21" fmla="*/ 15113 h 29971"/>
                <a:gd name="connsiteX22" fmla="*/ 9803 w 30682"/>
                <a:gd name="connsiteY22" fmla="*/ 20955 h 29971"/>
                <a:gd name="connsiteX23" fmla="*/ 15660 w 30682"/>
                <a:gd name="connsiteY23" fmla="*/ 23368 h 2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1">
                  <a:moveTo>
                    <a:pt x="14132" y="127"/>
                  </a:moveTo>
                  <a:cubicBezTo>
                    <a:pt x="17696" y="127"/>
                    <a:pt x="20752" y="1270"/>
                    <a:pt x="23171" y="3683"/>
                  </a:cubicBezTo>
                  <a:lnTo>
                    <a:pt x="23171" y="762"/>
                  </a:lnTo>
                  <a:lnTo>
                    <a:pt x="30683" y="762"/>
                  </a:lnTo>
                  <a:lnTo>
                    <a:pt x="30683" y="29337"/>
                  </a:lnTo>
                  <a:lnTo>
                    <a:pt x="23171" y="29337"/>
                  </a:lnTo>
                  <a:lnTo>
                    <a:pt x="23171" y="26416"/>
                  </a:lnTo>
                  <a:cubicBezTo>
                    <a:pt x="20752" y="28829"/>
                    <a:pt x="17696" y="29972"/>
                    <a:pt x="14132" y="29972"/>
                  </a:cubicBezTo>
                  <a:cubicBezTo>
                    <a:pt x="11458" y="29972"/>
                    <a:pt x="9039" y="29337"/>
                    <a:pt x="6875" y="27940"/>
                  </a:cubicBezTo>
                  <a:cubicBezTo>
                    <a:pt x="4711" y="26543"/>
                    <a:pt x="2928" y="24765"/>
                    <a:pt x="1782" y="22479"/>
                  </a:cubicBezTo>
                  <a:cubicBezTo>
                    <a:pt x="509" y="20193"/>
                    <a:pt x="0" y="17653"/>
                    <a:pt x="0" y="14986"/>
                  </a:cubicBezTo>
                  <a:cubicBezTo>
                    <a:pt x="0" y="12319"/>
                    <a:pt x="636" y="9779"/>
                    <a:pt x="1782" y="7493"/>
                  </a:cubicBezTo>
                  <a:cubicBezTo>
                    <a:pt x="3055" y="5207"/>
                    <a:pt x="4711" y="3429"/>
                    <a:pt x="6875" y="2032"/>
                  </a:cubicBezTo>
                  <a:cubicBezTo>
                    <a:pt x="9039" y="635"/>
                    <a:pt x="11458" y="0"/>
                    <a:pt x="14132" y="0"/>
                  </a:cubicBezTo>
                  <a:close/>
                  <a:moveTo>
                    <a:pt x="15660" y="23368"/>
                  </a:moveTo>
                  <a:cubicBezTo>
                    <a:pt x="17315" y="23368"/>
                    <a:pt x="18843" y="22987"/>
                    <a:pt x="20115" y="22098"/>
                  </a:cubicBezTo>
                  <a:cubicBezTo>
                    <a:pt x="21389" y="21209"/>
                    <a:pt x="22407" y="20193"/>
                    <a:pt x="23171" y="18796"/>
                  </a:cubicBezTo>
                  <a:lnTo>
                    <a:pt x="23171" y="11430"/>
                  </a:lnTo>
                  <a:cubicBezTo>
                    <a:pt x="22535" y="10033"/>
                    <a:pt x="21516" y="8890"/>
                    <a:pt x="20115"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56" name="Freeform 55">
              <a:extLst>
                <a:ext uri="{FF2B5EF4-FFF2-40B4-BE49-F238E27FC236}">
                  <a16:creationId xmlns:a16="http://schemas.microsoft.com/office/drawing/2014/main" id="{F48B236B-5E1F-66DD-2A1F-4736323CC57B}"/>
                </a:ext>
              </a:extLst>
            </p:cNvPr>
            <p:cNvSpPr/>
            <p:nvPr/>
          </p:nvSpPr>
          <p:spPr>
            <a:xfrm>
              <a:off x="5020019" y="4764785"/>
              <a:ext cx="7638" cy="40259"/>
            </a:xfrm>
            <a:custGeom>
              <a:avLst/>
              <a:gdLst>
                <a:gd name="connsiteX0" fmla="*/ 0 w 7638"/>
                <a:gd name="connsiteY0" fmla="*/ 40259 h 40259"/>
                <a:gd name="connsiteX1" fmla="*/ 0 w 7638"/>
                <a:gd name="connsiteY1" fmla="*/ 0 h 40259"/>
                <a:gd name="connsiteX2" fmla="*/ 7639 w 7638"/>
                <a:gd name="connsiteY2" fmla="*/ 0 h 40259"/>
                <a:gd name="connsiteX3" fmla="*/ 7639 w 7638"/>
                <a:gd name="connsiteY3" fmla="*/ 40259 h 40259"/>
                <a:gd name="connsiteX4" fmla="*/ 0 w 7638"/>
                <a:gd name="connsiteY4" fmla="*/ 40259 h 4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8" h="40259">
                  <a:moveTo>
                    <a:pt x="0" y="40259"/>
                  </a:moveTo>
                  <a:lnTo>
                    <a:pt x="0" y="0"/>
                  </a:lnTo>
                  <a:lnTo>
                    <a:pt x="7639" y="0"/>
                  </a:lnTo>
                  <a:lnTo>
                    <a:pt x="7639" y="40259"/>
                  </a:lnTo>
                  <a:lnTo>
                    <a:pt x="0" y="40259"/>
                  </a:lnTo>
                  <a:close/>
                </a:path>
              </a:pathLst>
            </a:custGeom>
            <a:solidFill>
              <a:srgbClr val="FFFFFF"/>
            </a:solidFill>
            <a:ln w="0" cap="flat">
              <a:noFill/>
              <a:prstDash val="solid"/>
              <a:miter/>
            </a:ln>
          </p:spPr>
          <p:txBody>
            <a:bodyPr rtlCol="0" anchor="ctr"/>
            <a:lstStyle/>
            <a:p>
              <a:endParaRPr lang="en-AD" sz="2400"/>
            </a:p>
          </p:txBody>
        </p:sp>
        <p:sp>
          <p:nvSpPr>
            <p:cNvPr id="57" name="Freeform 56">
              <a:extLst>
                <a:ext uri="{FF2B5EF4-FFF2-40B4-BE49-F238E27FC236}">
                  <a16:creationId xmlns:a16="http://schemas.microsoft.com/office/drawing/2014/main" id="{CE27DC6D-91A1-A789-C871-81DC4755665A}"/>
                </a:ext>
              </a:extLst>
            </p:cNvPr>
            <p:cNvSpPr/>
            <p:nvPr/>
          </p:nvSpPr>
          <p:spPr>
            <a:xfrm>
              <a:off x="5032496" y="4768215"/>
              <a:ext cx="19097" cy="37464"/>
            </a:xfrm>
            <a:custGeom>
              <a:avLst/>
              <a:gdLst>
                <a:gd name="connsiteX0" fmla="*/ 12095 w 19097"/>
                <a:gd name="connsiteY0" fmla="*/ 14859 h 37464"/>
                <a:gd name="connsiteX1" fmla="*/ 12095 w 19097"/>
                <a:gd name="connsiteY1" fmla="*/ 26924 h 37464"/>
                <a:gd name="connsiteX2" fmla="*/ 13113 w 19097"/>
                <a:gd name="connsiteY2" fmla="*/ 29972 h 37464"/>
                <a:gd name="connsiteX3" fmla="*/ 16423 w 19097"/>
                <a:gd name="connsiteY3" fmla="*/ 30861 h 37464"/>
                <a:gd name="connsiteX4" fmla="*/ 19097 w 19097"/>
                <a:gd name="connsiteY4" fmla="*/ 30734 h 37464"/>
                <a:gd name="connsiteX5" fmla="*/ 19097 w 19097"/>
                <a:gd name="connsiteY5" fmla="*/ 37084 h 37464"/>
                <a:gd name="connsiteX6" fmla="*/ 15150 w 19097"/>
                <a:gd name="connsiteY6" fmla="*/ 37465 h 37464"/>
                <a:gd name="connsiteX7" fmla="*/ 4456 w 19097"/>
                <a:gd name="connsiteY7" fmla="*/ 27432 h 37464"/>
                <a:gd name="connsiteX8" fmla="*/ 4456 w 19097"/>
                <a:gd name="connsiteY8" fmla="*/ 14859 h 37464"/>
                <a:gd name="connsiteX9" fmla="*/ 0 w 19097"/>
                <a:gd name="connsiteY9" fmla="*/ 14859 h 37464"/>
                <a:gd name="connsiteX10" fmla="*/ 0 w 19097"/>
                <a:gd name="connsiteY10" fmla="*/ 8255 h 37464"/>
                <a:gd name="connsiteX11" fmla="*/ 4456 w 19097"/>
                <a:gd name="connsiteY11" fmla="*/ 8255 h 37464"/>
                <a:gd name="connsiteX12" fmla="*/ 4456 w 19097"/>
                <a:gd name="connsiteY12" fmla="*/ 635 h 37464"/>
                <a:gd name="connsiteX13" fmla="*/ 12095 w 19097"/>
                <a:gd name="connsiteY13" fmla="*/ 0 h 37464"/>
                <a:gd name="connsiteX14" fmla="*/ 12095 w 19097"/>
                <a:gd name="connsiteY14" fmla="*/ 8255 h 37464"/>
                <a:gd name="connsiteX15" fmla="*/ 18842 w 19097"/>
                <a:gd name="connsiteY15" fmla="*/ 8255 h 37464"/>
                <a:gd name="connsiteX16" fmla="*/ 18842 w 19097"/>
                <a:gd name="connsiteY16" fmla="*/ 14859 h 37464"/>
                <a:gd name="connsiteX17" fmla="*/ 12095 w 19097"/>
                <a:gd name="connsiteY17" fmla="*/ 14859 h 3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4">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0"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58" name="Freeform 57">
              <a:extLst>
                <a:ext uri="{FF2B5EF4-FFF2-40B4-BE49-F238E27FC236}">
                  <a16:creationId xmlns:a16="http://schemas.microsoft.com/office/drawing/2014/main" id="{21953200-4705-BE48-39AA-2A212B04765C}"/>
                </a:ext>
              </a:extLst>
            </p:cNvPr>
            <p:cNvSpPr/>
            <p:nvPr/>
          </p:nvSpPr>
          <p:spPr>
            <a:xfrm>
              <a:off x="5056812" y="4764785"/>
              <a:ext cx="27118" cy="40259"/>
            </a:xfrm>
            <a:custGeom>
              <a:avLst/>
              <a:gdLst>
                <a:gd name="connsiteX0" fmla="*/ 7639 w 27118"/>
                <a:gd name="connsiteY0" fmla="*/ 21717 h 40259"/>
                <a:gd name="connsiteX1" fmla="*/ 7639 w 27118"/>
                <a:gd name="connsiteY1" fmla="*/ 40259 h 40259"/>
                <a:gd name="connsiteX2" fmla="*/ 0 w 27118"/>
                <a:gd name="connsiteY2" fmla="*/ 40259 h 40259"/>
                <a:gd name="connsiteX3" fmla="*/ 0 w 27118"/>
                <a:gd name="connsiteY3" fmla="*/ 0 h 40259"/>
                <a:gd name="connsiteX4" fmla="*/ 7639 w 27118"/>
                <a:gd name="connsiteY4" fmla="*/ 0 h 40259"/>
                <a:gd name="connsiteX5" fmla="*/ 7639 w 27118"/>
                <a:gd name="connsiteY5" fmla="*/ 14859 h 40259"/>
                <a:gd name="connsiteX6" fmla="*/ 11204 w 27118"/>
                <a:gd name="connsiteY6" fmla="*/ 12065 h 40259"/>
                <a:gd name="connsiteX7" fmla="*/ 15660 w 27118"/>
                <a:gd name="connsiteY7" fmla="*/ 11049 h 40259"/>
                <a:gd name="connsiteX8" fmla="*/ 23935 w 27118"/>
                <a:gd name="connsiteY8" fmla="*/ 14224 h 40259"/>
                <a:gd name="connsiteX9" fmla="*/ 27118 w 27118"/>
                <a:gd name="connsiteY9" fmla="*/ 22606 h 40259"/>
                <a:gd name="connsiteX10" fmla="*/ 27118 w 27118"/>
                <a:gd name="connsiteY10" fmla="*/ 40132 h 40259"/>
                <a:gd name="connsiteX11" fmla="*/ 19479 w 27118"/>
                <a:gd name="connsiteY11" fmla="*/ 40132 h 40259"/>
                <a:gd name="connsiteX12" fmla="*/ 19479 w 27118"/>
                <a:gd name="connsiteY12" fmla="*/ 23241 h 40259"/>
                <a:gd name="connsiteX13" fmla="*/ 17951 w 27118"/>
                <a:gd name="connsiteY13" fmla="*/ 19177 h 40259"/>
                <a:gd name="connsiteX14" fmla="*/ 13878 w 27118"/>
                <a:gd name="connsiteY14" fmla="*/ 17526 h 40259"/>
                <a:gd name="connsiteX15" fmla="*/ 10440 w 27118"/>
                <a:gd name="connsiteY15" fmla="*/ 18669 h 40259"/>
                <a:gd name="connsiteX16" fmla="*/ 7766 w 27118"/>
                <a:gd name="connsiteY16" fmla="*/ 21463 h 4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40259">
                  <a:moveTo>
                    <a:pt x="7639" y="21717"/>
                  </a:moveTo>
                  <a:lnTo>
                    <a:pt x="7639" y="40259"/>
                  </a:lnTo>
                  <a:lnTo>
                    <a:pt x="0" y="40259"/>
                  </a:lnTo>
                  <a:lnTo>
                    <a:pt x="0" y="0"/>
                  </a:lnTo>
                  <a:lnTo>
                    <a:pt x="7639" y="0"/>
                  </a:lnTo>
                  <a:lnTo>
                    <a:pt x="7639" y="14859"/>
                  </a:lnTo>
                  <a:cubicBezTo>
                    <a:pt x="8658" y="13716"/>
                    <a:pt x="9803" y="12827"/>
                    <a:pt x="11204" y="12065"/>
                  </a:cubicBezTo>
                  <a:cubicBezTo>
                    <a:pt x="12604" y="11430"/>
                    <a:pt x="14132" y="11049"/>
                    <a:pt x="15660" y="11049"/>
                  </a:cubicBezTo>
                  <a:cubicBezTo>
                    <a:pt x="18970" y="11049"/>
                    <a:pt x="21771" y="12065"/>
                    <a:pt x="23935" y="14224"/>
                  </a:cubicBezTo>
                  <a:cubicBezTo>
                    <a:pt x="26100" y="16383"/>
                    <a:pt x="27118" y="19177"/>
                    <a:pt x="27118" y="22606"/>
                  </a:cubicBezTo>
                  <a:lnTo>
                    <a:pt x="27118" y="40132"/>
                  </a:lnTo>
                  <a:lnTo>
                    <a:pt x="19479" y="40132"/>
                  </a:lnTo>
                  <a:lnTo>
                    <a:pt x="19479" y="23241"/>
                  </a:lnTo>
                  <a:cubicBezTo>
                    <a:pt x="19479" y="21590"/>
                    <a:pt x="18970" y="20320"/>
                    <a:pt x="17951" y="19177"/>
                  </a:cubicBezTo>
                  <a:cubicBezTo>
                    <a:pt x="16933" y="18034"/>
                    <a:pt x="15532" y="17526"/>
                    <a:pt x="13878" y="17526"/>
                  </a:cubicBezTo>
                  <a:cubicBezTo>
                    <a:pt x="12731" y="17526"/>
                    <a:pt x="11586" y="17907"/>
                    <a:pt x="10440" y="18669"/>
                  </a:cubicBezTo>
                  <a:cubicBezTo>
                    <a:pt x="9294" y="19431"/>
                    <a:pt x="8403" y="20320"/>
                    <a:pt x="7766" y="21463"/>
                  </a:cubicBezTo>
                  <a:close/>
                </a:path>
              </a:pathLst>
            </a:custGeom>
            <a:solidFill>
              <a:srgbClr val="FFFFFF"/>
            </a:solidFill>
            <a:ln w="0" cap="flat">
              <a:noFill/>
              <a:prstDash val="solid"/>
              <a:miter/>
            </a:ln>
          </p:spPr>
          <p:txBody>
            <a:bodyPr rtlCol="0" anchor="ctr"/>
            <a:lstStyle/>
            <a:p>
              <a:endParaRPr lang="en-AD" sz="2400"/>
            </a:p>
          </p:txBody>
        </p:sp>
        <p:sp>
          <p:nvSpPr>
            <p:cNvPr id="59" name="Freeform 58">
              <a:extLst>
                <a:ext uri="{FF2B5EF4-FFF2-40B4-BE49-F238E27FC236}">
                  <a16:creationId xmlns:a16="http://schemas.microsoft.com/office/drawing/2014/main" id="{ED4A5A14-CC03-B767-275D-17A884DDB7F3}"/>
                </a:ext>
              </a:extLst>
            </p:cNvPr>
            <p:cNvSpPr/>
            <p:nvPr/>
          </p:nvSpPr>
          <p:spPr>
            <a:xfrm>
              <a:off x="4914984"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0" name="Freeform 59">
              <a:extLst>
                <a:ext uri="{FF2B5EF4-FFF2-40B4-BE49-F238E27FC236}">
                  <a16:creationId xmlns:a16="http://schemas.microsoft.com/office/drawing/2014/main" id="{9D1370A1-62C2-4026-0BA1-D0D7372B0F4C}"/>
                </a:ext>
              </a:extLst>
            </p:cNvPr>
            <p:cNvSpPr/>
            <p:nvPr/>
          </p:nvSpPr>
          <p:spPr>
            <a:xfrm>
              <a:off x="4930771" y="4833873"/>
              <a:ext cx="27118" cy="29210"/>
            </a:xfrm>
            <a:custGeom>
              <a:avLst/>
              <a:gdLst>
                <a:gd name="connsiteX0" fmla="*/ 7639 w 27118"/>
                <a:gd name="connsiteY0" fmla="*/ 10668 h 29210"/>
                <a:gd name="connsiteX1" fmla="*/ 7639 w 27118"/>
                <a:gd name="connsiteY1" fmla="*/ 29210 h 29210"/>
                <a:gd name="connsiteX2" fmla="*/ 0 w 27118"/>
                <a:gd name="connsiteY2" fmla="*/ 29210 h 29210"/>
                <a:gd name="connsiteX3" fmla="*/ 0 w 27118"/>
                <a:gd name="connsiteY3" fmla="*/ 635 h 29210"/>
                <a:gd name="connsiteX4" fmla="*/ 7639 w 27118"/>
                <a:gd name="connsiteY4" fmla="*/ 635 h 29210"/>
                <a:gd name="connsiteX5" fmla="*/ 7639 w 27118"/>
                <a:gd name="connsiteY5" fmla="*/ 3810 h 29210"/>
                <a:gd name="connsiteX6" fmla="*/ 11204 w 27118"/>
                <a:gd name="connsiteY6" fmla="*/ 1016 h 29210"/>
                <a:gd name="connsiteX7" fmla="*/ 15660 w 27118"/>
                <a:gd name="connsiteY7" fmla="*/ 0 h 29210"/>
                <a:gd name="connsiteX8" fmla="*/ 23935 w 27118"/>
                <a:gd name="connsiteY8" fmla="*/ 3175 h 29210"/>
                <a:gd name="connsiteX9" fmla="*/ 27118 w 27118"/>
                <a:gd name="connsiteY9" fmla="*/ 11557 h 29210"/>
                <a:gd name="connsiteX10" fmla="*/ 27118 w 27118"/>
                <a:gd name="connsiteY10" fmla="*/ 29083 h 29210"/>
                <a:gd name="connsiteX11" fmla="*/ 19479 w 27118"/>
                <a:gd name="connsiteY11" fmla="*/ 29083 h 29210"/>
                <a:gd name="connsiteX12" fmla="*/ 19479 w 27118"/>
                <a:gd name="connsiteY12" fmla="*/ 12192 h 29210"/>
                <a:gd name="connsiteX13" fmla="*/ 17951 w 27118"/>
                <a:gd name="connsiteY13" fmla="*/ 8128 h 29210"/>
                <a:gd name="connsiteX14" fmla="*/ 13877 w 27118"/>
                <a:gd name="connsiteY14" fmla="*/ 6477 h 29210"/>
                <a:gd name="connsiteX15" fmla="*/ 10440 w 27118"/>
                <a:gd name="connsiteY15" fmla="*/ 7620 h 29210"/>
                <a:gd name="connsiteX16" fmla="*/ 7766 w 27118"/>
                <a:gd name="connsiteY16" fmla="*/ 10414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18" h="29210">
                  <a:moveTo>
                    <a:pt x="7639" y="10668"/>
                  </a:moveTo>
                  <a:lnTo>
                    <a:pt x="7639" y="29210"/>
                  </a:lnTo>
                  <a:lnTo>
                    <a:pt x="0" y="29210"/>
                  </a:lnTo>
                  <a:lnTo>
                    <a:pt x="0" y="635"/>
                  </a:lnTo>
                  <a:lnTo>
                    <a:pt x="7639" y="635"/>
                  </a:lnTo>
                  <a:lnTo>
                    <a:pt x="7639" y="3810"/>
                  </a:lnTo>
                  <a:cubicBezTo>
                    <a:pt x="8657" y="2667"/>
                    <a:pt x="9803" y="1778"/>
                    <a:pt x="11204" y="1016"/>
                  </a:cubicBezTo>
                  <a:cubicBezTo>
                    <a:pt x="12604" y="381"/>
                    <a:pt x="14132" y="0"/>
                    <a:pt x="15660" y="0"/>
                  </a:cubicBezTo>
                  <a:cubicBezTo>
                    <a:pt x="18970" y="0"/>
                    <a:pt x="21771" y="1016"/>
                    <a:pt x="23935" y="3175"/>
                  </a:cubicBezTo>
                  <a:cubicBezTo>
                    <a:pt x="26100" y="5334"/>
                    <a:pt x="27118" y="8128"/>
                    <a:pt x="27118" y="11557"/>
                  </a:cubicBezTo>
                  <a:lnTo>
                    <a:pt x="27118" y="29083"/>
                  </a:lnTo>
                  <a:lnTo>
                    <a:pt x="19479" y="29083"/>
                  </a:lnTo>
                  <a:lnTo>
                    <a:pt x="19479" y="12192"/>
                  </a:lnTo>
                  <a:cubicBezTo>
                    <a:pt x="19479" y="10541"/>
                    <a:pt x="18970" y="9271"/>
                    <a:pt x="17951" y="8128"/>
                  </a:cubicBezTo>
                  <a:cubicBezTo>
                    <a:pt x="16933" y="6985"/>
                    <a:pt x="15532" y="6477"/>
                    <a:pt x="13877" y="6477"/>
                  </a:cubicBezTo>
                  <a:cubicBezTo>
                    <a:pt x="12731" y="6477"/>
                    <a:pt x="11586" y="6858"/>
                    <a:pt x="10440" y="7620"/>
                  </a:cubicBezTo>
                  <a:cubicBezTo>
                    <a:pt x="9294" y="8382"/>
                    <a:pt x="8403" y="9271"/>
                    <a:pt x="7766" y="10414"/>
                  </a:cubicBezTo>
                  <a:close/>
                </a:path>
              </a:pathLst>
            </a:custGeom>
            <a:solidFill>
              <a:srgbClr val="FFFFFF"/>
            </a:solidFill>
            <a:ln w="0" cap="flat">
              <a:noFill/>
              <a:prstDash val="solid"/>
              <a:miter/>
            </a:ln>
          </p:spPr>
          <p:txBody>
            <a:bodyPr rtlCol="0" anchor="ctr"/>
            <a:lstStyle/>
            <a:p>
              <a:endParaRPr lang="en-AD" sz="2400"/>
            </a:p>
          </p:txBody>
        </p:sp>
        <p:sp>
          <p:nvSpPr>
            <p:cNvPr id="61" name="Freeform 60">
              <a:extLst>
                <a:ext uri="{FF2B5EF4-FFF2-40B4-BE49-F238E27FC236}">
                  <a16:creationId xmlns:a16="http://schemas.microsoft.com/office/drawing/2014/main" id="{B16F7522-3216-DA10-4718-060EC5D68D75}"/>
                </a:ext>
              </a:extLst>
            </p:cNvPr>
            <p:cNvSpPr/>
            <p:nvPr/>
          </p:nvSpPr>
          <p:spPr>
            <a:xfrm>
              <a:off x="4964128"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7 w 8912"/>
                <a:gd name="connsiteY9" fmla="*/ 40640 h 40640"/>
                <a:gd name="connsiteX10" fmla="*/ 637 w 8912"/>
                <a:gd name="connsiteY10" fmla="*/ 12065 h 40640"/>
                <a:gd name="connsiteX11" fmla="*/ 8276 w 8912"/>
                <a:gd name="connsiteY11" fmla="*/ 12065 h 40640"/>
                <a:gd name="connsiteX12" fmla="*/ 8276 w 8912"/>
                <a:gd name="connsiteY12" fmla="*/ 40640 h 40640"/>
                <a:gd name="connsiteX13" fmla="*/ 637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5"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5" y="8509"/>
                    <a:pt x="1273" y="7620"/>
                  </a:cubicBezTo>
                  <a:close/>
                  <a:moveTo>
                    <a:pt x="637" y="40640"/>
                  </a:moveTo>
                  <a:lnTo>
                    <a:pt x="637" y="12065"/>
                  </a:lnTo>
                  <a:lnTo>
                    <a:pt x="8276" y="12065"/>
                  </a:lnTo>
                  <a:lnTo>
                    <a:pt x="8276" y="40640"/>
                  </a:lnTo>
                  <a:lnTo>
                    <a:pt x="637" y="40640"/>
                  </a:lnTo>
                  <a:close/>
                </a:path>
              </a:pathLst>
            </a:custGeom>
            <a:solidFill>
              <a:srgbClr val="FFFFFF"/>
            </a:solidFill>
            <a:ln w="0" cap="flat">
              <a:noFill/>
              <a:prstDash val="solid"/>
              <a:miter/>
            </a:ln>
          </p:spPr>
          <p:txBody>
            <a:bodyPr rtlCol="0" anchor="ctr"/>
            <a:lstStyle/>
            <a:p>
              <a:endParaRPr lang="en-AD" sz="2400"/>
            </a:p>
          </p:txBody>
        </p:sp>
        <p:sp>
          <p:nvSpPr>
            <p:cNvPr id="62" name="Freeform 61">
              <a:extLst>
                <a:ext uri="{FF2B5EF4-FFF2-40B4-BE49-F238E27FC236}">
                  <a16:creationId xmlns:a16="http://schemas.microsoft.com/office/drawing/2014/main" id="{5316F852-93D2-FCD4-18C6-BF43AF43BB20}"/>
                </a:ext>
              </a:extLst>
            </p:cNvPr>
            <p:cNvSpPr/>
            <p:nvPr/>
          </p:nvSpPr>
          <p:spPr>
            <a:xfrm>
              <a:off x="4977368"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4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3 w 19097"/>
                <a:gd name="connsiteY15" fmla="*/ 8255 h 37465"/>
                <a:gd name="connsiteX16" fmla="*/ 18843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4"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3" y="8255"/>
                  </a:lnTo>
                  <a:lnTo>
                    <a:pt x="18843"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3" name="Freeform 62">
              <a:extLst>
                <a:ext uri="{FF2B5EF4-FFF2-40B4-BE49-F238E27FC236}">
                  <a16:creationId xmlns:a16="http://schemas.microsoft.com/office/drawing/2014/main" id="{9FDE802C-C9DF-A05C-1C4F-D32AA7BAE330}"/>
                </a:ext>
              </a:extLst>
            </p:cNvPr>
            <p:cNvSpPr/>
            <p:nvPr/>
          </p:nvSpPr>
          <p:spPr>
            <a:xfrm>
              <a:off x="5001049" y="4822444"/>
              <a:ext cx="8911" cy="40640"/>
            </a:xfrm>
            <a:custGeom>
              <a:avLst/>
              <a:gdLst>
                <a:gd name="connsiteX0" fmla="*/ 1273 w 8911"/>
                <a:gd name="connsiteY0" fmla="*/ 7620 h 40640"/>
                <a:gd name="connsiteX1" fmla="*/ 0 w 8911"/>
                <a:gd name="connsiteY1" fmla="*/ 4445 h 40640"/>
                <a:gd name="connsiteX2" fmla="*/ 1273 w 8911"/>
                <a:gd name="connsiteY2" fmla="*/ 1270 h 40640"/>
                <a:gd name="connsiteX3" fmla="*/ 4456 w 8911"/>
                <a:gd name="connsiteY3" fmla="*/ 0 h 40640"/>
                <a:gd name="connsiteX4" fmla="*/ 7639 w 8911"/>
                <a:gd name="connsiteY4" fmla="*/ 1270 h 40640"/>
                <a:gd name="connsiteX5" fmla="*/ 8912 w 8911"/>
                <a:gd name="connsiteY5" fmla="*/ 4445 h 40640"/>
                <a:gd name="connsiteX6" fmla="*/ 7639 w 8911"/>
                <a:gd name="connsiteY6" fmla="*/ 7620 h 40640"/>
                <a:gd name="connsiteX7" fmla="*/ 4456 w 8911"/>
                <a:gd name="connsiteY7" fmla="*/ 8890 h 40640"/>
                <a:gd name="connsiteX8" fmla="*/ 1273 w 8911"/>
                <a:gd name="connsiteY8" fmla="*/ 7620 h 40640"/>
                <a:gd name="connsiteX9" fmla="*/ 764 w 8911"/>
                <a:gd name="connsiteY9" fmla="*/ 40640 h 40640"/>
                <a:gd name="connsiteX10" fmla="*/ 764 w 8911"/>
                <a:gd name="connsiteY10" fmla="*/ 12065 h 40640"/>
                <a:gd name="connsiteX11" fmla="*/ 8402 w 8911"/>
                <a:gd name="connsiteY11" fmla="*/ 12065 h 40640"/>
                <a:gd name="connsiteX12" fmla="*/ 8402 w 8911"/>
                <a:gd name="connsiteY12" fmla="*/ 40640 h 40640"/>
                <a:gd name="connsiteX13" fmla="*/ 764 w 8911"/>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1"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764" y="40640"/>
                  </a:moveTo>
                  <a:lnTo>
                    <a:pt x="764" y="12065"/>
                  </a:lnTo>
                  <a:lnTo>
                    <a:pt x="8402" y="12065"/>
                  </a:lnTo>
                  <a:lnTo>
                    <a:pt x="8402" y="40640"/>
                  </a:lnTo>
                  <a:lnTo>
                    <a:pt x="764" y="40640"/>
                  </a:lnTo>
                  <a:close/>
                </a:path>
              </a:pathLst>
            </a:custGeom>
            <a:solidFill>
              <a:srgbClr val="FFFFFF"/>
            </a:solidFill>
            <a:ln w="0" cap="flat">
              <a:noFill/>
              <a:prstDash val="solid"/>
              <a:miter/>
            </a:ln>
          </p:spPr>
          <p:txBody>
            <a:bodyPr rtlCol="0" anchor="ctr"/>
            <a:lstStyle/>
            <a:p>
              <a:endParaRPr lang="en-AD" sz="2400"/>
            </a:p>
          </p:txBody>
        </p:sp>
        <p:sp>
          <p:nvSpPr>
            <p:cNvPr id="64" name="Freeform 63">
              <a:extLst>
                <a:ext uri="{FF2B5EF4-FFF2-40B4-BE49-F238E27FC236}">
                  <a16:creationId xmlns:a16="http://schemas.microsoft.com/office/drawing/2014/main" id="{C0E24F27-1727-2B62-5E18-61B615C727EB}"/>
                </a:ext>
              </a:extLst>
            </p:cNvPr>
            <p:cNvSpPr/>
            <p:nvPr/>
          </p:nvSpPr>
          <p:spPr>
            <a:xfrm>
              <a:off x="5015181" y="4833746"/>
              <a:ext cx="30682" cy="29972"/>
            </a:xfrm>
            <a:custGeom>
              <a:avLst/>
              <a:gdLst>
                <a:gd name="connsiteX0" fmla="*/ 14132 w 30682"/>
                <a:gd name="connsiteY0" fmla="*/ 127 h 29972"/>
                <a:gd name="connsiteX1" fmla="*/ 23171 w 30682"/>
                <a:gd name="connsiteY1" fmla="*/ 3683 h 29972"/>
                <a:gd name="connsiteX2" fmla="*/ 23171 w 30682"/>
                <a:gd name="connsiteY2" fmla="*/ 762 h 29972"/>
                <a:gd name="connsiteX3" fmla="*/ 30683 w 30682"/>
                <a:gd name="connsiteY3" fmla="*/ 762 h 29972"/>
                <a:gd name="connsiteX4" fmla="*/ 30683 w 30682"/>
                <a:gd name="connsiteY4" fmla="*/ 29337 h 29972"/>
                <a:gd name="connsiteX5" fmla="*/ 23171 w 30682"/>
                <a:gd name="connsiteY5" fmla="*/ 29337 h 29972"/>
                <a:gd name="connsiteX6" fmla="*/ 23171 w 30682"/>
                <a:gd name="connsiteY6" fmla="*/ 26416 h 29972"/>
                <a:gd name="connsiteX7" fmla="*/ 14132 w 30682"/>
                <a:gd name="connsiteY7" fmla="*/ 29972 h 29972"/>
                <a:gd name="connsiteX8" fmla="*/ 6875 w 30682"/>
                <a:gd name="connsiteY8" fmla="*/ 27940 h 29972"/>
                <a:gd name="connsiteX9" fmla="*/ 1783 w 30682"/>
                <a:gd name="connsiteY9" fmla="*/ 22479 h 29972"/>
                <a:gd name="connsiteX10" fmla="*/ 0 w 30682"/>
                <a:gd name="connsiteY10" fmla="*/ 14986 h 29972"/>
                <a:gd name="connsiteX11" fmla="*/ 1783 w 30682"/>
                <a:gd name="connsiteY11" fmla="*/ 7493 h 29972"/>
                <a:gd name="connsiteX12" fmla="*/ 6875 w 30682"/>
                <a:gd name="connsiteY12" fmla="*/ 2032 h 29972"/>
                <a:gd name="connsiteX13" fmla="*/ 14132 w 30682"/>
                <a:gd name="connsiteY13" fmla="*/ 0 h 29972"/>
                <a:gd name="connsiteX14" fmla="*/ 15660 w 30682"/>
                <a:gd name="connsiteY14" fmla="*/ 23368 h 29972"/>
                <a:gd name="connsiteX15" fmla="*/ 20116 w 30682"/>
                <a:gd name="connsiteY15" fmla="*/ 22098 h 29972"/>
                <a:gd name="connsiteX16" fmla="*/ 23171 w 30682"/>
                <a:gd name="connsiteY16" fmla="*/ 18796 h 29972"/>
                <a:gd name="connsiteX17" fmla="*/ 23171 w 30682"/>
                <a:gd name="connsiteY17" fmla="*/ 11430 h 29972"/>
                <a:gd name="connsiteX18" fmla="*/ 20116 w 30682"/>
                <a:gd name="connsiteY18" fmla="*/ 8128 h 29972"/>
                <a:gd name="connsiteX19" fmla="*/ 15660 w 30682"/>
                <a:gd name="connsiteY19" fmla="*/ 6858 h 29972"/>
                <a:gd name="connsiteX20" fmla="*/ 9803 w 30682"/>
                <a:gd name="connsiteY20" fmla="*/ 9271 h 29972"/>
                <a:gd name="connsiteX21" fmla="*/ 7384 w 30682"/>
                <a:gd name="connsiteY21" fmla="*/ 15113 h 29972"/>
                <a:gd name="connsiteX22" fmla="*/ 9803 w 30682"/>
                <a:gd name="connsiteY22" fmla="*/ 20955 h 29972"/>
                <a:gd name="connsiteX23" fmla="*/ 15660 w 30682"/>
                <a:gd name="connsiteY23" fmla="*/ 23368 h 2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682" h="29972">
                  <a:moveTo>
                    <a:pt x="14132" y="127"/>
                  </a:moveTo>
                  <a:cubicBezTo>
                    <a:pt x="17697" y="127"/>
                    <a:pt x="20752" y="1270"/>
                    <a:pt x="23171" y="3683"/>
                  </a:cubicBezTo>
                  <a:lnTo>
                    <a:pt x="23171" y="762"/>
                  </a:lnTo>
                  <a:lnTo>
                    <a:pt x="30683" y="762"/>
                  </a:lnTo>
                  <a:lnTo>
                    <a:pt x="30683" y="29337"/>
                  </a:lnTo>
                  <a:lnTo>
                    <a:pt x="23171" y="29337"/>
                  </a:lnTo>
                  <a:lnTo>
                    <a:pt x="23171" y="26416"/>
                  </a:lnTo>
                  <a:cubicBezTo>
                    <a:pt x="20752" y="28829"/>
                    <a:pt x="17697" y="29972"/>
                    <a:pt x="14132" y="29972"/>
                  </a:cubicBezTo>
                  <a:cubicBezTo>
                    <a:pt x="11458" y="29972"/>
                    <a:pt x="9039" y="29337"/>
                    <a:pt x="6875" y="27940"/>
                  </a:cubicBezTo>
                  <a:cubicBezTo>
                    <a:pt x="4711" y="26543"/>
                    <a:pt x="2928" y="24765"/>
                    <a:pt x="1783" y="22479"/>
                  </a:cubicBezTo>
                  <a:cubicBezTo>
                    <a:pt x="509" y="20193"/>
                    <a:pt x="0" y="17653"/>
                    <a:pt x="0" y="14986"/>
                  </a:cubicBezTo>
                  <a:cubicBezTo>
                    <a:pt x="0" y="12319"/>
                    <a:pt x="636" y="9779"/>
                    <a:pt x="1783" y="7493"/>
                  </a:cubicBezTo>
                  <a:cubicBezTo>
                    <a:pt x="3055" y="5207"/>
                    <a:pt x="4711" y="3429"/>
                    <a:pt x="6875" y="2032"/>
                  </a:cubicBezTo>
                  <a:cubicBezTo>
                    <a:pt x="9039" y="635"/>
                    <a:pt x="11458" y="0"/>
                    <a:pt x="14132" y="0"/>
                  </a:cubicBezTo>
                  <a:close/>
                  <a:moveTo>
                    <a:pt x="15660" y="23368"/>
                  </a:moveTo>
                  <a:cubicBezTo>
                    <a:pt x="17315" y="23368"/>
                    <a:pt x="18843" y="22987"/>
                    <a:pt x="20116" y="22098"/>
                  </a:cubicBezTo>
                  <a:cubicBezTo>
                    <a:pt x="21389" y="21209"/>
                    <a:pt x="22407" y="20193"/>
                    <a:pt x="23171" y="18796"/>
                  </a:cubicBezTo>
                  <a:lnTo>
                    <a:pt x="23171" y="11430"/>
                  </a:lnTo>
                  <a:cubicBezTo>
                    <a:pt x="22535" y="10033"/>
                    <a:pt x="21516" y="8890"/>
                    <a:pt x="20116" y="8128"/>
                  </a:cubicBezTo>
                  <a:cubicBezTo>
                    <a:pt x="18715" y="7366"/>
                    <a:pt x="17315" y="6858"/>
                    <a:pt x="15660" y="6858"/>
                  </a:cubicBezTo>
                  <a:cubicBezTo>
                    <a:pt x="13368" y="6858"/>
                    <a:pt x="11331" y="7620"/>
                    <a:pt x="9803" y="9271"/>
                  </a:cubicBezTo>
                  <a:cubicBezTo>
                    <a:pt x="8275" y="10795"/>
                    <a:pt x="7384" y="12827"/>
                    <a:pt x="7384" y="15113"/>
                  </a:cubicBezTo>
                  <a:cubicBezTo>
                    <a:pt x="7384" y="17399"/>
                    <a:pt x="8148" y="19431"/>
                    <a:pt x="9803" y="20955"/>
                  </a:cubicBezTo>
                  <a:cubicBezTo>
                    <a:pt x="11331" y="22479"/>
                    <a:pt x="13368" y="23368"/>
                    <a:pt x="15660" y="23368"/>
                  </a:cubicBezTo>
                  <a:close/>
                </a:path>
              </a:pathLst>
            </a:custGeom>
            <a:solidFill>
              <a:srgbClr val="FFFFFF"/>
            </a:solidFill>
            <a:ln w="0" cap="flat">
              <a:noFill/>
              <a:prstDash val="solid"/>
              <a:miter/>
            </a:ln>
          </p:spPr>
          <p:txBody>
            <a:bodyPr rtlCol="0" anchor="ctr"/>
            <a:lstStyle/>
            <a:p>
              <a:endParaRPr lang="en-AD" sz="2400"/>
            </a:p>
          </p:txBody>
        </p:sp>
        <p:sp>
          <p:nvSpPr>
            <p:cNvPr id="65" name="Freeform 64">
              <a:extLst>
                <a:ext uri="{FF2B5EF4-FFF2-40B4-BE49-F238E27FC236}">
                  <a16:creationId xmlns:a16="http://schemas.microsoft.com/office/drawing/2014/main" id="{B790772E-C457-3AAB-781F-938CDE2011C3}"/>
                </a:ext>
              </a:extLst>
            </p:cNvPr>
            <p:cNvSpPr/>
            <p:nvPr/>
          </p:nvSpPr>
          <p:spPr>
            <a:xfrm>
              <a:off x="5050320" y="4826253"/>
              <a:ext cx="19097" cy="37465"/>
            </a:xfrm>
            <a:custGeom>
              <a:avLst/>
              <a:gdLst>
                <a:gd name="connsiteX0" fmla="*/ 12095 w 19097"/>
                <a:gd name="connsiteY0" fmla="*/ 14859 h 37465"/>
                <a:gd name="connsiteX1" fmla="*/ 12095 w 19097"/>
                <a:gd name="connsiteY1" fmla="*/ 26924 h 37465"/>
                <a:gd name="connsiteX2" fmla="*/ 13113 w 19097"/>
                <a:gd name="connsiteY2" fmla="*/ 29972 h 37465"/>
                <a:gd name="connsiteX3" fmla="*/ 16423 w 19097"/>
                <a:gd name="connsiteY3" fmla="*/ 30861 h 37465"/>
                <a:gd name="connsiteX4" fmla="*/ 19097 w 19097"/>
                <a:gd name="connsiteY4" fmla="*/ 30734 h 37465"/>
                <a:gd name="connsiteX5" fmla="*/ 19097 w 19097"/>
                <a:gd name="connsiteY5" fmla="*/ 37084 h 37465"/>
                <a:gd name="connsiteX6" fmla="*/ 15150 w 19097"/>
                <a:gd name="connsiteY6" fmla="*/ 37465 h 37465"/>
                <a:gd name="connsiteX7" fmla="*/ 4456 w 19097"/>
                <a:gd name="connsiteY7" fmla="*/ 27432 h 37465"/>
                <a:gd name="connsiteX8" fmla="*/ 4456 w 19097"/>
                <a:gd name="connsiteY8" fmla="*/ 14859 h 37465"/>
                <a:gd name="connsiteX9" fmla="*/ 0 w 19097"/>
                <a:gd name="connsiteY9" fmla="*/ 14859 h 37465"/>
                <a:gd name="connsiteX10" fmla="*/ 0 w 19097"/>
                <a:gd name="connsiteY10" fmla="*/ 8255 h 37465"/>
                <a:gd name="connsiteX11" fmla="*/ 4456 w 19097"/>
                <a:gd name="connsiteY11" fmla="*/ 8255 h 37465"/>
                <a:gd name="connsiteX12" fmla="*/ 4456 w 19097"/>
                <a:gd name="connsiteY12" fmla="*/ 635 h 37465"/>
                <a:gd name="connsiteX13" fmla="*/ 12095 w 19097"/>
                <a:gd name="connsiteY13" fmla="*/ 0 h 37465"/>
                <a:gd name="connsiteX14" fmla="*/ 12095 w 19097"/>
                <a:gd name="connsiteY14" fmla="*/ 8255 h 37465"/>
                <a:gd name="connsiteX15" fmla="*/ 18842 w 19097"/>
                <a:gd name="connsiteY15" fmla="*/ 8255 h 37465"/>
                <a:gd name="connsiteX16" fmla="*/ 18842 w 19097"/>
                <a:gd name="connsiteY16" fmla="*/ 14859 h 37465"/>
                <a:gd name="connsiteX17" fmla="*/ 12095 w 19097"/>
                <a:gd name="connsiteY17" fmla="*/ 14859 h 3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97" h="37465">
                  <a:moveTo>
                    <a:pt x="12095" y="14859"/>
                  </a:moveTo>
                  <a:lnTo>
                    <a:pt x="12095" y="26924"/>
                  </a:lnTo>
                  <a:cubicBezTo>
                    <a:pt x="12095" y="28321"/>
                    <a:pt x="12477" y="29337"/>
                    <a:pt x="13113" y="29972"/>
                  </a:cubicBezTo>
                  <a:cubicBezTo>
                    <a:pt x="13750" y="30607"/>
                    <a:pt x="14896" y="30861"/>
                    <a:pt x="16423" y="30861"/>
                  </a:cubicBezTo>
                  <a:cubicBezTo>
                    <a:pt x="17442" y="30861"/>
                    <a:pt x="18333" y="30861"/>
                    <a:pt x="19097" y="30734"/>
                  </a:cubicBezTo>
                  <a:lnTo>
                    <a:pt x="19097" y="37084"/>
                  </a:lnTo>
                  <a:cubicBezTo>
                    <a:pt x="17951" y="37338"/>
                    <a:pt x="16551" y="37465"/>
                    <a:pt x="15150" y="37465"/>
                  </a:cubicBezTo>
                  <a:cubicBezTo>
                    <a:pt x="8021" y="37465"/>
                    <a:pt x="4456" y="34163"/>
                    <a:pt x="4456" y="27432"/>
                  </a:cubicBezTo>
                  <a:lnTo>
                    <a:pt x="4456" y="14859"/>
                  </a:lnTo>
                  <a:lnTo>
                    <a:pt x="0" y="14859"/>
                  </a:lnTo>
                  <a:lnTo>
                    <a:pt x="0" y="8255"/>
                  </a:lnTo>
                  <a:lnTo>
                    <a:pt x="4456" y="8255"/>
                  </a:lnTo>
                  <a:lnTo>
                    <a:pt x="4456" y="635"/>
                  </a:lnTo>
                  <a:lnTo>
                    <a:pt x="12095" y="0"/>
                  </a:lnTo>
                  <a:lnTo>
                    <a:pt x="12095" y="8255"/>
                  </a:lnTo>
                  <a:lnTo>
                    <a:pt x="18842" y="8255"/>
                  </a:lnTo>
                  <a:lnTo>
                    <a:pt x="18842" y="14859"/>
                  </a:lnTo>
                  <a:lnTo>
                    <a:pt x="12095" y="14859"/>
                  </a:lnTo>
                  <a:close/>
                </a:path>
              </a:pathLst>
            </a:custGeom>
            <a:solidFill>
              <a:srgbClr val="FFFFFF"/>
            </a:solidFill>
            <a:ln w="0" cap="flat">
              <a:noFill/>
              <a:prstDash val="solid"/>
              <a:miter/>
            </a:ln>
          </p:spPr>
          <p:txBody>
            <a:bodyPr rtlCol="0" anchor="ctr"/>
            <a:lstStyle/>
            <a:p>
              <a:endParaRPr lang="en-AD" sz="2400"/>
            </a:p>
          </p:txBody>
        </p:sp>
        <p:sp>
          <p:nvSpPr>
            <p:cNvPr id="66" name="Freeform 65">
              <a:extLst>
                <a:ext uri="{FF2B5EF4-FFF2-40B4-BE49-F238E27FC236}">
                  <a16:creationId xmlns:a16="http://schemas.microsoft.com/office/drawing/2014/main" id="{8E1FF16D-FB7C-055B-810F-9F0EF42169B9}"/>
                </a:ext>
              </a:extLst>
            </p:cNvPr>
            <p:cNvSpPr/>
            <p:nvPr/>
          </p:nvSpPr>
          <p:spPr>
            <a:xfrm>
              <a:off x="5074127" y="4822444"/>
              <a:ext cx="8912" cy="40640"/>
            </a:xfrm>
            <a:custGeom>
              <a:avLst/>
              <a:gdLst>
                <a:gd name="connsiteX0" fmla="*/ 1273 w 8912"/>
                <a:gd name="connsiteY0" fmla="*/ 7620 h 40640"/>
                <a:gd name="connsiteX1" fmla="*/ 0 w 8912"/>
                <a:gd name="connsiteY1" fmla="*/ 4445 h 40640"/>
                <a:gd name="connsiteX2" fmla="*/ 1273 w 8912"/>
                <a:gd name="connsiteY2" fmla="*/ 1270 h 40640"/>
                <a:gd name="connsiteX3" fmla="*/ 4456 w 8912"/>
                <a:gd name="connsiteY3" fmla="*/ 0 h 40640"/>
                <a:gd name="connsiteX4" fmla="*/ 7639 w 8912"/>
                <a:gd name="connsiteY4" fmla="*/ 1270 h 40640"/>
                <a:gd name="connsiteX5" fmla="*/ 8912 w 8912"/>
                <a:gd name="connsiteY5" fmla="*/ 4445 h 40640"/>
                <a:gd name="connsiteX6" fmla="*/ 7639 w 8912"/>
                <a:gd name="connsiteY6" fmla="*/ 7620 h 40640"/>
                <a:gd name="connsiteX7" fmla="*/ 4456 w 8912"/>
                <a:gd name="connsiteY7" fmla="*/ 8890 h 40640"/>
                <a:gd name="connsiteX8" fmla="*/ 1273 w 8912"/>
                <a:gd name="connsiteY8" fmla="*/ 7620 h 40640"/>
                <a:gd name="connsiteX9" fmla="*/ 636 w 8912"/>
                <a:gd name="connsiteY9" fmla="*/ 40640 h 40640"/>
                <a:gd name="connsiteX10" fmla="*/ 636 w 8912"/>
                <a:gd name="connsiteY10" fmla="*/ 12065 h 40640"/>
                <a:gd name="connsiteX11" fmla="*/ 8275 w 8912"/>
                <a:gd name="connsiteY11" fmla="*/ 12065 h 40640"/>
                <a:gd name="connsiteX12" fmla="*/ 8275 w 8912"/>
                <a:gd name="connsiteY12" fmla="*/ 40640 h 40640"/>
                <a:gd name="connsiteX13" fmla="*/ 636 w 8912"/>
                <a:gd name="connsiteY13" fmla="*/ 40640 h 4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12" h="40640">
                  <a:moveTo>
                    <a:pt x="1273" y="7620"/>
                  </a:moveTo>
                  <a:cubicBezTo>
                    <a:pt x="382" y="6731"/>
                    <a:pt x="0" y="5715"/>
                    <a:pt x="0" y="4445"/>
                  </a:cubicBezTo>
                  <a:cubicBezTo>
                    <a:pt x="0" y="3175"/>
                    <a:pt x="382" y="2159"/>
                    <a:pt x="1273" y="1270"/>
                  </a:cubicBezTo>
                  <a:cubicBezTo>
                    <a:pt x="2164" y="381"/>
                    <a:pt x="3183" y="0"/>
                    <a:pt x="4456" y="0"/>
                  </a:cubicBezTo>
                  <a:cubicBezTo>
                    <a:pt x="5729" y="0"/>
                    <a:pt x="6748" y="381"/>
                    <a:pt x="7639" y="1270"/>
                  </a:cubicBezTo>
                  <a:cubicBezTo>
                    <a:pt x="8530" y="2159"/>
                    <a:pt x="8912" y="3175"/>
                    <a:pt x="8912" y="4445"/>
                  </a:cubicBezTo>
                  <a:cubicBezTo>
                    <a:pt x="8912" y="5715"/>
                    <a:pt x="8530" y="6731"/>
                    <a:pt x="7639" y="7620"/>
                  </a:cubicBezTo>
                  <a:cubicBezTo>
                    <a:pt x="6748" y="8509"/>
                    <a:pt x="5729" y="8890"/>
                    <a:pt x="4456" y="8890"/>
                  </a:cubicBezTo>
                  <a:cubicBezTo>
                    <a:pt x="3183" y="8890"/>
                    <a:pt x="2164" y="8509"/>
                    <a:pt x="1273" y="7620"/>
                  </a:cubicBezTo>
                  <a:close/>
                  <a:moveTo>
                    <a:pt x="636" y="40640"/>
                  </a:moveTo>
                  <a:lnTo>
                    <a:pt x="636" y="12065"/>
                  </a:lnTo>
                  <a:lnTo>
                    <a:pt x="8275" y="12065"/>
                  </a:lnTo>
                  <a:lnTo>
                    <a:pt x="8275" y="40640"/>
                  </a:lnTo>
                  <a:lnTo>
                    <a:pt x="636" y="40640"/>
                  </a:lnTo>
                  <a:close/>
                </a:path>
              </a:pathLst>
            </a:custGeom>
            <a:solidFill>
              <a:srgbClr val="FFFFFF"/>
            </a:solidFill>
            <a:ln w="0" cap="flat">
              <a:noFill/>
              <a:prstDash val="solid"/>
              <a:miter/>
            </a:ln>
          </p:spPr>
          <p:txBody>
            <a:bodyPr rtlCol="0" anchor="ctr"/>
            <a:lstStyle/>
            <a:p>
              <a:endParaRPr lang="en-AD" sz="2400"/>
            </a:p>
          </p:txBody>
        </p:sp>
        <p:sp>
          <p:nvSpPr>
            <p:cNvPr id="67" name="Freeform 66">
              <a:extLst>
                <a:ext uri="{FF2B5EF4-FFF2-40B4-BE49-F238E27FC236}">
                  <a16:creationId xmlns:a16="http://schemas.microsoft.com/office/drawing/2014/main" id="{949ABA7A-ACED-840C-E9D6-8CDF089B0585}"/>
                </a:ext>
              </a:extLst>
            </p:cNvPr>
            <p:cNvSpPr/>
            <p:nvPr/>
          </p:nvSpPr>
          <p:spPr>
            <a:xfrm>
              <a:off x="5086859" y="4834509"/>
              <a:ext cx="28518" cy="28575"/>
            </a:xfrm>
            <a:custGeom>
              <a:avLst/>
              <a:gdLst>
                <a:gd name="connsiteX0" fmla="*/ 20625 w 28518"/>
                <a:gd name="connsiteY0" fmla="*/ 0 h 28575"/>
                <a:gd name="connsiteX1" fmla="*/ 28518 w 28518"/>
                <a:gd name="connsiteY1" fmla="*/ 0 h 28575"/>
                <a:gd name="connsiteX2" fmla="*/ 18333 w 28518"/>
                <a:gd name="connsiteY2" fmla="*/ 28575 h 28575"/>
                <a:gd name="connsiteX3" fmla="*/ 10185 w 28518"/>
                <a:gd name="connsiteY3" fmla="*/ 28575 h 28575"/>
                <a:gd name="connsiteX4" fmla="*/ 0 w 28518"/>
                <a:gd name="connsiteY4" fmla="*/ 0 h 28575"/>
                <a:gd name="connsiteX5" fmla="*/ 7893 w 28518"/>
                <a:gd name="connsiteY5" fmla="*/ 0 h 28575"/>
                <a:gd name="connsiteX6" fmla="*/ 14259 w 28518"/>
                <a:gd name="connsiteY6" fmla="*/ 19431 h 28575"/>
                <a:gd name="connsiteX7" fmla="*/ 20625 w 28518"/>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8" h="28575">
                  <a:moveTo>
                    <a:pt x="20625" y="0"/>
                  </a:moveTo>
                  <a:lnTo>
                    <a:pt x="28518" y="0"/>
                  </a:lnTo>
                  <a:lnTo>
                    <a:pt x="18333" y="28575"/>
                  </a:lnTo>
                  <a:lnTo>
                    <a:pt x="10185" y="28575"/>
                  </a:lnTo>
                  <a:lnTo>
                    <a:pt x="0" y="0"/>
                  </a:lnTo>
                  <a:lnTo>
                    <a:pt x="7893" y="0"/>
                  </a:lnTo>
                  <a:lnTo>
                    <a:pt x="14259" y="19431"/>
                  </a:lnTo>
                  <a:lnTo>
                    <a:pt x="20625" y="0"/>
                  </a:lnTo>
                  <a:close/>
                </a:path>
              </a:pathLst>
            </a:custGeom>
            <a:solidFill>
              <a:srgbClr val="FFFFFF"/>
            </a:solidFill>
            <a:ln w="0" cap="flat">
              <a:noFill/>
              <a:prstDash val="solid"/>
              <a:miter/>
            </a:ln>
          </p:spPr>
          <p:txBody>
            <a:bodyPr rtlCol="0" anchor="ctr"/>
            <a:lstStyle/>
            <a:p>
              <a:endParaRPr lang="en-AD" sz="2400"/>
            </a:p>
          </p:txBody>
        </p:sp>
        <p:sp>
          <p:nvSpPr>
            <p:cNvPr id="68" name="Freeform 67">
              <a:extLst>
                <a:ext uri="{FF2B5EF4-FFF2-40B4-BE49-F238E27FC236}">
                  <a16:creationId xmlns:a16="http://schemas.microsoft.com/office/drawing/2014/main" id="{587D927B-4143-175D-1958-99783B49894F}"/>
                </a:ext>
              </a:extLst>
            </p:cNvPr>
            <p:cNvSpPr/>
            <p:nvPr/>
          </p:nvSpPr>
          <p:spPr>
            <a:xfrm>
              <a:off x="5117287" y="4834128"/>
              <a:ext cx="30428" cy="29717"/>
            </a:xfrm>
            <a:custGeom>
              <a:avLst/>
              <a:gdLst>
                <a:gd name="connsiteX0" fmla="*/ 7512 w 30428"/>
                <a:gd name="connsiteY0" fmla="*/ 17018 h 29717"/>
                <a:gd name="connsiteX1" fmla="*/ 10313 w 30428"/>
                <a:gd name="connsiteY1" fmla="*/ 21844 h 29717"/>
                <a:gd name="connsiteX2" fmla="*/ 15787 w 30428"/>
                <a:gd name="connsiteY2" fmla="*/ 23622 h 29717"/>
                <a:gd name="connsiteX3" fmla="*/ 23935 w 30428"/>
                <a:gd name="connsiteY3" fmla="*/ 20066 h 29717"/>
                <a:gd name="connsiteX4" fmla="*/ 28519 w 30428"/>
                <a:gd name="connsiteY4" fmla="*/ 24511 h 29717"/>
                <a:gd name="connsiteX5" fmla="*/ 15914 w 30428"/>
                <a:gd name="connsiteY5" fmla="*/ 29718 h 29717"/>
                <a:gd name="connsiteX6" fmla="*/ 9422 w 30428"/>
                <a:gd name="connsiteY6" fmla="*/ 28575 h 29717"/>
                <a:gd name="connsiteX7" fmla="*/ 4329 w 30428"/>
                <a:gd name="connsiteY7" fmla="*/ 25400 h 29717"/>
                <a:gd name="connsiteX8" fmla="*/ 1146 w 30428"/>
                <a:gd name="connsiteY8" fmla="*/ 20701 h 29717"/>
                <a:gd name="connsiteX9" fmla="*/ 0 w 30428"/>
                <a:gd name="connsiteY9" fmla="*/ 14859 h 29717"/>
                <a:gd name="connsiteX10" fmla="*/ 1146 w 30428"/>
                <a:gd name="connsiteY10" fmla="*/ 9017 h 29717"/>
                <a:gd name="connsiteX11" fmla="*/ 4329 w 30428"/>
                <a:gd name="connsiteY11" fmla="*/ 4318 h 29717"/>
                <a:gd name="connsiteX12" fmla="*/ 9294 w 30428"/>
                <a:gd name="connsiteY12" fmla="*/ 1143 h 29717"/>
                <a:gd name="connsiteX13" fmla="*/ 15405 w 30428"/>
                <a:gd name="connsiteY13" fmla="*/ 0 h 29717"/>
                <a:gd name="connsiteX14" fmla="*/ 23171 w 30428"/>
                <a:gd name="connsiteY14" fmla="*/ 1905 h 29717"/>
                <a:gd name="connsiteX15" fmla="*/ 28519 w 30428"/>
                <a:gd name="connsiteY15" fmla="*/ 7112 h 29717"/>
                <a:gd name="connsiteX16" fmla="*/ 30428 w 30428"/>
                <a:gd name="connsiteY16" fmla="*/ 14351 h 29717"/>
                <a:gd name="connsiteX17" fmla="*/ 30046 w 30428"/>
                <a:gd name="connsiteY17" fmla="*/ 17145 h 29717"/>
                <a:gd name="connsiteX18" fmla="*/ 7512 w 30428"/>
                <a:gd name="connsiteY18" fmla="*/ 17145 h 29717"/>
                <a:gd name="connsiteX19" fmla="*/ 15278 w 30428"/>
                <a:gd name="connsiteY19" fmla="*/ 5842 h 29717"/>
                <a:gd name="connsiteX20" fmla="*/ 10567 w 30428"/>
                <a:gd name="connsiteY20" fmla="*/ 7366 h 29717"/>
                <a:gd name="connsiteX21" fmla="*/ 7766 w 30428"/>
                <a:gd name="connsiteY21" fmla="*/ 11557 h 29717"/>
                <a:gd name="connsiteX22" fmla="*/ 22662 w 30428"/>
                <a:gd name="connsiteY22" fmla="*/ 11557 h 29717"/>
                <a:gd name="connsiteX23" fmla="*/ 20116 w 30428"/>
                <a:gd name="connsiteY23" fmla="*/ 7366 h 29717"/>
                <a:gd name="connsiteX24" fmla="*/ 15405 w 30428"/>
                <a:gd name="connsiteY24" fmla="*/ 5842 h 2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28" h="29717">
                  <a:moveTo>
                    <a:pt x="7512" y="17018"/>
                  </a:moveTo>
                  <a:cubicBezTo>
                    <a:pt x="7894" y="19050"/>
                    <a:pt x="8785" y="20574"/>
                    <a:pt x="10313" y="21844"/>
                  </a:cubicBezTo>
                  <a:cubicBezTo>
                    <a:pt x="11841" y="23114"/>
                    <a:pt x="13623" y="23622"/>
                    <a:pt x="15787" y="23622"/>
                  </a:cubicBezTo>
                  <a:cubicBezTo>
                    <a:pt x="18843" y="23622"/>
                    <a:pt x="21516" y="22479"/>
                    <a:pt x="23935" y="20066"/>
                  </a:cubicBezTo>
                  <a:lnTo>
                    <a:pt x="28519" y="24511"/>
                  </a:lnTo>
                  <a:cubicBezTo>
                    <a:pt x="25336" y="27940"/>
                    <a:pt x="21134" y="29718"/>
                    <a:pt x="15914" y="29718"/>
                  </a:cubicBezTo>
                  <a:cubicBezTo>
                    <a:pt x="13623" y="29718"/>
                    <a:pt x="11459" y="29337"/>
                    <a:pt x="9422" y="28575"/>
                  </a:cubicBezTo>
                  <a:cubicBezTo>
                    <a:pt x="7384" y="27813"/>
                    <a:pt x="5729" y="26797"/>
                    <a:pt x="4329" y="25400"/>
                  </a:cubicBezTo>
                  <a:cubicBezTo>
                    <a:pt x="2928" y="24003"/>
                    <a:pt x="1910" y="22479"/>
                    <a:pt x="1146" y="20701"/>
                  </a:cubicBezTo>
                  <a:cubicBezTo>
                    <a:pt x="382" y="18923"/>
                    <a:pt x="0" y="16891"/>
                    <a:pt x="0" y="14859"/>
                  </a:cubicBezTo>
                  <a:cubicBezTo>
                    <a:pt x="0" y="12827"/>
                    <a:pt x="382" y="10795"/>
                    <a:pt x="1146" y="9017"/>
                  </a:cubicBezTo>
                  <a:cubicBezTo>
                    <a:pt x="1910" y="7239"/>
                    <a:pt x="3056" y="5588"/>
                    <a:pt x="4329" y="4318"/>
                  </a:cubicBezTo>
                  <a:cubicBezTo>
                    <a:pt x="5602" y="3048"/>
                    <a:pt x="7384" y="1905"/>
                    <a:pt x="9294" y="1143"/>
                  </a:cubicBezTo>
                  <a:cubicBezTo>
                    <a:pt x="11204" y="381"/>
                    <a:pt x="13241" y="0"/>
                    <a:pt x="15405" y="0"/>
                  </a:cubicBezTo>
                  <a:cubicBezTo>
                    <a:pt x="18206" y="0"/>
                    <a:pt x="20880" y="635"/>
                    <a:pt x="23171" y="1905"/>
                  </a:cubicBezTo>
                  <a:cubicBezTo>
                    <a:pt x="25463" y="3175"/>
                    <a:pt x="27245" y="4953"/>
                    <a:pt x="28519" y="7112"/>
                  </a:cubicBezTo>
                  <a:cubicBezTo>
                    <a:pt x="29792" y="9271"/>
                    <a:pt x="30428" y="11684"/>
                    <a:pt x="30428" y="14351"/>
                  </a:cubicBezTo>
                  <a:cubicBezTo>
                    <a:pt x="30428" y="15367"/>
                    <a:pt x="30428" y="16256"/>
                    <a:pt x="30046" y="17145"/>
                  </a:cubicBezTo>
                  <a:lnTo>
                    <a:pt x="7512" y="17145"/>
                  </a:lnTo>
                  <a:close/>
                  <a:moveTo>
                    <a:pt x="15278" y="5842"/>
                  </a:moveTo>
                  <a:cubicBezTo>
                    <a:pt x="13496" y="5842"/>
                    <a:pt x="11841" y="6350"/>
                    <a:pt x="10567" y="7366"/>
                  </a:cubicBezTo>
                  <a:cubicBezTo>
                    <a:pt x="9167" y="8382"/>
                    <a:pt x="8276" y="9779"/>
                    <a:pt x="7766" y="11557"/>
                  </a:cubicBezTo>
                  <a:lnTo>
                    <a:pt x="22662" y="11557"/>
                  </a:lnTo>
                  <a:cubicBezTo>
                    <a:pt x="22280" y="9779"/>
                    <a:pt x="21389" y="8382"/>
                    <a:pt x="20116" y="7366"/>
                  </a:cubicBezTo>
                  <a:cubicBezTo>
                    <a:pt x="18843" y="6350"/>
                    <a:pt x="17315" y="5842"/>
                    <a:pt x="15405" y="5842"/>
                  </a:cubicBezTo>
                  <a:close/>
                </a:path>
              </a:pathLst>
            </a:custGeom>
            <a:solidFill>
              <a:srgbClr val="FFFFFF"/>
            </a:solidFill>
            <a:ln w="0" cap="flat">
              <a:noFill/>
              <a:prstDash val="solid"/>
              <a:miter/>
            </a:ln>
          </p:spPr>
          <p:txBody>
            <a:bodyPr rtlCol="0" anchor="ctr"/>
            <a:lstStyle/>
            <a:p>
              <a:endParaRPr lang="en-AD" sz="2400"/>
            </a:p>
          </p:txBody>
        </p:sp>
        <p:sp>
          <p:nvSpPr>
            <p:cNvPr id="69" name="Freeform 68">
              <a:extLst>
                <a:ext uri="{FF2B5EF4-FFF2-40B4-BE49-F238E27FC236}">
                  <a16:creationId xmlns:a16="http://schemas.microsoft.com/office/drawing/2014/main" id="{6E05909D-F84D-6C6D-0F4A-431661905EAD}"/>
                </a:ext>
              </a:extLst>
            </p:cNvPr>
            <p:cNvSpPr/>
            <p:nvPr/>
          </p:nvSpPr>
          <p:spPr>
            <a:xfrm>
              <a:off x="4623944"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0" name="Freeform 69">
              <a:extLst>
                <a:ext uri="{FF2B5EF4-FFF2-40B4-BE49-F238E27FC236}">
                  <a16:creationId xmlns:a16="http://schemas.microsoft.com/office/drawing/2014/main" id="{1D2C3A23-F710-9243-E868-EFA0A0BD68A9}"/>
                </a:ext>
              </a:extLst>
            </p:cNvPr>
            <p:cNvSpPr/>
            <p:nvPr/>
          </p:nvSpPr>
          <p:spPr>
            <a:xfrm>
              <a:off x="4731015" y="47656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1" name="Freeform 70">
              <a:extLst>
                <a:ext uri="{FF2B5EF4-FFF2-40B4-BE49-F238E27FC236}">
                  <a16:creationId xmlns:a16="http://schemas.microsoft.com/office/drawing/2014/main" id="{ECDDA8AE-C3AB-DFCD-AE30-B4C446B702F2}"/>
                </a:ext>
              </a:extLst>
            </p:cNvPr>
            <p:cNvSpPr/>
            <p:nvPr/>
          </p:nvSpPr>
          <p:spPr>
            <a:xfrm>
              <a:off x="4838341" y="4702175"/>
              <a:ext cx="35902" cy="35814"/>
            </a:xfrm>
            <a:custGeom>
              <a:avLst/>
              <a:gdLst>
                <a:gd name="connsiteX0" fmla="*/ 35903 w 35902"/>
                <a:gd name="connsiteY0" fmla="*/ 17907 h 35814"/>
                <a:gd name="connsiteX1" fmla="*/ 17951 w 35902"/>
                <a:gd name="connsiteY1" fmla="*/ 35814 h 35814"/>
                <a:gd name="connsiteX2" fmla="*/ 0 w 35902"/>
                <a:gd name="connsiteY2" fmla="*/ 17907 h 35814"/>
                <a:gd name="connsiteX3" fmla="*/ 17951 w 35902"/>
                <a:gd name="connsiteY3" fmla="*/ 0 h 35814"/>
                <a:gd name="connsiteX4" fmla="*/ 35903 w 35902"/>
                <a:gd name="connsiteY4" fmla="*/ 17907 h 3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2" h="35814">
                  <a:moveTo>
                    <a:pt x="35903" y="17907"/>
                  </a:moveTo>
                  <a:cubicBezTo>
                    <a:pt x="35903" y="27797"/>
                    <a:pt x="27865" y="35814"/>
                    <a:pt x="17951" y="35814"/>
                  </a:cubicBezTo>
                  <a:cubicBezTo>
                    <a:pt x="8037" y="35814"/>
                    <a:pt x="0" y="27797"/>
                    <a:pt x="0" y="17907"/>
                  </a:cubicBezTo>
                  <a:cubicBezTo>
                    <a:pt x="0" y="8017"/>
                    <a:pt x="8037" y="0"/>
                    <a:pt x="17951" y="0"/>
                  </a:cubicBezTo>
                  <a:cubicBezTo>
                    <a:pt x="27865" y="0"/>
                    <a:pt x="35903" y="8017"/>
                    <a:pt x="35903" y="17907"/>
                  </a:cubicBezTo>
                  <a:close/>
                </a:path>
              </a:pathLst>
            </a:custGeom>
            <a:solidFill>
              <a:srgbClr val="FFFFFF"/>
            </a:solidFill>
            <a:ln w="0" cap="flat">
              <a:noFill/>
              <a:prstDash val="solid"/>
              <a:miter/>
            </a:ln>
          </p:spPr>
          <p:txBody>
            <a:bodyPr rtlCol="0" anchor="ctr"/>
            <a:lstStyle/>
            <a:p>
              <a:endParaRPr lang="en-AD" sz="2400"/>
            </a:p>
          </p:txBody>
        </p:sp>
        <p:sp>
          <p:nvSpPr>
            <p:cNvPr id="72" name="Freeform 71">
              <a:extLst>
                <a:ext uri="{FF2B5EF4-FFF2-40B4-BE49-F238E27FC236}">
                  <a16:creationId xmlns:a16="http://schemas.microsoft.com/office/drawing/2014/main" id="{AA52B2D5-440B-51F4-6131-850AA22DBD91}"/>
                </a:ext>
              </a:extLst>
            </p:cNvPr>
            <p:cNvSpPr/>
            <p:nvPr/>
          </p:nvSpPr>
          <p:spPr>
            <a:xfrm>
              <a:off x="4625090" y="4701540"/>
              <a:ext cx="247881" cy="164083"/>
            </a:xfrm>
            <a:custGeom>
              <a:avLst/>
              <a:gdLst>
                <a:gd name="connsiteX0" fmla="*/ 16805 w 247881"/>
                <a:gd name="connsiteY0" fmla="*/ 163957 h 164083"/>
                <a:gd name="connsiteX1" fmla="*/ 0 w 247881"/>
                <a:gd name="connsiteY1" fmla="*/ 147193 h 164083"/>
                <a:gd name="connsiteX2" fmla="*/ 0 w 247881"/>
                <a:gd name="connsiteY2" fmla="*/ 80010 h 164083"/>
                <a:gd name="connsiteX3" fmla="*/ 16805 w 247881"/>
                <a:gd name="connsiteY3" fmla="*/ 63246 h 164083"/>
                <a:gd name="connsiteX4" fmla="*/ 33611 w 247881"/>
                <a:gd name="connsiteY4" fmla="*/ 80010 h 164083"/>
                <a:gd name="connsiteX5" fmla="*/ 33611 w 247881"/>
                <a:gd name="connsiteY5" fmla="*/ 147193 h 164083"/>
                <a:gd name="connsiteX6" fmla="*/ 16805 w 247881"/>
                <a:gd name="connsiteY6" fmla="*/ 163957 h 164083"/>
                <a:gd name="connsiteX7" fmla="*/ 98541 w 247881"/>
                <a:gd name="connsiteY7" fmla="*/ 147320 h 164083"/>
                <a:gd name="connsiteX8" fmla="*/ 98541 w 247881"/>
                <a:gd name="connsiteY8" fmla="*/ 16764 h 164083"/>
                <a:gd name="connsiteX9" fmla="*/ 81736 w 247881"/>
                <a:gd name="connsiteY9" fmla="*/ 0 h 164083"/>
                <a:gd name="connsiteX10" fmla="*/ 64930 w 247881"/>
                <a:gd name="connsiteY10" fmla="*/ 16764 h 164083"/>
                <a:gd name="connsiteX11" fmla="*/ 64930 w 247881"/>
                <a:gd name="connsiteY11" fmla="*/ 147320 h 164083"/>
                <a:gd name="connsiteX12" fmla="*/ 81736 w 247881"/>
                <a:gd name="connsiteY12" fmla="*/ 164084 h 164083"/>
                <a:gd name="connsiteX13" fmla="*/ 98541 w 247881"/>
                <a:gd name="connsiteY13" fmla="*/ 147320 h 164083"/>
                <a:gd name="connsiteX14" fmla="*/ 182696 w 247881"/>
                <a:gd name="connsiteY14" fmla="*/ 147320 h 164083"/>
                <a:gd name="connsiteX15" fmla="*/ 182696 w 247881"/>
                <a:gd name="connsiteY15" fmla="*/ 16764 h 164083"/>
                <a:gd name="connsiteX16" fmla="*/ 165891 w 247881"/>
                <a:gd name="connsiteY16" fmla="*/ 0 h 164083"/>
                <a:gd name="connsiteX17" fmla="*/ 149085 w 247881"/>
                <a:gd name="connsiteY17" fmla="*/ 16764 h 164083"/>
                <a:gd name="connsiteX18" fmla="*/ 149085 w 247881"/>
                <a:gd name="connsiteY18" fmla="*/ 147320 h 164083"/>
                <a:gd name="connsiteX19" fmla="*/ 165891 w 247881"/>
                <a:gd name="connsiteY19" fmla="*/ 164084 h 164083"/>
                <a:gd name="connsiteX20" fmla="*/ 182696 w 247881"/>
                <a:gd name="connsiteY20" fmla="*/ 147320 h 164083"/>
                <a:gd name="connsiteX21" fmla="*/ 247881 w 247881"/>
                <a:gd name="connsiteY21" fmla="*/ 147320 h 164083"/>
                <a:gd name="connsiteX22" fmla="*/ 247881 w 247881"/>
                <a:gd name="connsiteY22" fmla="*/ 80137 h 164083"/>
                <a:gd name="connsiteX23" fmla="*/ 231075 w 247881"/>
                <a:gd name="connsiteY23" fmla="*/ 63373 h 164083"/>
                <a:gd name="connsiteX24" fmla="*/ 214270 w 247881"/>
                <a:gd name="connsiteY24" fmla="*/ 80137 h 164083"/>
                <a:gd name="connsiteX25" fmla="*/ 214270 w 247881"/>
                <a:gd name="connsiteY25" fmla="*/ 147320 h 164083"/>
                <a:gd name="connsiteX26" fmla="*/ 231075 w 247881"/>
                <a:gd name="connsiteY26" fmla="*/ 164084 h 164083"/>
                <a:gd name="connsiteX27" fmla="*/ 247881 w 247881"/>
                <a:gd name="connsiteY27" fmla="*/ 147320 h 16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7881" h="164083">
                  <a:moveTo>
                    <a:pt x="16805" y="163957"/>
                  </a:moveTo>
                  <a:cubicBezTo>
                    <a:pt x="7512" y="163957"/>
                    <a:pt x="0" y="156464"/>
                    <a:pt x="0" y="147193"/>
                  </a:cubicBezTo>
                  <a:lnTo>
                    <a:pt x="0" y="80010"/>
                  </a:lnTo>
                  <a:cubicBezTo>
                    <a:pt x="0" y="70739"/>
                    <a:pt x="7512" y="63246"/>
                    <a:pt x="16805" y="63246"/>
                  </a:cubicBezTo>
                  <a:cubicBezTo>
                    <a:pt x="26099" y="63246"/>
                    <a:pt x="33611" y="70739"/>
                    <a:pt x="33611" y="80010"/>
                  </a:cubicBezTo>
                  <a:lnTo>
                    <a:pt x="33611" y="147193"/>
                  </a:lnTo>
                  <a:cubicBezTo>
                    <a:pt x="33611" y="156464"/>
                    <a:pt x="26099" y="163957"/>
                    <a:pt x="16805" y="163957"/>
                  </a:cubicBezTo>
                  <a:close/>
                  <a:moveTo>
                    <a:pt x="98541" y="147320"/>
                  </a:moveTo>
                  <a:lnTo>
                    <a:pt x="98541" y="16764"/>
                  </a:lnTo>
                  <a:cubicBezTo>
                    <a:pt x="98541" y="7493"/>
                    <a:pt x="91030" y="0"/>
                    <a:pt x="81736" y="0"/>
                  </a:cubicBezTo>
                  <a:cubicBezTo>
                    <a:pt x="72442" y="0"/>
                    <a:pt x="64930" y="7493"/>
                    <a:pt x="64930" y="16764"/>
                  </a:cubicBezTo>
                  <a:lnTo>
                    <a:pt x="64930" y="147320"/>
                  </a:lnTo>
                  <a:cubicBezTo>
                    <a:pt x="64930" y="156591"/>
                    <a:pt x="72442" y="164084"/>
                    <a:pt x="81736" y="164084"/>
                  </a:cubicBezTo>
                  <a:cubicBezTo>
                    <a:pt x="91030" y="164084"/>
                    <a:pt x="98541" y="156591"/>
                    <a:pt x="98541" y="147320"/>
                  </a:cubicBezTo>
                  <a:close/>
                  <a:moveTo>
                    <a:pt x="182696" y="147320"/>
                  </a:moveTo>
                  <a:lnTo>
                    <a:pt x="182696" y="16764"/>
                  </a:lnTo>
                  <a:cubicBezTo>
                    <a:pt x="182696" y="7493"/>
                    <a:pt x="175184" y="0"/>
                    <a:pt x="165891" y="0"/>
                  </a:cubicBezTo>
                  <a:cubicBezTo>
                    <a:pt x="156597" y="0"/>
                    <a:pt x="149085" y="7493"/>
                    <a:pt x="149085" y="16764"/>
                  </a:cubicBezTo>
                  <a:lnTo>
                    <a:pt x="149085" y="147320"/>
                  </a:lnTo>
                  <a:cubicBezTo>
                    <a:pt x="149085" y="156591"/>
                    <a:pt x="156597" y="164084"/>
                    <a:pt x="165891" y="164084"/>
                  </a:cubicBezTo>
                  <a:cubicBezTo>
                    <a:pt x="175184" y="164084"/>
                    <a:pt x="182696" y="156591"/>
                    <a:pt x="182696" y="147320"/>
                  </a:cubicBezTo>
                  <a:close/>
                  <a:moveTo>
                    <a:pt x="247881" y="147320"/>
                  </a:moveTo>
                  <a:lnTo>
                    <a:pt x="247881" y="80137"/>
                  </a:lnTo>
                  <a:cubicBezTo>
                    <a:pt x="247881" y="70866"/>
                    <a:pt x="240369" y="63373"/>
                    <a:pt x="231075" y="63373"/>
                  </a:cubicBezTo>
                  <a:cubicBezTo>
                    <a:pt x="221781" y="63373"/>
                    <a:pt x="214270" y="70866"/>
                    <a:pt x="214270" y="80137"/>
                  </a:cubicBezTo>
                  <a:lnTo>
                    <a:pt x="214270" y="147320"/>
                  </a:lnTo>
                  <a:cubicBezTo>
                    <a:pt x="214270" y="156591"/>
                    <a:pt x="221781" y="164084"/>
                    <a:pt x="231075" y="164084"/>
                  </a:cubicBezTo>
                  <a:cubicBezTo>
                    <a:pt x="240369" y="164084"/>
                    <a:pt x="247881" y="156591"/>
                    <a:pt x="247881" y="147320"/>
                  </a:cubicBezTo>
                  <a:close/>
                </a:path>
              </a:pathLst>
            </a:custGeom>
            <a:solidFill>
              <a:srgbClr val="FFFFFF"/>
            </a:solidFill>
            <a:ln w="0" cap="flat">
              <a:noFill/>
              <a:prstDash val="solid"/>
              <a:miter/>
            </a:ln>
          </p:spPr>
          <p:txBody>
            <a:bodyPr rtlCol="0" anchor="ctr"/>
            <a:lstStyle/>
            <a:p>
              <a:endParaRPr lang="en-AD" sz="2400"/>
            </a:p>
          </p:txBody>
        </p:sp>
      </p:grpSp>
      <p:grpSp>
        <p:nvGrpSpPr>
          <p:cNvPr id="231" name="Group 230">
            <a:extLst>
              <a:ext uri="{FF2B5EF4-FFF2-40B4-BE49-F238E27FC236}">
                <a16:creationId xmlns:a16="http://schemas.microsoft.com/office/drawing/2014/main" id="{53F06F76-61DF-D201-A722-324FB6AD655C}"/>
              </a:ext>
            </a:extLst>
          </p:cNvPr>
          <p:cNvGrpSpPr/>
          <p:nvPr userDrawn="1"/>
        </p:nvGrpSpPr>
        <p:grpSpPr>
          <a:xfrm>
            <a:off x="2632464" y="5333648"/>
            <a:ext cx="6126701" cy="575885"/>
            <a:chOff x="1953916" y="3995128"/>
            <a:chExt cx="3913631" cy="367866"/>
          </a:xfrm>
        </p:grpSpPr>
        <p:grpSp>
          <p:nvGrpSpPr>
            <p:cNvPr id="74" name="Group 73">
              <a:extLst>
                <a:ext uri="{FF2B5EF4-FFF2-40B4-BE49-F238E27FC236}">
                  <a16:creationId xmlns:a16="http://schemas.microsoft.com/office/drawing/2014/main" id="{20C2D567-121F-8CEA-DE07-C817307B95E7}"/>
                </a:ext>
              </a:extLst>
            </p:cNvPr>
            <p:cNvGrpSpPr/>
            <p:nvPr userDrawn="1"/>
          </p:nvGrpSpPr>
          <p:grpSpPr>
            <a:xfrm>
              <a:off x="2527900" y="4155858"/>
              <a:ext cx="260485" cy="153670"/>
              <a:chOff x="962128" y="4702047"/>
              <a:chExt cx="260485" cy="153670"/>
            </a:xfrm>
          </p:grpSpPr>
          <p:sp>
            <p:nvSpPr>
              <p:cNvPr id="75" name="Freeform 74">
                <a:extLst>
                  <a:ext uri="{FF2B5EF4-FFF2-40B4-BE49-F238E27FC236}">
                    <a16:creationId xmlns:a16="http://schemas.microsoft.com/office/drawing/2014/main" id="{DAC12C79-31E6-41BB-E914-B3808E35639E}"/>
                  </a:ext>
                </a:extLst>
              </p:cNvPr>
              <p:cNvSpPr/>
              <p:nvPr/>
            </p:nvSpPr>
            <p:spPr>
              <a:xfrm>
                <a:off x="1118852" y="4702047"/>
                <a:ext cx="53217" cy="52705"/>
              </a:xfrm>
              <a:custGeom>
                <a:avLst/>
                <a:gdLst>
                  <a:gd name="connsiteX0" fmla="*/ 19606 w 53217"/>
                  <a:gd name="connsiteY0" fmla="*/ 0 h 52705"/>
                  <a:gd name="connsiteX1" fmla="*/ 19606 w 53217"/>
                  <a:gd name="connsiteY1" fmla="*/ 14351 h 52705"/>
                  <a:gd name="connsiteX2" fmla="*/ 7002 w 53217"/>
                  <a:gd name="connsiteY2" fmla="*/ 7112 h 52705"/>
                  <a:gd name="connsiteX3" fmla="*/ 0 w 53217"/>
                  <a:gd name="connsiteY3" fmla="*/ 19050 h 52705"/>
                  <a:gd name="connsiteX4" fmla="*/ 12731 w 53217"/>
                  <a:gd name="connsiteY4" fmla="*/ 26289 h 52705"/>
                  <a:gd name="connsiteX5" fmla="*/ 0 w 53217"/>
                  <a:gd name="connsiteY5" fmla="*/ 33528 h 52705"/>
                  <a:gd name="connsiteX6" fmla="*/ 7002 w 53217"/>
                  <a:gd name="connsiteY6" fmla="*/ 45466 h 52705"/>
                  <a:gd name="connsiteX7" fmla="*/ 19606 w 53217"/>
                  <a:gd name="connsiteY7" fmla="*/ 38227 h 52705"/>
                  <a:gd name="connsiteX8" fmla="*/ 19606 w 53217"/>
                  <a:gd name="connsiteY8" fmla="*/ 52705 h 52705"/>
                  <a:gd name="connsiteX9" fmla="*/ 33611 w 53217"/>
                  <a:gd name="connsiteY9" fmla="*/ 52705 h 52705"/>
                  <a:gd name="connsiteX10" fmla="*/ 33611 w 53217"/>
                  <a:gd name="connsiteY10" fmla="*/ 38227 h 52705"/>
                  <a:gd name="connsiteX11" fmla="*/ 46215 w 53217"/>
                  <a:gd name="connsiteY11" fmla="*/ 45466 h 52705"/>
                  <a:gd name="connsiteX12" fmla="*/ 53217 w 53217"/>
                  <a:gd name="connsiteY12" fmla="*/ 33528 h 52705"/>
                  <a:gd name="connsiteX13" fmla="*/ 40613 w 53217"/>
                  <a:gd name="connsiteY13" fmla="*/ 26289 h 52705"/>
                  <a:gd name="connsiteX14" fmla="*/ 53217 w 53217"/>
                  <a:gd name="connsiteY14" fmla="*/ 19050 h 52705"/>
                  <a:gd name="connsiteX15" fmla="*/ 46215 w 53217"/>
                  <a:gd name="connsiteY15" fmla="*/ 7112 h 52705"/>
                  <a:gd name="connsiteX16" fmla="*/ 33611 w 53217"/>
                  <a:gd name="connsiteY16" fmla="*/ 14351 h 52705"/>
                  <a:gd name="connsiteX17" fmla="*/ 33611 w 53217"/>
                  <a:gd name="connsiteY17" fmla="*/ 0 h 52705"/>
                  <a:gd name="connsiteX18" fmla="*/ 19606 w 53217"/>
                  <a:gd name="connsiteY18" fmla="*/ 0 h 5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217" h="52705">
                    <a:moveTo>
                      <a:pt x="19606" y="0"/>
                    </a:moveTo>
                    <a:lnTo>
                      <a:pt x="19606" y="14351"/>
                    </a:lnTo>
                    <a:lnTo>
                      <a:pt x="7002" y="7112"/>
                    </a:lnTo>
                    <a:lnTo>
                      <a:pt x="0" y="19050"/>
                    </a:lnTo>
                    <a:lnTo>
                      <a:pt x="12731" y="26289"/>
                    </a:lnTo>
                    <a:lnTo>
                      <a:pt x="0" y="33528"/>
                    </a:lnTo>
                    <a:lnTo>
                      <a:pt x="7002" y="45466"/>
                    </a:lnTo>
                    <a:lnTo>
                      <a:pt x="19606" y="38227"/>
                    </a:lnTo>
                    <a:lnTo>
                      <a:pt x="19606" y="52705"/>
                    </a:lnTo>
                    <a:lnTo>
                      <a:pt x="33611" y="52705"/>
                    </a:lnTo>
                    <a:lnTo>
                      <a:pt x="33611" y="38227"/>
                    </a:lnTo>
                    <a:lnTo>
                      <a:pt x="46215" y="45466"/>
                    </a:lnTo>
                    <a:lnTo>
                      <a:pt x="53217" y="33528"/>
                    </a:lnTo>
                    <a:lnTo>
                      <a:pt x="40613" y="26289"/>
                    </a:lnTo>
                    <a:lnTo>
                      <a:pt x="53217" y="19050"/>
                    </a:lnTo>
                    <a:lnTo>
                      <a:pt x="46215" y="7112"/>
                    </a:lnTo>
                    <a:lnTo>
                      <a:pt x="33611" y="14351"/>
                    </a:lnTo>
                    <a:lnTo>
                      <a:pt x="33611" y="0"/>
                    </a:lnTo>
                    <a:lnTo>
                      <a:pt x="19606" y="0"/>
                    </a:lnTo>
                    <a:close/>
                  </a:path>
                </a:pathLst>
              </a:custGeom>
              <a:solidFill>
                <a:srgbClr val="FFFFFF"/>
              </a:solidFill>
              <a:ln w="0" cap="flat">
                <a:noFill/>
                <a:prstDash val="solid"/>
                <a:miter/>
              </a:ln>
            </p:spPr>
            <p:txBody>
              <a:bodyPr rtlCol="0" anchor="ctr"/>
              <a:lstStyle/>
              <a:p>
                <a:endParaRPr lang="en-AD" sz="2400"/>
              </a:p>
            </p:txBody>
          </p:sp>
          <p:sp>
            <p:nvSpPr>
              <p:cNvPr id="76" name="Freeform 75">
                <a:extLst>
                  <a:ext uri="{FF2B5EF4-FFF2-40B4-BE49-F238E27FC236}">
                    <a16:creationId xmlns:a16="http://schemas.microsoft.com/office/drawing/2014/main" id="{7E77DF5E-14A9-C0C7-42CC-9CB8C3135E53}"/>
                  </a:ext>
                </a:extLst>
              </p:cNvPr>
              <p:cNvSpPr/>
              <p:nvPr/>
            </p:nvSpPr>
            <p:spPr>
              <a:xfrm>
                <a:off x="962128" y="4752466"/>
                <a:ext cx="59141" cy="74295"/>
              </a:xfrm>
              <a:custGeom>
                <a:avLst/>
                <a:gdLst>
                  <a:gd name="connsiteX0" fmla="*/ 20370 w 59141"/>
                  <a:gd name="connsiteY0" fmla="*/ 40259 h 74295"/>
                  <a:gd name="connsiteX1" fmla="*/ 29537 w 59141"/>
                  <a:gd name="connsiteY1" fmla="*/ 61468 h 74295"/>
                  <a:gd name="connsiteX2" fmla="*/ 38194 w 59141"/>
                  <a:gd name="connsiteY2" fmla="*/ 48768 h 74295"/>
                  <a:gd name="connsiteX3" fmla="*/ 58692 w 59141"/>
                  <a:gd name="connsiteY3" fmla="*/ 48768 h 74295"/>
                  <a:gd name="connsiteX4" fmla="*/ 50926 w 59141"/>
                  <a:gd name="connsiteY4" fmla="*/ 67310 h 74295"/>
                  <a:gd name="connsiteX5" fmla="*/ 29537 w 59141"/>
                  <a:gd name="connsiteY5" fmla="*/ 74295 h 74295"/>
                  <a:gd name="connsiteX6" fmla="*/ 0 w 59141"/>
                  <a:gd name="connsiteY6" fmla="*/ 36195 h 74295"/>
                  <a:gd name="connsiteX7" fmla="*/ 29537 w 59141"/>
                  <a:gd name="connsiteY7" fmla="*/ 0 h 74295"/>
                  <a:gd name="connsiteX8" fmla="*/ 59074 w 59141"/>
                  <a:gd name="connsiteY8" fmla="*/ 40259 h 74295"/>
                  <a:gd name="connsiteX9" fmla="*/ 20370 w 59141"/>
                  <a:gd name="connsiteY9" fmla="*/ 40259 h 74295"/>
                  <a:gd name="connsiteX10" fmla="*/ 38958 w 59141"/>
                  <a:gd name="connsiteY10" fmla="*/ 29083 h 74295"/>
                  <a:gd name="connsiteX11" fmla="*/ 29664 w 59141"/>
                  <a:gd name="connsiteY11" fmla="*/ 12319 h 74295"/>
                  <a:gd name="connsiteX12" fmla="*/ 20498 w 59141"/>
                  <a:gd name="connsiteY12" fmla="*/ 29083 h 74295"/>
                  <a:gd name="connsiteX13" fmla="*/ 38958 w 59141"/>
                  <a:gd name="connsiteY13" fmla="*/ 29083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41" h="74295">
                    <a:moveTo>
                      <a:pt x="20370" y="40259"/>
                    </a:moveTo>
                    <a:cubicBezTo>
                      <a:pt x="20370" y="48768"/>
                      <a:pt x="20625" y="61468"/>
                      <a:pt x="29537" y="61468"/>
                    </a:cubicBezTo>
                    <a:cubicBezTo>
                      <a:pt x="36667" y="61468"/>
                      <a:pt x="38194" y="54737"/>
                      <a:pt x="38194" y="48768"/>
                    </a:cubicBezTo>
                    <a:lnTo>
                      <a:pt x="58692" y="48768"/>
                    </a:lnTo>
                    <a:cubicBezTo>
                      <a:pt x="58437" y="56515"/>
                      <a:pt x="55764" y="62865"/>
                      <a:pt x="50926" y="67310"/>
                    </a:cubicBezTo>
                    <a:cubicBezTo>
                      <a:pt x="46215" y="71755"/>
                      <a:pt x="39086" y="74295"/>
                      <a:pt x="29537" y="74295"/>
                    </a:cubicBezTo>
                    <a:cubicBezTo>
                      <a:pt x="3438" y="74295"/>
                      <a:pt x="0" y="58547"/>
                      <a:pt x="0" y="36195"/>
                    </a:cubicBezTo>
                    <a:cubicBezTo>
                      <a:pt x="0" y="16637"/>
                      <a:pt x="2801" y="0"/>
                      <a:pt x="29537" y="0"/>
                    </a:cubicBezTo>
                    <a:cubicBezTo>
                      <a:pt x="56273" y="0"/>
                      <a:pt x="59710" y="17399"/>
                      <a:pt x="59074" y="40259"/>
                    </a:cubicBezTo>
                    <a:lnTo>
                      <a:pt x="20370" y="40259"/>
                    </a:lnTo>
                    <a:close/>
                    <a:moveTo>
                      <a:pt x="38958" y="29083"/>
                    </a:moveTo>
                    <a:cubicBezTo>
                      <a:pt x="38958" y="22098"/>
                      <a:pt x="39213" y="12319"/>
                      <a:pt x="29664" y="12319"/>
                    </a:cubicBezTo>
                    <a:cubicBezTo>
                      <a:pt x="20116" y="12319"/>
                      <a:pt x="20498" y="23114"/>
                      <a:pt x="20498" y="29083"/>
                    </a:cubicBezTo>
                    <a:lnTo>
                      <a:pt x="38958" y="29083"/>
                    </a:lnTo>
                    <a:close/>
                  </a:path>
                </a:pathLst>
              </a:custGeom>
              <a:solidFill>
                <a:srgbClr val="FFFFFF"/>
              </a:solidFill>
              <a:ln w="0" cap="flat">
                <a:noFill/>
                <a:prstDash val="solid"/>
                <a:miter/>
              </a:ln>
            </p:spPr>
            <p:txBody>
              <a:bodyPr rtlCol="0" anchor="ctr"/>
              <a:lstStyle/>
              <a:p>
                <a:endParaRPr lang="en-AD" sz="2400"/>
              </a:p>
            </p:txBody>
          </p:sp>
          <p:sp>
            <p:nvSpPr>
              <p:cNvPr id="77" name="Freeform 76">
                <a:extLst>
                  <a:ext uri="{FF2B5EF4-FFF2-40B4-BE49-F238E27FC236}">
                    <a16:creationId xmlns:a16="http://schemas.microsoft.com/office/drawing/2014/main" id="{9CCCF5BB-0116-490A-0A31-8CCC4A6CA5A4}"/>
                  </a:ext>
                </a:extLst>
              </p:cNvPr>
              <p:cNvSpPr/>
              <p:nvPr/>
            </p:nvSpPr>
            <p:spPr>
              <a:xfrm>
                <a:off x="1023876" y="4722495"/>
                <a:ext cx="39212" cy="102742"/>
              </a:xfrm>
              <a:custGeom>
                <a:avLst/>
                <a:gdLst>
                  <a:gd name="connsiteX0" fmla="*/ 39213 w 39212"/>
                  <a:gd name="connsiteY0" fmla="*/ 12954 h 102742"/>
                  <a:gd name="connsiteX1" fmla="*/ 29282 w 39212"/>
                  <a:gd name="connsiteY1" fmla="*/ 22733 h 102742"/>
                  <a:gd name="connsiteX2" fmla="*/ 29282 w 39212"/>
                  <a:gd name="connsiteY2" fmla="*/ 31369 h 102742"/>
                  <a:gd name="connsiteX3" fmla="*/ 38704 w 39212"/>
                  <a:gd name="connsiteY3" fmla="*/ 31369 h 102742"/>
                  <a:gd name="connsiteX4" fmla="*/ 38704 w 39212"/>
                  <a:gd name="connsiteY4" fmla="*/ 43688 h 102742"/>
                  <a:gd name="connsiteX5" fmla="*/ 29282 w 39212"/>
                  <a:gd name="connsiteY5" fmla="*/ 43688 h 102742"/>
                  <a:gd name="connsiteX6" fmla="*/ 29282 w 39212"/>
                  <a:gd name="connsiteY6" fmla="*/ 102743 h 102742"/>
                  <a:gd name="connsiteX7" fmla="*/ 9039 w 39212"/>
                  <a:gd name="connsiteY7" fmla="*/ 102743 h 102742"/>
                  <a:gd name="connsiteX8" fmla="*/ 9039 w 39212"/>
                  <a:gd name="connsiteY8" fmla="*/ 43688 h 102742"/>
                  <a:gd name="connsiteX9" fmla="*/ 0 w 39212"/>
                  <a:gd name="connsiteY9" fmla="*/ 43688 h 102742"/>
                  <a:gd name="connsiteX10" fmla="*/ 0 w 39212"/>
                  <a:gd name="connsiteY10" fmla="*/ 31369 h 102742"/>
                  <a:gd name="connsiteX11" fmla="*/ 9167 w 39212"/>
                  <a:gd name="connsiteY11" fmla="*/ 31369 h 102742"/>
                  <a:gd name="connsiteX12" fmla="*/ 31956 w 39212"/>
                  <a:gd name="connsiteY12" fmla="*/ 0 h 102742"/>
                  <a:gd name="connsiteX13" fmla="*/ 39086 w 39212"/>
                  <a:gd name="connsiteY13" fmla="*/ 254 h 102742"/>
                  <a:gd name="connsiteX14" fmla="*/ 39086 w 39212"/>
                  <a:gd name="connsiteY14" fmla="*/ 12954 h 10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2" h="102742">
                    <a:moveTo>
                      <a:pt x="39213" y="12954"/>
                    </a:moveTo>
                    <a:cubicBezTo>
                      <a:pt x="31065" y="12446"/>
                      <a:pt x="29282" y="15494"/>
                      <a:pt x="29282" y="22733"/>
                    </a:cubicBezTo>
                    <a:lnTo>
                      <a:pt x="29282" y="31369"/>
                    </a:lnTo>
                    <a:lnTo>
                      <a:pt x="38704" y="31369"/>
                    </a:lnTo>
                    <a:lnTo>
                      <a:pt x="38704" y="43688"/>
                    </a:lnTo>
                    <a:lnTo>
                      <a:pt x="29282" y="43688"/>
                    </a:lnTo>
                    <a:lnTo>
                      <a:pt x="29282" y="102743"/>
                    </a:lnTo>
                    <a:lnTo>
                      <a:pt x="9039" y="102743"/>
                    </a:lnTo>
                    <a:lnTo>
                      <a:pt x="9039" y="43688"/>
                    </a:lnTo>
                    <a:lnTo>
                      <a:pt x="0" y="43688"/>
                    </a:lnTo>
                    <a:lnTo>
                      <a:pt x="0" y="31369"/>
                    </a:lnTo>
                    <a:lnTo>
                      <a:pt x="9167" y="31369"/>
                    </a:lnTo>
                    <a:cubicBezTo>
                      <a:pt x="9039" y="10922"/>
                      <a:pt x="7257" y="0"/>
                      <a:pt x="31956" y="0"/>
                    </a:cubicBezTo>
                    <a:cubicBezTo>
                      <a:pt x="34375" y="0"/>
                      <a:pt x="36667" y="127"/>
                      <a:pt x="39086" y="254"/>
                    </a:cubicBezTo>
                    <a:lnTo>
                      <a:pt x="39086" y="12954"/>
                    </a:lnTo>
                    <a:close/>
                  </a:path>
                </a:pathLst>
              </a:custGeom>
              <a:solidFill>
                <a:srgbClr val="FFFFFF"/>
              </a:solidFill>
              <a:ln w="0" cap="flat">
                <a:noFill/>
                <a:prstDash val="solid"/>
                <a:miter/>
              </a:ln>
            </p:spPr>
            <p:txBody>
              <a:bodyPr rtlCol="0" anchor="ctr"/>
              <a:lstStyle/>
              <a:p>
                <a:endParaRPr lang="en-AD" sz="2400"/>
              </a:p>
            </p:txBody>
          </p:sp>
          <p:sp>
            <p:nvSpPr>
              <p:cNvPr id="78" name="Freeform 77">
                <a:extLst>
                  <a:ext uri="{FF2B5EF4-FFF2-40B4-BE49-F238E27FC236}">
                    <a16:creationId xmlns:a16="http://schemas.microsoft.com/office/drawing/2014/main" id="{67C83991-6696-C0D1-2652-3ED10C261D3A}"/>
                  </a:ext>
                </a:extLst>
              </p:cNvPr>
              <p:cNvSpPr/>
              <p:nvPr/>
            </p:nvSpPr>
            <p:spPr>
              <a:xfrm>
                <a:off x="1068181" y="4752340"/>
                <a:ext cx="56657" cy="103377"/>
              </a:xfrm>
              <a:custGeom>
                <a:avLst/>
                <a:gdLst>
                  <a:gd name="connsiteX0" fmla="*/ 19097 w 56657"/>
                  <a:gd name="connsiteY0" fmla="*/ 1524 h 103377"/>
                  <a:gd name="connsiteX1" fmla="*/ 19097 w 56657"/>
                  <a:gd name="connsiteY1" fmla="*/ 9398 h 103377"/>
                  <a:gd name="connsiteX2" fmla="*/ 19352 w 56657"/>
                  <a:gd name="connsiteY2" fmla="*/ 9398 h 103377"/>
                  <a:gd name="connsiteX3" fmla="*/ 36412 w 56657"/>
                  <a:gd name="connsiteY3" fmla="*/ 0 h 103377"/>
                  <a:gd name="connsiteX4" fmla="*/ 56655 w 56657"/>
                  <a:gd name="connsiteY4" fmla="*/ 37592 h 103377"/>
                  <a:gd name="connsiteX5" fmla="*/ 36921 w 56657"/>
                  <a:gd name="connsiteY5" fmla="*/ 74168 h 103377"/>
                  <a:gd name="connsiteX6" fmla="*/ 20498 w 56657"/>
                  <a:gd name="connsiteY6" fmla="*/ 65913 h 103377"/>
                  <a:gd name="connsiteX7" fmla="*/ 20243 w 56657"/>
                  <a:gd name="connsiteY7" fmla="*/ 65913 h 103377"/>
                  <a:gd name="connsiteX8" fmla="*/ 20243 w 56657"/>
                  <a:gd name="connsiteY8" fmla="*/ 103378 h 103377"/>
                  <a:gd name="connsiteX9" fmla="*/ 0 w 56657"/>
                  <a:gd name="connsiteY9" fmla="*/ 103378 h 103377"/>
                  <a:gd name="connsiteX10" fmla="*/ 0 w 56657"/>
                  <a:gd name="connsiteY10" fmla="*/ 1270 h 103377"/>
                  <a:gd name="connsiteX11" fmla="*/ 19224 w 56657"/>
                  <a:gd name="connsiteY11" fmla="*/ 1270 h 103377"/>
                  <a:gd name="connsiteX12" fmla="*/ 36794 w 56657"/>
                  <a:gd name="connsiteY12" fmla="*/ 36576 h 103377"/>
                  <a:gd name="connsiteX13" fmla="*/ 28136 w 56657"/>
                  <a:gd name="connsiteY13" fmla="*/ 12446 h 103377"/>
                  <a:gd name="connsiteX14" fmla="*/ 19988 w 56657"/>
                  <a:gd name="connsiteY14" fmla="*/ 36576 h 103377"/>
                  <a:gd name="connsiteX15" fmla="*/ 28136 w 56657"/>
                  <a:gd name="connsiteY15" fmla="*/ 61976 h 103377"/>
                  <a:gd name="connsiteX16" fmla="*/ 36794 w 56657"/>
                  <a:gd name="connsiteY16" fmla="*/ 36576 h 10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57" h="103377">
                    <a:moveTo>
                      <a:pt x="19097" y="1524"/>
                    </a:moveTo>
                    <a:lnTo>
                      <a:pt x="19097" y="9398"/>
                    </a:lnTo>
                    <a:lnTo>
                      <a:pt x="19352" y="9398"/>
                    </a:lnTo>
                    <a:cubicBezTo>
                      <a:pt x="23044" y="2413"/>
                      <a:pt x="28646" y="0"/>
                      <a:pt x="36412" y="0"/>
                    </a:cubicBezTo>
                    <a:cubicBezTo>
                      <a:pt x="57291" y="0"/>
                      <a:pt x="56655" y="22860"/>
                      <a:pt x="56655" y="37592"/>
                    </a:cubicBezTo>
                    <a:cubicBezTo>
                      <a:pt x="56655" y="52324"/>
                      <a:pt x="57291" y="74168"/>
                      <a:pt x="36921" y="74168"/>
                    </a:cubicBezTo>
                    <a:cubicBezTo>
                      <a:pt x="29664" y="74168"/>
                      <a:pt x="24572" y="72009"/>
                      <a:pt x="20498" y="65913"/>
                    </a:cubicBezTo>
                    <a:lnTo>
                      <a:pt x="20243" y="65913"/>
                    </a:lnTo>
                    <a:lnTo>
                      <a:pt x="20243" y="103378"/>
                    </a:lnTo>
                    <a:lnTo>
                      <a:pt x="0" y="103378"/>
                    </a:lnTo>
                    <a:lnTo>
                      <a:pt x="0" y="1270"/>
                    </a:lnTo>
                    <a:lnTo>
                      <a:pt x="19224" y="1270"/>
                    </a:lnTo>
                    <a:close/>
                    <a:moveTo>
                      <a:pt x="36794" y="36576"/>
                    </a:moveTo>
                    <a:cubicBezTo>
                      <a:pt x="36794" y="22352"/>
                      <a:pt x="36921" y="12446"/>
                      <a:pt x="28136" y="12446"/>
                    </a:cubicBezTo>
                    <a:cubicBezTo>
                      <a:pt x="19352" y="12446"/>
                      <a:pt x="19988" y="22352"/>
                      <a:pt x="19988" y="36576"/>
                    </a:cubicBezTo>
                    <a:cubicBezTo>
                      <a:pt x="19988" y="54483"/>
                      <a:pt x="21261" y="61976"/>
                      <a:pt x="28136" y="61976"/>
                    </a:cubicBezTo>
                    <a:cubicBezTo>
                      <a:pt x="35393" y="61976"/>
                      <a:pt x="36794" y="54483"/>
                      <a:pt x="36794" y="36576"/>
                    </a:cubicBezTo>
                  </a:path>
                </a:pathLst>
              </a:custGeom>
              <a:solidFill>
                <a:srgbClr val="FFFFFF"/>
              </a:solidFill>
              <a:ln w="0" cap="flat">
                <a:noFill/>
                <a:prstDash val="solid"/>
                <a:miter/>
              </a:ln>
            </p:spPr>
            <p:txBody>
              <a:bodyPr rtlCol="0" anchor="ctr"/>
              <a:lstStyle/>
              <a:p>
                <a:endParaRPr lang="en-AD" sz="2400"/>
              </a:p>
            </p:txBody>
          </p:sp>
          <p:sp>
            <p:nvSpPr>
              <p:cNvPr id="79" name="Freeform 78">
                <a:extLst>
                  <a:ext uri="{FF2B5EF4-FFF2-40B4-BE49-F238E27FC236}">
                    <a16:creationId xmlns:a16="http://schemas.microsoft.com/office/drawing/2014/main" id="{C00AD8DB-3083-976C-CE52-95A6C18548E3}"/>
                  </a:ext>
                </a:extLst>
              </p:cNvPr>
              <p:cNvSpPr/>
              <p:nvPr/>
            </p:nvSpPr>
            <p:spPr>
              <a:xfrm>
                <a:off x="1135021" y="4760722"/>
                <a:ext cx="20242" cy="64515"/>
              </a:xfrm>
              <a:custGeom>
                <a:avLst/>
                <a:gdLst>
                  <a:gd name="connsiteX0" fmla="*/ 0 w 20242"/>
                  <a:gd name="connsiteY0" fmla="*/ 0 h 64515"/>
                  <a:gd name="connsiteX1" fmla="*/ 20243 w 20242"/>
                  <a:gd name="connsiteY1" fmla="*/ 0 h 64515"/>
                  <a:gd name="connsiteX2" fmla="*/ 20243 w 20242"/>
                  <a:gd name="connsiteY2" fmla="*/ 64516 h 64515"/>
                  <a:gd name="connsiteX3" fmla="*/ 0 w 20242"/>
                  <a:gd name="connsiteY3" fmla="*/ 64516 h 64515"/>
                </a:gdLst>
                <a:ahLst/>
                <a:cxnLst>
                  <a:cxn ang="0">
                    <a:pos x="connsiteX0" y="connsiteY0"/>
                  </a:cxn>
                  <a:cxn ang="0">
                    <a:pos x="connsiteX1" y="connsiteY1"/>
                  </a:cxn>
                  <a:cxn ang="0">
                    <a:pos x="connsiteX2" y="connsiteY2"/>
                  </a:cxn>
                  <a:cxn ang="0">
                    <a:pos x="connsiteX3" y="connsiteY3"/>
                  </a:cxn>
                </a:cxnLst>
                <a:rect l="l" t="t" r="r" b="b"/>
                <a:pathLst>
                  <a:path w="20242" h="64515">
                    <a:moveTo>
                      <a:pt x="0" y="0"/>
                    </a:moveTo>
                    <a:lnTo>
                      <a:pt x="20243" y="0"/>
                    </a:lnTo>
                    <a:lnTo>
                      <a:pt x="20243" y="64516"/>
                    </a:lnTo>
                    <a:lnTo>
                      <a:pt x="0" y="64516"/>
                    </a:lnTo>
                    <a:close/>
                  </a:path>
                </a:pathLst>
              </a:custGeom>
              <a:solidFill>
                <a:srgbClr val="FFFFFF"/>
              </a:solidFill>
              <a:ln w="0" cap="flat">
                <a:noFill/>
                <a:prstDash val="solid"/>
                <a:miter/>
              </a:ln>
            </p:spPr>
            <p:txBody>
              <a:bodyPr rtlCol="0" anchor="ctr"/>
              <a:lstStyle/>
              <a:p>
                <a:endParaRPr lang="en-AD" sz="2400"/>
              </a:p>
            </p:txBody>
          </p:sp>
          <p:sp>
            <p:nvSpPr>
              <p:cNvPr id="80" name="Freeform 79">
                <a:extLst>
                  <a:ext uri="{FF2B5EF4-FFF2-40B4-BE49-F238E27FC236}">
                    <a16:creationId xmlns:a16="http://schemas.microsoft.com/office/drawing/2014/main" id="{8FCECD21-2559-A41C-5A0C-228AEC997D2B}"/>
                  </a:ext>
                </a:extLst>
              </p:cNvPr>
              <p:cNvSpPr/>
              <p:nvPr/>
            </p:nvSpPr>
            <p:spPr>
              <a:xfrm>
                <a:off x="1164558" y="4752466"/>
                <a:ext cx="58055" cy="74167"/>
              </a:xfrm>
              <a:custGeom>
                <a:avLst/>
                <a:gdLst>
                  <a:gd name="connsiteX0" fmla="*/ 57037 w 58055"/>
                  <a:gd name="connsiteY0" fmla="*/ 59436 h 74167"/>
                  <a:gd name="connsiteX1" fmla="*/ 58055 w 58055"/>
                  <a:gd name="connsiteY1" fmla="*/ 72771 h 74167"/>
                  <a:gd name="connsiteX2" fmla="*/ 39340 w 58055"/>
                  <a:gd name="connsiteY2" fmla="*/ 72771 h 74167"/>
                  <a:gd name="connsiteX3" fmla="*/ 38449 w 58055"/>
                  <a:gd name="connsiteY3" fmla="*/ 63246 h 74167"/>
                  <a:gd name="connsiteX4" fmla="*/ 38194 w 58055"/>
                  <a:gd name="connsiteY4" fmla="*/ 63246 h 74167"/>
                  <a:gd name="connsiteX5" fmla="*/ 19224 w 58055"/>
                  <a:gd name="connsiteY5" fmla="*/ 74168 h 74167"/>
                  <a:gd name="connsiteX6" fmla="*/ 0 w 58055"/>
                  <a:gd name="connsiteY6" fmla="*/ 51435 h 74167"/>
                  <a:gd name="connsiteX7" fmla="*/ 37303 w 58055"/>
                  <a:gd name="connsiteY7" fmla="*/ 27051 h 74167"/>
                  <a:gd name="connsiteX8" fmla="*/ 37303 w 58055"/>
                  <a:gd name="connsiteY8" fmla="*/ 21590 h 74167"/>
                  <a:gd name="connsiteX9" fmla="*/ 29155 w 58055"/>
                  <a:gd name="connsiteY9" fmla="*/ 11176 h 74167"/>
                  <a:gd name="connsiteX10" fmla="*/ 21516 w 58055"/>
                  <a:gd name="connsiteY10" fmla="*/ 22098 h 74167"/>
                  <a:gd name="connsiteX11" fmla="*/ 1782 w 58055"/>
                  <a:gd name="connsiteY11" fmla="*/ 22098 h 74167"/>
                  <a:gd name="connsiteX12" fmla="*/ 9294 w 58055"/>
                  <a:gd name="connsiteY12" fmla="*/ 4699 h 74167"/>
                  <a:gd name="connsiteX13" fmla="*/ 28264 w 58055"/>
                  <a:gd name="connsiteY13" fmla="*/ 0 h 74167"/>
                  <a:gd name="connsiteX14" fmla="*/ 57164 w 58055"/>
                  <a:gd name="connsiteY14" fmla="*/ 23876 h 74167"/>
                  <a:gd name="connsiteX15" fmla="*/ 57164 w 58055"/>
                  <a:gd name="connsiteY15" fmla="*/ 59563 h 74167"/>
                  <a:gd name="connsiteX16" fmla="*/ 19734 w 58055"/>
                  <a:gd name="connsiteY16" fmla="*/ 50546 h 74167"/>
                  <a:gd name="connsiteX17" fmla="*/ 27245 w 58055"/>
                  <a:gd name="connsiteY17" fmla="*/ 61849 h 74167"/>
                  <a:gd name="connsiteX18" fmla="*/ 37303 w 58055"/>
                  <a:gd name="connsiteY18" fmla="*/ 38227 h 74167"/>
                  <a:gd name="connsiteX19" fmla="*/ 19861 w 58055"/>
                  <a:gd name="connsiteY19" fmla="*/ 50546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055" h="74167">
                    <a:moveTo>
                      <a:pt x="57037" y="59436"/>
                    </a:moveTo>
                    <a:cubicBezTo>
                      <a:pt x="57037" y="63881"/>
                      <a:pt x="57673" y="68326"/>
                      <a:pt x="58055" y="72771"/>
                    </a:cubicBezTo>
                    <a:lnTo>
                      <a:pt x="39340" y="72771"/>
                    </a:lnTo>
                    <a:lnTo>
                      <a:pt x="38449" y="63246"/>
                    </a:lnTo>
                    <a:lnTo>
                      <a:pt x="38194" y="63246"/>
                    </a:lnTo>
                    <a:cubicBezTo>
                      <a:pt x="33866" y="70612"/>
                      <a:pt x="28009" y="74168"/>
                      <a:pt x="19224" y="74168"/>
                    </a:cubicBezTo>
                    <a:cubicBezTo>
                      <a:pt x="5220" y="74168"/>
                      <a:pt x="0" y="63881"/>
                      <a:pt x="0" y="51435"/>
                    </a:cubicBezTo>
                    <a:cubicBezTo>
                      <a:pt x="0" y="27813"/>
                      <a:pt x="18461" y="26797"/>
                      <a:pt x="37303" y="27051"/>
                    </a:cubicBezTo>
                    <a:lnTo>
                      <a:pt x="37303" y="21590"/>
                    </a:lnTo>
                    <a:cubicBezTo>
                      <a:pt x="37303" y="15494"/>
                      <a:pt x="36412" y="11176"/>
                      <a:pt x="29155" y="11176"/>
                    </a:cubicBezTo>
                    <a:cubicBezTo>
                      <a:pt x="21898" y="11176"/>
                      <a:pt x="21516" y="16383"/>
                      <a:pt x="21516" y="22098"/>
                    </a:cubicBezTo>
                    <a:lnTo>
                      <a:pt x="1782" y="22098"/>
                    </a:lnTo>
                    <a:cubicBezTo>
                      <a:pt x="1782" y="13462"/>
                      <a:pt x="4456" y="8001"/>
                      <a:pt x="9294" y="4699"/>
                    </a:cubicBezTo>
                    <a:cubicBezTo>
                      <a:pt x="13877" y="1270"/>
                      <a:pt x="20498" y="0"/>
                      <a:pt x="28264" y="0"/>
                    </a:cubicBezTo>
                    <a:cubicBezTo>
                      <a:pt x="53981" y="0"/>
                      <a:pt x="57164" y="10922"/>
                      <a:pt x="57164" y="23876"/>
                    </a:cubicBezTo>
                    <a:lnTo>
                      <a:pt x="57164" y="59563"/>
                    </a:lnTo>
                    <a:close/>
                    <a:moveTo>
                      <a:pt x="19734" y="50546"/>
                    </a:moveTo>
                    <a:cubicBezTo>
                      <a:pt x="19734" y="55626"/>
                      <a:pt x="20625" y="61849"/>
                      <a:pt x="27245" y="61849"/>
                    </a:cubicBezTo>
                    <a:cubicBezTo>
                      <a:pt x="39086" y="61849"/>
                      <a:pt x="37303" y="45974"/>
                      <a:pt x="37303" y="38227"/>
                    </a:cubicBezTo>
                    <a:cubicBezTo>
                      <a:pt x="27245" y="38608"/>
                      <a:pt x="19861" y="37846"/>
                      <a:pt x="19861" y="50546"/>
                    </a:cubicBezTo>
                  </a:path>
                </a:pathLst>
              </a:custGeom>
              <a:solidFill>
                <a:srgbClr val="FFFFFF"/>
              </a:solidFill>
              <a:ln w="0" cap="flat">
                <a:noFill/>
                <a:prstDash val="solid"/>
                <a:miter/>
              </a:ln>
            </p:spPr>
            <p:txBody>
              <a:bodyPr rtlCol="0" anchor="ctr"/>
              <a:lstStyle/>
              <a:p>
                <a:endParaRPr lang="en-AD" sz="2400"/>
              </a:p>
            </p:txBody>
          </p:sp>
        </p:grpSp>
        <p:grpSp>
          <p:nvGrpSpPr>
            <p:cNvPr id="81" name="Graphic 3">
              <a:extLst>
                <a:ext uri="{FF2B5EF4-FFF2-40B4-BE49-F238E27FC236}">
                  <a16:creationId xmlns:a16="http://schemas.microsoft.com/office/drawing/2014/main" id="{87365E47-031F-C34F-BE4B-9B17D41D9EBE}"/>
                </a:ext>
              </a:extLst>
            </p:cNvPr>
            <p:cNvGrpSpPr/>
            <p:nvPr userDrawn="1"/>
          </p:nvGrpSpPr>
          <p:grpSpPr>
            <a:xfrm>
              <a:off x="4419169" y="4173947"/>
              <a:ext cx="783492" cy="125040"/>
              <a:chOff x="2968984" y="4720136"/>
              <a:chExt cx="783492" cy="125040"/>
            </a:xfrm>
            <a:solidFill>
              <a:srgbClr val="FFFFFF"/>
            </a:solidFill>
          </p:grpSpPr>
          <p:sp>
            <p:nvSpPr>
              <p:cNvPr id="82" name="Freeform 81">
                <a:extLst>
                  <a:ext uri="{FF2B5EF4-FFF2-40B4-BE49-F238E27FC236}">
                    <a16:creationId xmlns:a16="http://schemas.microsoft.com/office/drawing/2014/main" id="{EE62196B-61FF-E06E-3785-74D624648C58}"/>
                  </a:ext>
                </a:extLst>
              </p:cNvPr>
              <p:cNvSpPr/>
              <p:nvPr/>
            </p:nvSpPr>
            <p:spPr>
              <a:xfrm>
                <a:off x="3161611" y="4755515"/>
                <a:ext cx="56018" cy="52831"/>
              </a:xfrm>
              <a:custGeom>
                <a:avLst/>
                <a:gdLst>
                  <a:gd name="connsiteX0" fmla="*/ 21516 w 56018"/>
                  <a:gd name="connsiteY0" fmla="*/ 52832 h 52831"/>
                  <a:gd name="connsiteX1" fmla="*/ 0 w 56018"/>
                  <a:gd name="connsiteY1" fmla="*/ 0 h 52831"/>
                  <a:gd name="connsiteX2" fmla="*/ 11840 w 56018"/>
                  <a:gd name="connsiteY2" fmla="*/ 0 h 52831"/>
                  <a:gd name="connsiteX3" fmla="*/ 28009 w 56018"/>
                  <a:gd name="connsiteY3" fmla="*/ 41656 h 52831"/>
                  <a:gd name="connsiteX4" fmla="*/ 44687 w 56018"/>
                  <a:gd name="connsiteY4" fmla="*/ 0 h 52831"/>
                  <a:gd name="connsiteX5" fmla="*/ 56018 w 56018"/>
                  <a:gd name="connsiteY5" fmla="*/ 0 h 52831"/>
                  <a:gd name="connsiteX6" fmla="*/ 34502 w 56018"/>
                  <a:gd name="connsiteY6" fmla="*/ 52832 h 52831"/>
                  <a:gd name="connsiteX7" fmla="*/ 21516 w 56018"/>
                  <a:gd name="connsiteY7"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018" h="52831">
                    <a:moveTo>
                      <a:pt x="21516" y="52832"/>
                    </a:moveTo>
                    <a:lnTo>
                      <a:pt x="0" y="0"/>
                    </a:lnTo>
                    <a:lnTo>
                      <a:pt x="11840" y="0"/>
                    </a:lnTo>
                    <a:lnTo>
                      <a:pt x="28009" y="41656"/>
                    </a:lnTo>
                    <a:lnTo>
                      <a:pt x="44687" y="0"/>
                    </a:lnTo>
                    <a:lnTo>
                      <a:pt x="56018" y="0"/>
                    </a:lnTo>
                    <a:lnTo>
                      <a:pt x="34502" y="52832"/>
                    </a:lnTo>
                    <a:lnTo>
                      <a:pt x="21516" y="52832"/>
                    </a:lnTo>
                    <a:close/>
                  </a:path>
                </a:pathLst>
              </a:custGeom>
              <a:solidFill>
                <a:srgbClr val="FFFFFF"/>
              </a:solidFill>
              <a:ln w="0" cap="flat">
                <a:noFill/>
                <a:prstDash val="solid"/>
                <a:miter/>
              </a:ln>
            </p:spPr>
            <p:txBody>
              <a:bodyPr rtlCol="0" anchor="ctr"/>
              <a:lstStyle/>
              <a:p>
                <a:endParaRPr lang="en-AD" sz="2400"/>
              </a:p>
            </p:txBody>
          </p:sp>
          <p:sp>
            <p:nvSpPr>
              <p:cNvPr id="83" name="Freeform 82">
                <a:extLst>
                  <a:ext uri="{FF2B5EF4-FFF2-40B4-BE49-F238E27FC236}">
                    <a16:creationId xmlns:a16="http://schemas.microsoft.com/office/drawing/2014/main" id="{59F9CE8A-2384-59F2-E4C7-CB3C6FF2932C}"/>
                  </a:ext>
                </a:extLst>
              </p:cNvPr>
              <p:cNvSpPr/>
              <p:nvPr/>
            </p:nvSpPr>
            <p:spPr>
              <a:xfrm>
                <a:off x="3216476" y="4768437"/>
                <a:ext cx="35935" cy="40590"/>
              </a:xfrm>
              <a:custGeom>
                <a:avLst/>
                <a:gdLst>
                  <a:gd name="connsiteX0" fmla="*/ 14267 w 35935"/>
                  <a:gd name="connsiteY0" fmla="*/ 40545 h 40590"/>
                  <a:gd name="connsiteX1" fmla="*/ 3954 w 35935"/>
                  <a:gd name="connsiteY1" fmla="*/ 37243 h 40590"/>
                  <a:gd name="connsiteX2" fmla="*/ 7 w 35935"/>
                  <a:gd name="connsiteY2" fmla="*/ 28607 h 40590"/>
                  <a:gd name="connsiteX3" fmla="*/ 4336 w 35935"/>
                  <a:gd name="connsiteY3" fmla="*/ 19971 h 40590"/>
                  <a:gd name="connsiteX4" fmla="*/ 16176 w 35935"/>
                  <a:gd name="connsiteY4" fmla="*/ 16796 h 40590"/>
                  <a:gd name="connsiteX5" fmla="*/ 21014 w 35935"/>
                  <a:gd name="connsiteY5" fmla="*/ 17177 h 40590"/>
                  <a:gd name="connsiteX6" fmla="*/ 25725 w 35935"/>
                  <a:gd name="connsiteY6" fmla="*/ 18320 h 40590"/>
                  <a:gd name="connsiteX7" fmla="*/ 25725 w 35935"/>
                  <a:gd name="connsiteY7" fmla="*/ 15526 h 40590"/>
                  <a:gd name="connsiteX8" fmla="*/ 23561 w 35935"/>
                  <a:gd name="connsiteY8" fmla="*/ 10446 h 40590"/>
                  <a:gd name="connsiteX9" fmla="*/ 17322 w 35935"/>
                  <a:gd name="connsiteY9" fmla="*/ 8668 h 40590"/>
                  <a:gd name="connsiteX10" fmla="*/ 11975 w 35935"/>
                  <a:gd name="connsiteY10" fmla="*/ 9430 h 40590"/>
                  <a:gd name="connsiteX11" fmla="*/ 5355 w 35935"/>
                  <a:gd name="connsiteY11" fmla="*/ 11843 h 40590"/>
                  <a:gd name="connsiteX12" fmla="*/ 1663 w 35935"/>
                  <a:gd name="connsiteY12" fmla="*/ 4223 h 40590"/>
                  <a:gd name="connsiteX13" fmla="*/ 10574 w 35935"/>
                  <a:gd name="connsiteY13" fmla="*/ 1048 h 40590"/>
                  <a:gd name="connsiteX14" fmla="*/ 19232 w 35935"/>
                  <a:gd name="connsiteY14" fmla="*/ 32 h 40590"/>
                  <a:gd name="connsiteX15" fmla="*/ 31581 w 35935"/>
                  <a:gd name="connsiteY15" fmla="*/ 3842 h 40590"/>
                  <a:gd name="connsiteX16" fmla="*/ 35910 w 35935"/>
                  <a:gd name="connsiteY16" fmla="*/ 14637 h 40590"/>
                  <a:gd name="connsiteX17" fmla="*/ 35910 w 35935"/>
                  <a:gd name="connsiteY17" fmla="*/ 40164 h 40590"/>
                  <a:gd name="connsiteX18" fmla="*/ 25725 w 35935"/>
                  <a:gd name="connsiteY18" fmla="*/ 40164 h 40590"/>
                  <a:gd name="connsiteX19" fmla="*/ 25725 w 35935"/>
                  <a:gd name="connsiteY19" fmla="*/ 37497 h 40590"/>
                  <a:gd name="connsiteX20" fmla="*/ 20505 w 35935"/>
                  <a:gd name="connsiteY20" fmla="*/ 40037 h 40590"/>
                  <a:gd name="connsiteX21" fmla="*/ 14394 w 35935"/>
                  <a:gd name="connsiteY21" fmla="*/ 40545 h 40590"/>
                  <a:gd name="connsiteX22" fmla="*/ 10065 w 35935"/>
                  <a:gd name="connsiteY22" fmla="*/ 28226 h 40590"/>
                  <a:gd name="connsiteX23" fmla="*/ 12102 w 35935"/>
                  <a:gd name="connsiteY23" fmla="*/ 31782 h 40590"/>
                  <a:gd name="connsiteX24" fmla="*/ 17322 w 35935"/>
                  <a:gd name="connsiteY24" fmla="*/ 33052 h 40590"/>
                  <a:gd name="connsiteX25" fmla="*/ 22033 w 35935"/>
                  <a:gd name="connsiteY25" fmla="*/ 32417 h 40590"/>
                  <a:gd name="connsiteX26" fmla="*/ 25980 w 35935"/>
                  <a:gd name="connsiteY26" fmla="*/ 30512 h 40590"/>
                  <a:gd name="connsiteX27" fmla="*/ 25980 w 35935"/>
                  <a:gd name="connsiteY27" fmla="*/ 24797 h 40590"/>
                  <a:gd name="connsiteX28" fmla="*/ 22033 w 35935"/>
                  <a:gd name="connsiteY28" fmla="*/ 23781 h 40590"/>
                  <a:gd name="connsiteX29" fmla="*/ 17704 w 35935"/>
                  <a:gd name="connsiteY29" fmla="*/ 23400 h 40590"/>
                  <a:gd name="connsiteX30" fmla="*/ 12102 w 35935"/>
                  <a:gd name="connsiteY30" fmla="*/ 24670 h 40590"/>
                  <a:gd name="connsiteX31" fmla="*/ 9938 w 35935"/>
                  <a:gd name="connsiteY31" fmla="*/ 28099 h 40590"/>
                  <a:gd name="connsiteX32" fmla="*/ 10065 w 35935"/>
                  <a:gd name="connsiteY32" fmla="*/ 28099 h 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935" h="40590">
                    <a:moveTo>
                      <a:pt x="14267" y="40545"/>
                    </a:moveTo>
                    <a:cubicBezTo>
                      <a:pt x="10574" y="40672"/>
                      <a:pt x="6882" y="39529"/>
                      <a:pt x="3954" y="37243"/>
                    </a:cubicBezTo>
                    <a:cubicBezTo>
                      <a:pt x="1408" y="35084"/>
                      <a:pt x="-120" y="31909"/>
                      <a:pt x="7" y="28607"/>
                    </a:cubicBezTo>
                    <a:cubicBezTo>
                      <a:pt x="7" y="25178"/>
                      <a:pt x="1535" y="22003"/>
                      <a:pt x="4336" y="19971"/>
                    </a:cubicBezTo>
                    <a:cubicBezTo>
                      <a:pt x="7901" y="17685"/>
                      <a:pt x="11975" y="16542"/>
                      <a:pt x="16176" y="16796"/>
                    </a:cubicBezTo>
                    <a:cubicBezTo>
                      <a:pt x="17831" y="16796"/>
                      <a:pt x="19359" y="16923"/>
                      <a:pt x="21014" y="17177"/>
                    </a:cubicBezTo>
                    <a:cubicBezTo>
                      <a:pt x="22669" y="17431"/>
                      <a:pt x="24197" y="17812"/>
                      <a:pt x="25725" y="18320"/>
                    </a:cubicBezTo>
                    <a:lnTo>
                      <a:pt x="25725" y="15526"/>
                    </a:lnTo>
                    <a:cubicBezTo>
                      <a:pt x="25852" y="13621"/>
                      <a:pt x="25088" y="11716"/>
                      <a:pt x="23561" y="10446"/>
                    </a:cubicBezTo>
                    <a:cubicBezTo>
                      <a:pt x="21778" y="9176"/>
                      <a:pt x="19614" y="8541"/>
                      <a:pt x="17322" y="8668"/>
                    </a:cubicBezTo>
                    <a:cubicBezTo>
                      <a:pt x="15540" y="8668"/>
                      <a:pt x="13630" y="8922"/>
                      <a:pt x="11975" y="9430"/>
                    </a:cubicBezTo>
                    <a:cubicBezTo>
                      <a:pt x="9683" y="10065"/>
                      <a:pt x="7519" y="10954"/>
                      <a:pt x="5355" y="11843"/>
                    </a:cubicBezTo>
                    <a:lnTo>
                      <a:pt x="1663" y="4223"/>
                    </a:lnTo>
                    <a:cubicBezTo>
                      <a:pt x="4591" y="2826"/>
                      <a:pt x="7519" y="1810"/>
                      <a:pt x="10574" y="1048"/>
                    </a:cubicBezTo>
                    <a:cubicBezTo>
                      <a:pt x="13375" y="413"/>
                      <a:pt x="16304" y="32"/>
                      <a:pt x="19232" y="32"/>
                    </a:cubicBezTo>
                    <a:cubicBezTo>
                      <a:pt x="23688" y="-222"/>
                      <a:pt x="28016" y="1048"/>
                      <a:pt x="31581" y="3842"/>
                    </a:cubicBezTo>
                    <a:cubicBezTo>
                      <a:pt x="34509" y="6636"/>
                      <a:pt x="36165" y="10573"/>
                      <a:pt x="35910" y="14637"/>
                    </a:cubicBezTo>
                    <a:lnTo>
                      <a:pt x="35910" y="40164"/>
                    </a:lnTo>
                    <a:lnTo>
                      <a:pt x="25725" y="40164"/>
                    </a:lnTo>
                    <a:lnTo>
                      <a:pt x="25725" y="37497"/>
                    </a:lnTo>
                    <a:cubicBezTo>
                      <a:pt x="24070" y="38640"/>
                      <a:pt x="22287" y="39529"/>
                      <a:pt x="20505" y="40037"/>
                    </a:cubicBezTo>
                    <a:cubicBezTo>
                      <a:pt x="18468" y="40545"/>
                      <a:pt x="16431" y="40672"/>
                      <a:pt x="14394" y="40545"/>
                    </a:cubicBezTo>
                    <a:close/>
                    <a:moveTo>
                      <a:pt x="10065" y="28226"/>
                    </a:moveTo>
                    <a:cubicBezTo>
                      <a:pt x="10065" y="29623"/>
                      <a:pt x="10829" y="31020"/>
                      <a:pt x="12102" y="31782"/>
                    </a:cubicBezTo>
                    <a:cubicBezTo>
                      <a:pt x="13630" y="32798"/>
                      <a:pt x="15540" y="33179"/>
                      <a:pt x="17322" y="33052"/>
                    </a:cubicBezTo>
                    <a:cubicBezTo>
                      <a:pt x="18850" y="33052"/>
                      <a:pt x="20505" y="32798"/>
                      <a:pt x="22033" y="32417"/>
                    </a:cubicBezTo>
                    <a:cubicBezTo>
                      <a:pt x="23433" y="32036"/>
                      <a:pt x="24834" y="31401"/>
                      <a:pt x="25980" y="30512"/>
                    </a:cubicBezTo>
                    <a:lnTo>
                      <a:pt x="25980" y="24797"/>
                    </a:lnTo>
                    <a:cubicBezTo>
                      <a:pt x="24706" y="24289"/>
                      <a:pt x="23306" y="23908"/>
                      <a:pt x="22033" y="23781"/>
                    </a:cubicBezTo>
                    <a:cubicBezTo>
                      <a:pt x="20632" y="23527"/>
                      <a:pt x="19105" y="23400"/>
                      <a:pt x="17704" y="23400"/>
                    </a:cubicBezTo>
                    <a:cubicBezTo>
                      <a:pt x="15794" y="23400"/>
                      <a:pt x="13885" y="23781"/>
                      <a:pt x="12102" y="24670"/>
                    </a:cubicBezTo>
                    <a:cubicBezTo>
                      <a:pt x="10829" y="25305"/>
                      <a:pt x="10065" y="26575"/>
                      <a:pt x="9938" y="28099"/>
                    </a:cubicBezTo>
                    <a:lnTo>
                      <a:pt x="10065" y="28099"/>
                    </a:lnTo>
                    <a:close/>
                  </a:path>
                </a:pathLst>
              </a:custGeom>
              <a:solidFill>
                <a:srgbClr val="FFFFFF"/>
              </a:solidFill>
              <a:ln w="0" cap="flat">
                <a:noFill/>
                <a:prstDash val="solid"/>
                <a:miter/>
              </a:ln>
            </p:spPr>
            <p:txBody>
              <a:bodyPr rtlCol="0" anchor="ctr"/>
              <a:lstStyle/>
              <a:p>
                <a:endParaRPr lang="en-AD" sz="2400"/>
              </a:p>
            </p:txBody>
          </p:sp>
          <p:sp>
            <p:nvSpPr>
              <p:cNvPr id="84" name="Freeform 83">
                <a:extLst>
                  <a:ext uri="{FF2B5EF4-FFF2-40B4-BE49-F238E27FC236}">
                    <a16:creationId xmlns:a16="http://schemas.microsoft.com/office/drawing/2014/main" id="{BC7CB9E0-9AC2-0156-3587-D90E35EC2412}"/>
                  </a:ext>
                </a:extLst>
              </p:cNvPr>
              <p:cNvSpPr/>
              <p:nvPr/>
            </p:nvSpPr>
            <p:spPr>
              <a:xfrm>
                <a:off x="3258274" y="4768336"/>
                <a:ext cx="37016" cy="40772"/>
              </a:xfrm>
              <a:custGeom>
                <a:avLst/>
                <a:gdLst>
                  <a:gd name="connsiteX0" fmla="*/ 21230 w 37016"/>
                  <a:gd name="connsiteY0" fmla="*/ 31629 h 40772"/>
                  <a:gd name="connsiteX1" fmla="*/ 26195 w 37016"/>
                  <a:gd name="connsiteY1" fmla="*/ 30612 h 40772"/>
                  <a:gd name="connsiteX2" fmla="*/ 30524 w 37016"/>
                  <a:gd name="connsiteY2" fmla="*/ 27310 h 40772"/>
                  <a:gd name="connsiteX3" fmla="*/ 36762 w 37016"/>
                  <a:gd name="connsiteY3" fmla="*/ 33660 h 40772"/>
                  <a:gd name="connsiteX4" fmla="*/ 29505 w 37016"/>
                  <a:gd name="connsiteY4" fmla="*/ 38867 h 40772"/>
                  <a:gd name="connsiteX5" fmla="*/ 20848 w 37016"/>
                  <a:gd name="connsiteY5" fmla="*/ 40773 h 40772"/>
                  <a:gd name="connsiteX6" fmla="*/ 12572 w 37016"/>
                  <a:gd name="connsiteY6" fmla="*/ 39248 h 40772"/>
                  <a:gd name="connsiteX7" fmla="*/ 5952 w 37016"/>
                  <a:gd name="connsiteY7" fmla="*/ 34930 h 40772"/>
                  <a:gd name="connsiteX8" fmla="*/ 1623 w 37016"/>
                  <a:gd name="connsiteY8" fmla="*/ 28454 h 40772"/>
                  <a:gd name="connsiteX9" fmla="*/ 1623 w 37016"/>
                  <a:gd name="connsiteY9" fmla="*/ 12324 h 40772"/>
                  <a:gd name="connsiteX10" fmla="*/ 5952 w 37016"/>
                  <a:gd name="connsiteY10" fmla="*/ 5848 h 40772"/>
                  <a:gd name="connsiteX11" fmla="*/ 20593 w 37016"/>
                  <a:gd name="connsiteY11" fmla="*/ 5 h 40772"/>
                  <a:gd name="connsiteX12" fmla="*/ 29633 w 37016"/>
                  <a:gd name="connsiteY12" fmla="*/ 1910 h 40772"/>
                  <a:gd name="connsiteX13" fmla="*/ 37017 w 37016"/>
                  <a:gd name="connsiteY13" fmla="*/ 7117 h 40772"/>
                  <a:gd name="connsiteX14" fmla="*/ 30651 w 37016"/>
                  <a:gd name="connsiteY14" fmla="*/ 13848 h 40772"/>
                  <a:gd name="connsiteX15" fmla="*/ 26322 w 37016"/>
                  <a:gd name="connsiteY15" fmla="*/ 10292 h 40772"/>
                  <a:gd name="connsiteX16" fmla="*/ 21102 w 37016"/>
                  <a:gd name="connsiteY16" fmla="*/ 9149 h 40772"/>
                  <a:gd name="connsiteX17" fmla="*/ 13591 w 37016"/>
                  <a:gd name="connsiteY17" fmla="*/ 12451 h 40772"/>
                  <a:gd name="connsiteX18" fmla="*/ 10536 w 37016"/>
                  <a:gd name="connsiteY18" fmla="*/ 20579 h 40772"/>
                  <a:gd name="connsiteX19" fmla="*/ 13718 w 37016"/>
                  <a:gd name="connsiteY19" fmla="*/ 28707 h 40772"/>
                  <a:gd name="connsiteX20" fmla="*/ 21230 w 37016"/>
                  <a:gd name="connsiteY20" fmla="*/ 31882 h 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16" h="40772">
                    <a:moveTo>
                      <a:pt x="21230" y="31629"/>
                    </a:moveTo>
                    <a:cubicBezTo>
                      <a:pt x="22885" y="31629"/>
                      <a:pt x="24667" y="31248"/>
                      <a:pt x="26195" y="30612"/>
                    </a:cubicBezTo>
                    <a:cubicBezTo>
                      <a:pt x="27850" y="29723"/>
                      <a:pt x="29250" y="28580"/>
                      <a:pt x="30524" y="27310"/>
                    </a:cubicBezTo>
                    <a:lnTo>
                      <a:pt x="36762" y="33660"/>
                    </a:lnTo>
                    <a:cubicBezTo>
                      <a:pt x="34725" y="35819"/>
                      <a:pt x="32306" y="37598"/>
                      <a:pt x="29505" y="38867"/>
                    </a:cubicBezTo>
                    <a:cubicBezTo>
                      <a:pt x="26832" y="40010"/>
                      <a:pt x="23903" y="40645"/>
                      <a:pt x="20848" y="40773"/>
                    </a:cubicBezTo>
                    <a:cubicBezTo>
                      <a:pt x="18047" y="40773"/>
                      <a:pt x="15246" y="40264"/>
                      <a:pt x="12572" y="39248"/>
                    </a:cubicBezTo>
                    <a:cubicBezTo>
                      <a:pt x="10153" y="38232"/>
                      <a:pt x="7862" y="36835"/>
                      <a:pt x="5952" y="34930"/>
                    </a:cubicBezTo>
                    <a:cubicBezTo>
                      <a:pt x="4042" y="33025"/>
                      <a:pt x="2642" y="30867"/>
                      <a:pt x="1623" y="28454"/>
                    </a:cubicBezTo>
                    <a:cubicBezTo>
                      <a:pt x="-541" y="23247"/>
                      <a:pt x="-541" y="17531"/>
                      <a:pt x="1623" y="12324"/>
                    </a:cubicBezTo>
                    <a:cubicBezTo>
                      <a:pt x="2642" y="9911"/>
                      <a:pt x="4042" y="7752"/>
                      <a:pt x="5952" y="5848"/>
                    </a:cubicBezTo>
                    <a:cubicBezTo>
                      <a:pt x="9899" y="2037"/>
                      <a:pt x="15119" y="-121"/>
                      <a:pt x="20593" y="5"/>
                    </a:cubicBezTo>
                    <a:cubicBezTo>
                      <a:pt x="23649" y="5"/>
                      <a:pt x="26704" y="641"/>
                      <a:pt x="29633" y="1910"/>
                    </a:cubicBezTo>
                    <a:cubicBezTo>
                      <a:pt x="32433" y="3054"/>
                      <a:pt x="34980" y="4831"/>
                      <a:pt x="37017" y="7117"/>
                    </a:cubicBezTo>
                    <a:lnTo>
                      <a:pt x="30651" y="13848"/>
                    </a:lnTo>
                    <a:cubicBezTo>
                      <a:pt x="29378" y="12451"/>
                      <a:pt x="27978" y="11181"/>
                      <a:pt x="26322" y="10292"/>
                    </a:cubicBezTo>
                    <a:cubicBezTo>
                      <a:pt x="24667" y="9530"/>
                      <a:pt x="22885" y="9149"/>
                      <a:pt x="21102" y="9149"/>
                    </a:cubicBezTo>
                    <a:cubicBezTo>
                      <a:pt x="18174" y="9149"/>
                      <a:pt x="15501" y="10292"/>
                      <a:pt x="13591" y="12451"/>
                    </a:cubicBezTo>
                    <a:cubicBezTo>
                      <a:pt x="11554" y="14610"/>
                      <a:pt x="10408" y="17531"/>
                      <a:pt x="10536" y="20579"/>
                    </a:cubicBezTo>
                    <a:cubicBezTo>
                      <a:pt x="10536" y="23627"/>
                      <a:pt x="11554" y="26548"/>
                      <a:pt x="13718" y="28707"/>
                    </a:cubicBezTo>
                    <a:cubicBezTo>
                      <a:pt x="15628" y="30739"/>
                      <a:pt x="18429" y="31882"/>
                      <a:pt x="21230" y="31882"/>
                    </a:cubicBezTo>
                    <a:close/>
                  </a:path>
                </a:pathLst>
              </a:custGeom>
              <a:solidFill>
                <a:srgbClr val="FFFFFF"/>
              </a:solidFill>
              <a:ln w="0" cap="flat">
                <a:noFill/>
                <a:prstDash val="solid"/>
                <a:miter/>
              </a:ln>
            </p:spPr>
            <p:txBody>
              <a:bodyPr rtlCol="0" anchor="ctr"/>
              <a:lstStyle/>
              <a:p>
                <a:endParaRPr lang="en-AD" sz="2400"/>
              </a:p>
            </p:txBody>
          </p:sp>
          <p:sp>
            <p:nvSpPr>
              <p:cNvPr id="85" name="Freeform 84">
                <a:extLst>
                  <a:ext uri="{FF2B5EF4-FFF2-40B4-BE49-F238E27FC236}">
                    <a16:creationId xmlns:a16="http://schemas.microsoft.com/office/drawing/2014/main" id="{F21510C4-646D-99E3-A884-056865561687}"/>
                  </a:ext>
                </a:extLst>
              </p:cNvPr>
              <p:cNvSpPr/>
              <p:nvPr/>
            </p:nvSpPr>
            <p:spPr>
              <a:xfrm>
                <a:off x="3297201" y="4768085"/>
                <a:ext cx="36921" cy="41023"/>
              </a:xfrm>
              <a:custGeom>
                <a:avLst/>
                <a:gdLst>
                  <a:gd name="connsiteX0" fmla="*/ 21134 w 36921"/>
                  <a:gd name="connsiteY0" fmla="*/ 31880 h 41023"/>
                  <a:gd name="connsiteX1" fmla="*/ 26100 w 36921"/>
                  <a:gd name="connsiteY1" fmla="*/ 30863 h 41023"/>
                  <a:gd name="connsiteX2" fmla="*/ 30428 w 36921"/>
                  <a:gd name="connsiteY2" fmla="*/ 27561 h 41023"/>
                  <a:gd name="connsiteX3" fmla="*/ 36794 w 36921"/>
                  <a:gd name="connsiteY3" fmla="*/ 33911 h 41023"/>
                  <a:gd name="connsiteX4" fmla="*/ 29792 w 36921"/>
                  <a:gd name="connsiteY4" fmla="*/ 39118 h 41023"/>
                  <a:gd name="connsiteX5" fmla="*/ 21134 w 36921"/>
                  <a:gd name="connsiteY5" fmla="*/ 41024 h 41023"/>
                  <a:gd name="connsiteX6" fmla="*/ 12477 w 36921"/>
                  <a:gd name="connsiteY6" fmla="*/ 39372 h 41023"/>
                  <a:gd name="connsiteX7" fmla="*/ 5856 w 36921"/>
                  <a:gd name="connsiteY7" fmla="*/ 35055 h 41023"/>
                  <a:gd name="connsiteX8" fmla="*/ 1528 w 36921"/>
                  <a:gd name="connsiteY8" fmla="*/ 28577 h 41023"/>
                  <a:gd name="connsiteX9" fmla="*/ 1528 w 36921"/>
                  <a:gd name="connsiteY9" fmla="*/ 12449 h 41023"/>
                  <a:gd name="connsiteX10" fmla="*/ 20625 w 36921"/>
                  <a:gd name="connsiteY10" fmla="*/ 2 h 41023"/>
                  <a:gd name="connsiteX11" fmla="*/ 29537 w 36921"/>
                  <a:gd name="connsiteY11" fmla="*/ 1907 h 41023"/>
                  <a:gd name="connsiteX12" fmla="*/ 36921 w 36921"/>
                  <a:gd name="connsiteY12" fmla="*/ 7114 h 41023"/>
                  <a:gd name="connsiteX13" fmla="*/ 30555 w 36921"/>
                  <a:gd name="connsiteY13" fmla="*/ 13845 h 41023"/>
                  <a:gd name="connsiteX14" fmla="*/ 26227 w 36921"/>
                  <a:gd name="connsiteY14" fmla="*/ 10289 h 41023"/>
                  <a:gd name="connsiteX15" fmla="*/ 21007 w 36921"/>
                  <a:gd name="connsiteY15" fmla="*/ 9146 h 41023"/>
                  <a:gd name="connsiteX16" fmla="*/ 13495 w 36921"/>
                  <a:gd name="connsiteY16" fmla="*/ 12449 h 41023"/>
                  <a:gd name="connsiteX17" fmla="*/ 10440 w 36921"/>
                  <a:gd name="connsiteY17" fmla="*/ 20576 h 41023"/>
                  <a:gd name="connsiteX18" fmla="*/ 13623 w 36921"/>
                  <a:gd name="connsiteY18" fmla="*/ 28705 h 41023"/>
                  <a:gd name="connsiteX19" fmla="*/ 21134 w 36921"/>
                  <a:gd name="connsiteY19" fmla="*/ 31880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21" h="41023">
                    <a:moveTo>
                      <a:pt x="21134" y="31880"/>
                    </a:moveTo>
                    <a:cubicBezTo>
                      <a:pt x="22789" y="31880"/>
                      <a:pt x="24572" y="31499"/>
                      <a:pt x="26100" y="30863"/>
                    </a:cubicBezTo>
                    <a:cubicBezTo>
                      <a:pt x="27755" y="29974"/>
                      <a:pt x="29155" y="28831"/>
                      <a:pt x="30428" y="27561"/>
                    </a:cubicBezTo>
                    <a:lnTo>
                      <a:pt x="36794" y="33911"/>
                    </a:lnTo>
                    <a:cubicBezTo>
                      <a:pt x="34884" y="36197"/>
                      <a:pt x="32465" y="37975"/>
                      <a:pt x="29792" y="39118"/>
                    </a:cubicBezTo>
                    <a:cubicBezTo>
                      <a:pt x="27118" y="40261"/>
                      <a:pt x="24190" y="40896"/>
                      <a:pt x="21134" y="41024"/>
                    </a:cubicBezTo>
                    <a:cubicBezTo>
                      <a:pt x="18206" y="41024"/>
                      <a:pt x="15278" y="40515"/>
                      <a:pt x="12477" y="39372"/>
                    </a:cubicBezTo>
                    <a:cubicBezTo>
                      <a:pt x="10058" y="38356"/>
                      <a:pt x="7766" y="36959"/>
                      <a:pt x="5856" y="35055"/>
                    </a:cubicBezTo>
                    <a:cubicBezTo>
                      <a:pt x="4074" y="33149"/>
                      <a:pt x="2547" y="30990"/>
                      <a:pt x="1528" y="28577"/>
                    </a:cubicBezTo>
                    <a:cubicBezTo>
                      <a:pt x="-509" y="23370"/>
                      <a:pt x="-509" y="17655"/>
                      <a:pt x="1528" y="12449"/>
                    </a:cubicBezTo>
                    <a:cubicBezTo>
                      <a:pt x="4711" y="4828"/>
                      <a:pt x="12350" y="-125"/>
                      <a:pt x="20625" y="2"/>
                    </a:cubicBezTo>
                    <a:cubicBezTo>
                      <a:pt x="23681" y="2"/>
                      <a:pt x="26736" y="637"/>
                      <a:pt x="29537" y="1907"/>
                    </a:cubicBezTo>
                    <a:cubicBezTo>
                      <a:pt x="32338" y="3050"/>
                      <a:pt x="34884" y="4828"/>
                      <a:pt x="36921" y="7114"/>
                    </a:cubicBezTo>
                    <a:lnTo>
                      <a:pt x="30555" y="13845"/>
                    </a:lnTo>
                    <a:cubicBezTo>
                      <a:pt x="29283" y="12449"/>
                      <a:pt x="27882" y="11178"/>
                      <a:pt x="26227" y="10289"/>
                    </a:cubicBezTo>
                    <a:cubicBezTo>
                      <a:pt x="24572" y="9527"/>
                      <a:pt x="22789" y="9146"/>
                      <a:pt x="21007" y="9146"/>
                    </a:cubicBezTo>
                    <a:cubicBezTo>
                      <a:pt x="18079" y="9146"/>
                      <a:pt x="15405" y="10289"/>
                      <a:pt x="13495" y="12449"/>
                    </a:cubicBezTo>
                    <a:cubicBezTo>
                      <a:pt x="11458" y="14607"/>
                      <a:pt x="10313" y="17528"/>
                      <a:pt x="10440" y="20576"/>
                    </a:cubicBezTo>
                    <a:cubicBezTo>
                      <a:pt x="10440" y="23624"/>
                      <a:pt x="11458" y="26545"/>
                      <a:pt x="13623" y="28705"/>
                    </a:cubicBezTo>
                    <a:cubicBezTo>
                      <a:pt x="15532" y="30736"/>
                      <a:pt x="18206" y="31880"/>
                      <a:pt x="21134" y="31880"/>
                    </a:cubicBezTo>
                    <a:close/>
                  </a:path>
                </a:pathLst>
              </a:custGeom>
              <a:solidFill>
                <a:srgbClr val="FFFFFF"/>
              </a:solidFill>
              <a:ln w="0" cap="flat">
                <a:noFill/>
                <a:prstDash val="solid"/>
                <a:miter/>
              </a:ln>
            </p:spPr>
            <p:txBody>
              <a:bodyPr rtlCol="0" anchor="ctr"/>
              <a:lstStyle/>
              <a:p>
                <a:endParaRPr lang="en-AD" sz="2400"/>
              </a:p>
            </p:txBody>
          </p:sp>
          <p:sp>
            <p:nvSpPr>
              <p:cNvPr id="86" name="Freeform 85">
                <a:extLst>
                  <a:ext uri="{FF2B5EF4-FFF2-40B4-BE49-F238E27FC236}">
                    <a16:creationId xmlns:a16="http://schemas.microsoft.com/office/drawing/2014/main" id="{6EC49DD9-29AF-EB7F-A781-F89310A4F665}"/>
                  </a:ext>
                </a:extLst>
              </p:cNvPr>
              <p:cNvSpPr/>
              <p:nvPr/>
            </p:nvSpPr>
            <p:spPr>
              <a:xfrm>
                <a:off x="3338196" y="4752403"/>
                <a:ext cx="11776" cy="55943"/>
              </a:xfrm>
              <a:custGeom>
                <a:avLst/>
                <a:gdLst>
                  <a:gd name="connsiteX0" fmla="*/ 5984 w 11776"/>
                  <a:gd name="connsiteY0" fmla="*/ 11875 h 55943"/>
                  <a:gd name="connsiteX1" fmla="*/ 0 w 11776"/>
                  <a:gd name="connsiteY1" fmla="*/ 6032 h 55943"/>
                  <a:gd name="connsiteX2" fmla="*/ 0 w 11776"/>
                  <a:gd name="connsiteY2" fmla="*/ 6032 h 55943"/>
                  <a:gd name="connsiteX3" fmla="*/ 1783 w 11776"/>
                  <a:gd name="connsiteY3" fmla="*/ 1714 h 55943"/>
                  <a:gd name="connsiteX4" fmla="*/ 10058 w 11776"/>
                  <a:gd name="connsiteY4" fmla="*/ 1714 h 55943"/>
                  <a:gd name="connsiteX5" fmla="*/ 10058 w 11776"/>
                  <a:gd name="connsiteY5" fmla="*/ 9969 h 55943"/>
                  <a:gd name="connsiteX6" fmla="*/ 10058 w 11776"/>
                  <a:gd name="connsiteY6" fmla="*/ 9969 h 55943"/>
                  <a:gd name="connsiteX7" fmla="*/ 5984 w 11776"/>
                  <a:gd name="connsiteY7" fmla="*/ 11875 h 55943"/>
                  <a:gd name="connsiteX8" fmla="*/ 11204 w 11776"/>
                  <a:gd name="connsiteY8" fmla="*/ 16574 h 55943"/>
                  <a:gd name="connsiteX9" fmla="*/ 11204 w 11776"/>
                  <a:gd name="connsiteY9" fmla="*/ 55943 h 55943"/>
                  <a:gd name="connsiteX10" fmla="*/ 891 w 11776"/>
                  <a:gd name="connsiteY10" fmla="*/ 55943 h 55943"/>
                  <a:gd name="connsiteX11" fmla="*/ 891 w 11776"/>
                  <a:gd name="connsiteY11" fmla="*/ 16574 h 55943"/>
                  <a:gd name="connsiteX12" fmla="*/ 11204 w 11776"/>
                  <a:gd name="connsiteY12" fmla="*/ 16574 h 5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76" h="55943">
                    <a:moveTo>
                      <a:pt x="5984" y="11875"/>
                    </a:moveTo>
                    <a:cubicBezTo>
                      <a:pt x="2673" y="11875"/>
                      <a:pt x="0" y="9335"/>
                      <a:pt x="0" y="6032"/>
                    </a:cubicBezTo>
                    <a:cubicBezTo>
                      <a:pt x="0" y="6032"/>
                      <a:pt x="0" y="6032"/>
                      <a:pt x="0" y="6032"/>
                    </a:cubicBezTo>
                    <a:cubicBezTo>
                      <a:pt x="0" y="4381"/>
                      <a:pt x="637" y="2857"/>
                      <a:pt x="1783" y="1714"/>
                    </a:cubicBezTo>
                    <a:cubicBezTo>
                      <a:pt x="4074" y="-571"/>
                      <a:pt x="7766" y="-571"/>
                      <a:pt x="10058" y="1714"/>
                    </a:cubicBezTo>
                    <a:cubicBezTo>
                      <a:pt x="12350" y="4000"/>
                      <a:pt x="12350" y="7683"/>
                      <a:pt x="10058" y="9969"/>
                    </a:cubicBezTo>
                    <a:lnTo>
                      <a:pt x="10058" y="9969"/>
                    </a:lnTo>
                    <a:cubicBezTo>
                      <a:pt x="9039" y="11112"/>
                      <a:pt x="7512" y="11748"/>
                      <a:pt x="5984" y="11875"/>
                    </a:cubicBezTo>
                    <a:close/>
                    <a:moveTo>
                      <a:pt x="11204" y="16574"/>
                    </a:moveTo>
                    <a:lnTo>
                      <a:pt x="11204" y="55943"/>
                    </a:lnTo>
                    <a:lnTo>
                      <a:pt x="891" y="55943"/>
                    </a:lnTo>
                    <a:lnTo>
                      <a:pt x="891" y="16574"/>
                    </a:lnTo>
                    <a:lnTo>
                      <a:pt x="11204" y="16574"/>
                    </a:lnTo>
                    <a:close/>
                  </a:path>
                </a:pathLst>
              </a:custGeom>
              <a:solidFill>
                <a:srgbClr val="FFFFFF"/>
              </a:solidFill>
              <a:ln w="0" cap="flat">
                <a:noFill/>
                <a:prstDash val="solid"/>
                <a:miter/>
              </a:ln>
            </p:spPr>
            <p:txBody>
              <a:bodyPr rtlCol="0" anchor="ctr"/>
              <a:lstStyle/>
              <a:p>
                <a:endParaRPr lang="en-AD" sz="2400"/>
              </a:p>
            </p:txBody>
          </p:sp>
          <p:sp>
            <p:nvSpPr>
              <p:cNvPr id="87" name="Freeform 86">
                <a:extLst>
                  <a:ext uri="{FF2B5EF4-FFF2-40B4-BE49-F238E27FC236}">
                    <a16:creationId xmlns:a16="http://schemas.microsoft.com/office/drawing/2014/main" id="{99D15A9E-C09E-D6F1-1D73-F3E7AE52D6B0}"/>
                  </a:ext>
                </a:extLst>
              </p:cNvPr>
              <p:cNvSpPr/>
              <p:nvPr/>
            </p:nvSpPr>
            <p:spPr>
              <a:xfrm>
                <a:off x="3357421" y="4768190"/>
                <a:ext cx="37175" cy="40156"/>
              </a:xfrm>
              <a:custGeom>
                <a:avLst/>
                <a:gdLst>
                  <a:gd name="connsiteX0" fmla="*/ 254 w 37175"/>
                  <a:gd name="connsiteY0" fmla="*/ 40156 h 40156"/>
                  <a:gd name="connsiteX1" fmla="*/ 254 w 37175"/>
                  <a:gd name="connsiteY1" fmla="*/ 786 h 40156"/>
                  <a:gd name="connsiteX2" fmla="*/ 10694 w 37175"/>
                  <a:gd name="connsiteY2" fmla="*/ 786 h 40156"/>
                  <a:gd name="connsiteX3" fmla="*/ 10694 w 37175"/>
                  <a:gd name="connsiteY3" fmla="*/ 3834 h 40156"/>
                  <a:gd name="connsiteX4" fmla="*/ 15659 w 37175"/>
                  <a:gd name="connsiteY4" fmla="*/ 913 h 40156"/>
                  <a:gd name="connsiteX5" fmla="*/ 21643 w 37175"/>
                  <a:gd name="connsiteY5" fmla="*/ 24 h 40156"/>
                  <a:gd name="connsiteX6" fmla="*/ 37176 w 37175"/>
                  <a:gd name="connsiteY6" fmla="*/ 14375 h 40156"/>
                  <a:gd name="connsiteX7" fmla="*/ 37176 w 37175"/>
                  <a:gd name="connsiteY7" fmla="*/ 15645 h 40156"/>
                  <a:gd name="connsiteX8" fmla="*/ 37176 w 37175"/>
                  <a:gd name="connsiteY8" fmla="*/ 40029 h 40156"/>
                  <a:gd name="connsiteX9" fmla="*/ 26863 w 37175"/>
                  <a:gd name="connsiteY9" fmla="*/ 40029 h 40156"/>
                  <a:gd name="connsiteX10" fmla="*/ 26863 w 37175"/>
                  <a:gd name="connsiteY10" fmla="*/ 17169 h 40156"/>
                  <a:gd name="connsiteX11" fmla="*/ 24572 w 37175"/>
                  <a:gd name="connsiteY11" fmla="*/ 11200 h 40156"/>
                  <a:gd name="connsiteX12" fmla="*/ 18588 w 37175"/>
                  <a:gd name="connsiteY12" fmla="*/ 8914 h 40156"/>
                  <a:gd name="connsiteX13" fmla="*/ 13877 w 37175"/>
                  <a:gd name="connsiteY13" fmla="*/ 9930 h 40156"/>
                  <a:gd name="connsiteX14" fmla="*/ 10440 w 37175"/>
                  <a:gd name="connsiteY14" fmla="*/ 12851 h 40156"/>
                  <a:gd name="connsiteX15" fmla="*/ 10440 w 37175"/>
                  <a:gd name="connsiteY15" fmla="*/ 40029 h 40156"/>
                  <a:gd name="connsiteX16" fmla="*/ 0 w 37175"/>
                  <a:gd name="connsiteY16" fmla="*/ 40029 h 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 h="40156">
                    <a:moveTo>
                      <a:pt x="254" y="40156"/>
                    </a:moveTo>
                    <a:lnTo>
                      <a:pt x="254" y="786"/>
                    </a:lnTo>
                    <a:lnTo>
                      <a:pt x="10694" y="786"/>
                    </a:lnTo>
                    <a:lnTo>
                      <a:pt x="10694" y="3834"/>
                    </a:lnTo>
                    <a:cubicBezTo>
                      <a:pt x="12222" y="2564"/>
                      <a:pt x="13877" y="1675"/>
                      <a:pt x="15659" y="913"/>
                    </a:cubicBezTo>
                    <a:cubicBezTo>
                      <a:pt x="17569" y="278"/>
                      <a:pt x="19607" y="-103"/>
                      <a:pt x="21643" y="24"/>
                    </a:cubicBezTo>
                    <a:cubicBezTo>
                      <a:pt x="29919" y="-230"/>
                      <a:pt x="36921" y="6120"/>
                      <a:pt x="37176" y="14375"/>
                    </a:cubicBezTo>
                    <a:cubicBezTo>
                      <a:pt x="37176" y="14756"/>
                      <a:pt x="37176" y="15137"/>
                      <a:pt x="37176" y="15645"/>
                    </a:cubicBezTo>
                    <a:lnTo>
                      <a:pt x="37176" y="40029"/>
                    </a:lnTo>
                    <a:lnTo>
                      <a:pt x="26863" y="40029"/>
                    </a:lnTo>
                    <a:lnTo>
                      <a:pt x="26863" y="17169"/>
                    </a:lnTo>
                    <a:cubicBezTo>
                      <a:pt x="26863" y="15010"/>
                      <a:pt x="26099" y="12851"/>
                      <a:pt x="24572" y="11200"/>
                    </a:cubicBezTo>
                    <a:cubicBezTo>
                      <a:pt x="23044" y="9676"/>
                      <a:pt x="20879" y="8787"/>
                      <a:pt x="18588" y="8914"/>
                    </a:cubicBezTo>
                    <a:cubicBezTo>
                      <a:pt x="16933" y="8914"/>
                      <a:pt x="15405" y="9295"/>
                      <a:pt x="13877" y="9930"/>
                    </a:cubicBezTo>
                    <a:cubicBezTo>
                      <a:pt x="12477" y="10565"/>
                      <a:pt x="11331" y="11581"/>
                      <a:pt x="10440" y="12851"/>
                    </a:cubicBezTo>
                    <a:lnTo>
                      <a:pt x="10440" y="40029"/>
                    </a:lnTo>
                    <a:lnTo>
                      <a:pt x="0" y="40029"/>
                    </a:lnTo>
                    <a:close/>
                  </a:path>
                </a:pathLst>
              </a:custGeom>
              <a:solidFill>
                <a:srgbClr val="FFFFFF"/>
              </a:solidFill>
              <a:ln w="0" cap="flat">
                <a:noFill/>
                <a:prstDash val="solid"/>
                <a:miter/>
              </a:ln>
            </p:spPr>
            <p:txBody>
              <a:bodyPr rtlCol="0" anchor="ctr"/>
              <a:lstStyle/>
              <a:p>
                <a:endParaRPr lang="en-AD" sz="2400"/>
              </a:p>
            </p:txBody>
          </p:sp>
          <p:sp>
            <p:nvSpPr>
              <p:cNvPr id="88" name="Freeform 87">
                <a:extLst>
                  <a:ext uri="{FF2B5EF4-FFF2-40B4-BE49-F238E27FC236}">
                    <a16:creationId xmlns:a16="http://schemas.microsoft.com/office/drawing/2014/main" id="{A2E47B6D-F98E-7365-F5CB-11D9DCC6280A}"/>
                  </a:ext>
                </a:extLst>
              </p:cNvPr>
              <p:cNvSpPr/>
              <p:nvPr/>
            </p:nvSpPr>
            <p:spPr>
              <a:xfrm>
                <a:off x="3400198" y="4768215"/>
                <a:ext cx="40231" cy="40894"/>
              </a:xfrm>
              <a:custGeom>
                <a:avLst/>
                <a:gdLst>
                  <a:gd name="connsiteX0" fmla="*/ 37430 w 40231"/>
                  <a:gd name="connsiteY0" fmla="*/ 35179 h 40894"/>
                  <a:gd name="connsiteX1" fmla="*/ 29919 w 40231"/>
                  <a:gd name="connsiteY1" fmla="*/ 39497 h 40894"/>
                  <a:gd name="connsiteX2" fmla="*/ 21262 w 40231"/>
                  <a:gd name="connsiteY2" fmla="*/ 40894 h 40894"/>
                  <a:gd name="connsiteX3" fmla="*/ 12859 w 40231"/>
                  <a:gd name="connsiteY3" fmla="*/ 39243 h 40894"/>
                  <a:gd name="connsiteX4" fmla="*/ 6111 w 40231"/>
                  <a:gd name="connsiteY4" fmla="*/ 34925 h 40894"/>
                  <a:gd name="connsiteX5" fmla="*/ 0 w 40231"/>
                  <a:gd name="connsiteY5" fmla="*/ 20447 h 40894"/>
                  <a:gd name="connsiteX6" fmla="*/ 1528 w 40231"/>
                  <a:gd name="connsiteY6" fmla="*/ 12446 h 40894"/>
                  <a:gd name="connsiteX7" fmla="*/ 5857 w 40231"/>
                  <a:gd name="connsiteY7" fmla="*/ 5969 h 40894"/>
                  <a:gd name="connsiteX8" fmla="*/ 12350 w 40231"/>
                  <a:gd name="connsiteY8" fmla="*/ 1651 h 40894"/>
                  <a:gd name="connsiteX9" fmla="*/ 20370 w 40231"/>
                  <a:gd name="connsiteY9" fmla="*/ 0 h 40894"/>
                  <a:gd name="connsiteX10" fmla="*/ 34375 w 40231"/>
                  <a:gd name="connsiteY10" fmla="*/ 5969 h 40894"/>
                  <a:gd name="connsiteX11" fmla="*/ 38704 w 40231"/>
                  <a:gd name="connsiteY11" fmla="*/ 12573 h 40894"/>
                  <a:gd name="connsiteX12" fmla="*/ 40231 w 40231"/>
                  <a:gd name="connsiteY12" fmla="*/ 21209 h 40894"/>
                  <a:gd name="connsiteX13" fmla="*/ 40231 w 40231"/>
                  <a:gd name="connsiteY13" fmla="*/ 23876 h 40894"/>
                  <a:gd name="connsiteX14" fmla="*/ 10949 w 40231"/>
                  <a:gd name="connsiteY14" fmla="*/ 23876 h 40894"/>
                  <a:gd name="connsiteX15" fmla="*/ 15278 w 40231"/>
                  <a:gd name="connsiteY15" fmla="*/ 29845 h 40894"/>
                  <a:gd name="connsiteX16" fmla="*/ 22407 w 40231"/>
                  <a:gd name="connsiteY16" fmla="*/ 32131 h 40894"/>
                  <a:gd name="connsiteX17" fmla="*/ 27245 w 40231"/>
                  <a:gd name="connsiteY17" fmla="*/ 31369 h 40894"/>
                  <a:gd name="connsiteX18" fmla="*/ 31065 w 40231"/>
                  <a:gd name="connsiteY18" fmla="*/ 28956 h 40894"/>
                  <a:gd name="connsiteX19" fmla="*/ 37430 w 40231"/>
                  <a:gd name="connsiteY19" fmla="*/ 34925 h 40894"/>
                  <a:gd name="connsiteX20" fmla="*/ 20243 w 40231"/>
                  <a:gd name="connsiteY20" fmla="*/ 8636 h 40894"/>
                  <a:gd name="connsiteX21" fmla="*/ 14132 w 40231"/>
                  <a:gd name="connsiteY21" fmla="*/ 10795 h 40894"/>
                  <a:gd name="connsiteX22" fmla="*/ 10567 w 40231"/>
                  <a:gd name="connsiteY22" fmla="*/ 16510 h 40894"/>
                  <a:gd name="connsiteX23" fmla="*/ 29792 w 40231"/>
                  <a:gd name="connsiteY23" fmla="*/ 16510 h 40894"/>
                  <a:gd name="connsiteX24" fmla="*/ 26227 w 40231"/>
                  <a:gd name="connsiteY24" fmla="*/ 10795 h 40894"/>
                  <a:gd name="connsiteX25" fmla="*/ 20370 w 40231"/>
                  <a:gd name="connsiteY25" fmla="*/ 8636 h 40894"/>
                  <a:gd name="connsiteX26" fmla="*/ 20243 w 40231"/>
                  <a:gd name="connsiteY26"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231"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5718" y="0"/>
                      <a:pt x="30810" y="2159"/>
                      <a:pt x="34375" y="5969"/>
                    </a:cubicBezTo>
                    <a:cubicBezTo>
                      <a:pt x="36285" y="7874"/>
                      <a:pt x="37685" y="10160"/>
                      <a:pt x="38704" y="12573"/>
                    </a:cubicBezTo>
                    <a:cubicBezTo>
                      <a:pt x="39722" y="15367"/>
                      <a:pt x="40231" y="18288"/>
                      <a:pt x="40231" y="21209"/>
                    </a:cubicBezTo>
                    <a:lnTo>
                      <a:pt x="40231" y="23876"/>
                    </a:lnTo>
                    <a:lnTo>
                      <a:pt x="10949" y="23876"/>
                    </a:lnTo>
                    <a:cubicBezTo>
                      <a:pt x="11713" y="26289"/>
                      <a:pt x="13241" y="28448"/>
                      <a:pt x="15278" y="29845"/>
                    </a:cubicBezTo>
                    <a:cubicBezTo>
                      <a:pt x="17315" y="31369"/>
                      <a:pt x="19861" y="32131"/>
                      <a:pt x="22407" y="32131"/>
                    </a:cubicBezTo>
                    <a:cubicBezTo>
                      <a:pt x="24063" y="32131"/>
                      <a:pt x="25718" y="31877"/>
                      <a:pt x="27245" y="31369"/>
                    </a:cubicBezTo>
                    <a:cubicBezTo>
                      <a:pt x="28646" y="30861"/>
                      <a:pt x="30046" y="30099"/>
                      <a:pt x="31065" y="28956"/>
                    </a:cubicBezTo>
                    <a:lnTo>
                      <a:pt x="37430" y="34925"/>
                    </a:lnTo>
                    <a:close/>
                    <a:moveTo>
                      <a:pt x="20243" y="8636"/>
                    </a:moveTo>
                    <a:cubicBezTo>
                      <a:pt x="17951" y="8636"/>
                      <a:pt x="15787" y="9398"/>
                      <a:pt x="14132" y="10795"/>
                    </a:cubicBezTo>
                    <a:cubicBezTo>
                      <a:pt x="12350" y="12319"/>
                      <a:pt x="11204" y="14351"/>
                      <a:pt x="10567" y="16510"/>
                    </a:cubicBezTo>
                    <a:lnTo>
                      <a:pt x="29792" y="16510"/>
                    </a:lnTo>
                    <a:cubicBezTo>
                      <a:pt x="29155" y="14351"/>
                      <a:pt x="28009" y="12319"/>
                      <a:pt x="26227" y="10795"/>
                    </a:cubicBezTo>
                    <a:cubicBezTo>
                      <a:pt x="24572"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89" name="Freeform 88">
                <a:extLst>
                  <a:ext uri="{FF2B5EF4-FFF2-40B4-BE49-F238E27FC236}">
                    <a16:creationId xmlns:a16="http://schemas.microsoft.com/office/drawing/2014/main" id="{6A5E6FA5-1C4A-4BE3-D806-40B3696BCA40}"/>
                  </a:ext>
                </a:extLst>
              </p:cNvPr>
              <p:cNvSpPr/>
              <p:nvPr/>
            </p:nvSpPr>
            <p:spPr>
              <a:xfrm>
                <a:off x="3443103" y="4768309"/>
                <a:ext cx="35657" cy="40925"/>
              </a:xfrm>
              <a:custGeom>
                <a:avLst/>
                <a:gdLst>
                  <a:gd name="connsiteX0" fmla="*/ 0 w 35657"/>
                  <a:gd name="connsiteY0" fmla="*/ 35338 h 40925"/>
                  <a:gd name="connsiteX1" fmla="*/ 5093 w 35657"/>
                  <a:gd name="connsiteY1" fmla="*/ 28480 h 40925"/>
                  <a:gd name="connsiteX2" fmla="*/ 11713 w 35657"/>
                  <a:gd name="connsiteY2" fmla="*/ 31782 h 40925"/>
                  <a:gd name="connsiteX3" fmla="*/ 17951 w 35657"/>
                  <a:gd name="connsiteY3" fmla="*/ 32798 h 40925"/>
                  <a:gd name="connsiteX4" fmla="*/ 23553 w 35657"/>
                  <a:gd name="connsiteY4" fmla="*/ 31655 h 40925"/>
                  <a:gd name="connsiteX5" fmla="*/ 25590 w 35657"/>
                  <a:gd name="connsiteY5" fmla="*/ 28607 h 40925"/>
                  <a:gd name="connsiteX6" fmla="*/ 24445 w 35657"/>
                  <a:gd name="connsiteY6" fmla="*/ 26194 h 40925"/>
                  <a:gd name="connsiteX7" fmla="*/ 20752 w 35657"/>
                  <a:gd name="connsiteY7" fmla="*/ 24924 h 40925"/>
                  <a:gd name="connsiteX8" fmla="*/ 13241 w 35657"/>
                  <a:gd name="connsiteY8" fmla="*/ 23781 h 40925"/>
                  <a:gd name="connsiteX9" fmla="*/ 4329 w 35657"/>
                  <a:gd name="connsiteY9" fmla="*/ 20098 h 40925"/>
                  <a:gd name="connsiteX10" fmla="*/ 1273 w 35657"/>
                  <a:gd name="connsiteY10" fmla="*/ 12478 h 40925"/>
                  <a:gd name="connsiteX11" fmla="*/ 5602 w 35657"/>
                  <a:gd name="connsiteY11" fmla="*/ 3461 h 40925"/>
                  <a:gd name="connsiteX12" fmla="*/ 17569 w 35657"/>
                  <a:gd name="connsiteY12" fmla="*/ 32 h 40925"/>
                  <a:gd name="connsiteX13" fmla="*/ 25972 w 35657"/>
                  <a:gd name="connsiteY13" fmla="*/ 1302 h 40925"/>
                  <a:gd name="connsiteX14" fmla="*/ 33739 w 35657"/>
                  <a:gd name="connsiteY14" fmla="*/ 4985 h 40925"/>
                  <a:gd name="connsiteX15" fmla="*/ 28773 w 35657"/>
                  <a:gd name="connsiteY15" fmla="*/ 11589 h 40925"/>
                  <a:gd name="connsiteX16" fmla="*/ 22535 w 35657"/>
                  <a:gd name="connsiteY16" fmla="*/ 8795 h 40925"/>
                  <a:gd name="connsiteX17" fmla="*/ 16551 w 35657"/>
                  <a:gd name="connsiteY17" fmla="*/ 7906 h 40925"/>
                  <a:gd name="connsiteX18" fmla="*/ 12222 w 35657"/>
                  <a:gd name="connsiteY18" fmla="*/ 8922 h 40925"/>
                  <a:gd name="connsiteX19" fmla="*/ 10567 w 35657"/>
                  <a:gd name="connsiteY19" fmla="*/ 11716 h 40925"/>
                  <a:gd name="connsiteX20" fmla="*/ 11713 w 35657"/>
                  <a:gd name="connsiteY20" fmla="*/ 14129 h 40925"/>
                  <a:gd name="connsiteX21" fmla="*/ 16042 w 35657"/>
                  <a:gd name="connsiteY21" fmla="*/ 15399 h 40925"/>
                  <a:gd name="connsiteX22" fmla="*/ 23681 w 35657"/>
                  <a:gd name="connsiteY22" fmla="*/ 16542 h 40925"/>
                  <a:gd name="connsiteX23" fmla="*/ 32593 w 35657"/>
                  <a:gd name="connsiteY23" fmla="*/ 20225 h 40925"/>
                  <a:gd name="connsiteX24" fmla="*/ 35648 w 35657"/>
                  <a:gd name="connsiteY24" fmla="*/ 27718 h 40925"/>
                  <a:gd name="connsiteX25" fmla="*/ 34375 w 35657"/>
                  <a:gd name="connsiteY25" fmla="*/ 32925 h 40925"/>
                  <a:gd name="connsiteX26" fmla="*/ 30810 w 35657"/>
                  <a:gd name="connsiteY26" fmla="*/ 37243 h 40925"/>
                  <a:gd name="connsiteX27" fmla="*/ 25336 w 35657"/>
                  <a:gd name="connsiteY27" fmla="*/ 39910 h 40925"/>
                  <a:gd name="connsiteX28" fmla="*/ 18461 w 35657"/>
                  <a:gd name="connsiteY28" fmla="*/ 40926 h 40925"/>
                  <a:gd name="connsiteX29" fmla="*/ 8403 w 35657"/>
                  <a:gd name="connsiteY29" fmla="*/ 39529 h 40925"/>
                  <a:gd name="connsiteX30" fmla="*/ 127 w 35657"/>
                  <a:gd name="connsiteY30" fmla="*/ 35338 h 4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657" h="40925">
                    <a:moveTo>
                      <a:pt x="0" y="35338"/>
                    </a:moveTo>
                    <a:lnTo>
                      <a:pt x="5093" y="28480"/>
                    </a:lnTo>
                    <a:cubicBezTo>
                      <a:pt x="7130" y="29877"/>
                      <a:pt x="9422" y="31020"/>
                      <a:pt x="11713" y="31782"/>
                    </a:cubicBezTo>
                    <a:cubicBezTo>
                      <a:pt x="13750" y="32544"/>
                      <a:pt x="15787" y="32798"/>
                      <a:pt x="17951" y="32798"/>
                    </a:cubicBezTo>
                    <a:cubicBezTo>
                      <a:pt x="19861" y="32798"/>
                      <a:pt x="21771" y="32544"/>
                      <a:pt x="23553" y="31655"/>
                    </a:cubicBezTo>
                    <a:cubicBezTo>
                      <a:pt x="24826" y="31147"/>
                      <a:pt x="25590" y="30004"/>
                      <a:pt x="25590" y="28607"/>
                    </a:cubicBezTo>
                    <a:cubicBezTo>
                      <a:pt x="25590" y="27718"/>
                      <a:pt x="25208" y="26702"/>
                      <a:pt x="24445" y="26194"/>
                    </a:cubicBezTo>
                    <a:cubicBezTo>
                      <a:pt x="23299" y="25432"/>
                      <a:pt x="22026" y="25051"/>
                      <a:pt x="20752" y="24924"/>
                    </a:cubicBezTo>
                    <a:lnTo>
                      <a:pt x="13241" y="23781"/>
                    </a:lnTo>
                    <a:cubicBezTo>
                      <a:pt x="9931" y="23400"/>
                      <a:pt x="6875" y="22130"/>
                      <a:pt x="4329" y="20098"/>
                    </a:cubicBezTo>
                    <a:cubicBezTo>
                      <a:pt x="2292" y="18066"/>
                      <a:pt x="1146" y="15399"/>
                      <a:pt x="1273" y="12478"/>
                    </a:cubicBezTo>
                    <a:cubicBezTo>
                      <a:pt x="1146" y="8922"/>
                      <a:pt x="2801" y="5493"/>
                      <a:pt x="5602" y="3461"/>
                    </a:cubicBezTo>
                    <a:cubicBezTo>
                      <a:pt x="9040" y="1048"/>
                      <a:pt x="13241" y="-222"/>
                      <a:pt x="17569" y="32"/>
                    </a:cubicBezTo>
                    <a:cubicBezTo>
                      <a:pt x="20370" y="32"/>
                      <a:pt x="23299" y="413"/>
                      <a:pt x="25972" y="1302"/>
                    </a:cubicBezTo>
                    <a:cubicBezTo>
                      <a:pt x="28773" y="2191"/>
                      <a:pt x="31320" y="3334"/>
                      <a:pt x="33739" y="4985"/>
                    </a:cubicBezTo>
                    <a:lnTo>
                      <a:pt x="28773" y="11589"/>
                    </a:lnTo>
                    <a:cubicBezTo>
                      <a:pt x="26864" y="10446"/>
                      <a:pt x="24699" y="9430"/>
                      <a:pt x="22535" y="8795"/>
                    </a:cubicBezTo>
                    <a:cubicBezTo>
                      <a:pt x="20625" y="8160"/>
                      <a:pt x="18588" y="7906"/>
                      <a:pt x="16551" y="7906"/>
                    </a:cubicBezTo>
                    <a:cubicBezTo>
                      <a:pt x="15023" y="7906"/>
                      <a:pt x="13623" y="8287"/>
                      <a:pt x="12222" y="8922"/>
                    </a:cubicBezTo>
                    <a:cubicBezTo>
                      <a:pt x="11204" y="9430"/>
                      <a:pt x="10567" y="10573"/>
                      <a:pt x="10567" y="11716"/>
                    </a:cubicBezTo>
                    <a:cubicBezTo>
                      <a:pt x="10567" y="12732"/>
                      <a:pt x="10949" y="13621"/>
                      <a:pt x="11713" y="14129"/>
                    </a:cubicBezTo>
                    <a:cubicBezTo>
                      <a:pt x="12986" y="14891"/>
                      <a:pt x="14514" y="15272"/>
                      <a:pt x="16042" y="15399"/>
                    </a:cubicBezTo>
                    <a:lnTo>
                      <a:pt x="23681" y="16542"/>
                    </a:lnTo>
                    <a:cubicBezTo>
                      <a:pt x="26991" y="16796"/>
                      <a:pt x="30046" y="18193"/>
                      <a:pt x="32593" y="20225"/>
                    </a:cubicBezTo>
                    <a:cubicBezTo>
                      <a:pt x="34630" y="22130"/>
                      <a:pt x="35776" y="24924"/>
                      <a:pt x="35648" y="27718"/>
                    </a:cubicBezTo>
                    <a:cubicBezTo>
                      <a:pt x="35648" y="29496"/>
                      <a:pt x="35266" y="31274"/>
                      <a:pt x="34375" y="32925"/>
                    </a:cubicBezTo>
                    <a:cubicBezTo>
                      <a:pt x="33484" y="34576"/>
                      <a:pt x="32211" y="36100"/>
                      <a:pt x="30810" y="37243"/>
                    </a:cubicBezTo>
                    <a:cubicBezTo>
                      <a:pt x="29155" y="38513"/>
                      <a:pt x="27373" y="39402"/>
                      <a:pt x="25336" y="39910"/>
                    </a:cubicBezTo>
                    <a:cubicBezTo>
                      <a:pt x="23044" y="40545"/>
                      <a:pt x="20752" y="40926"/>
                      <a:pt x="18461" y="40926"/>
                    </a:cubicBezTo>
                    <a:cubicBezTo>
                      <a:pt x="15023" y="40926"/>
                      <a:pt x="11713" y="40418"/>
                      <a:pt x="8403" y="39529"/>
                    </a:cubicBezTo>
                    <a:cubicBezTo>
                      <a:pt x="5347" y="38640"/>
                      <a:pt x="2546" y="37243"/>
                      <a:pt x="127" y="35338"/>
                    </a:cubicBezTo>
                    <a:close/>
                  </a:path>
                </a:pathLst>
              </a:custGeom>
              <a:solidFill>
                <a:srgbClr val="FFFFFF"/>
              </a:solidFill>
              <a:ln w="0" cap="flat">
                <a:noFill/>
                <a:prstDash val="solid"/>
                <a:miter/>
              </a:ln>
            </p:spPr>
            <p:txBody>
              <a:bodyPr rtlCol="0" anchor="ctr"/>
              <a:lstStyle/>
              <a:p>
                <a:endParaRPr lang="en-AD" sz="2400"/>
              </a:p>
            </p:txBody>
          </p:sp>
          <p:sp>
            <p:nvSpPr>
              <p:cNvPr id="90" name="Freeform 89">
                <a:extLst>
                  <a:ext uri="{FF2B5EF4-FFF2-40B4-BE49-F238E27FC236}">
                    <a16:creationId xmlns:a16="http://schemas.microsoft.com/office/drawing/2014/main" id="{EC8BF8B4-8523-3AC9-B8C7-08F431690A47}"/>
                  </a:ext>
                </a:extLst>
              </p:cNvPr>
              <p:cNvSpPr/>
              <p:nvPr/>
            </p:nvSpPr>
            <p:spPr>
              <a:xfrm>
                <a:off x="3499376" y="4755515"/>
                <a:ext cx="41249" cy="52831"/>
              </a:xfrm>
              <a:custGeom>
                <a:avLst/>
                <a:gdLst>
                  <a:gd name="connsiteX0" fmla="*/ 0 w 41249"/>
                  <a:gd name="connsiteY0" fmla="*/ 52832 h 52831"/>
                  <a:gd name="connsiteX1" fmla="*/ 0 w 41249"/>
                  <a:gd name="connsiteY1" fmla="*/ 0 h 52831"/>
                  <a:gd name="connsiteX2" fmla="*/ 40741 w 41249"/>
                  <a:gd name="connsiteY2" fmla="*/ 0 h 52831"/>
                  <a:gd name="connsiteX3" fmla="*/ 40741 w 41249"/>
                  <a:gd name="connsiteY3" fmla="*/ 9525 h 52831"/>
                  <a:gd name="connsiteX4" fmla="*/ 11076 w 41249"/>
                  <a:gd name="connsiteY4" fmla="*/ 9525 h 52831"/>
                  <a:gd name="connsiteX5" fmla="*/ 11076 w 41249"/>
                  <a:gd name="connsiteY5" fmla="*/ 21590 h 52831"/>
                  <a:gd name="connsiteX6" fmla="*/ 30683 w 41249"/>
                  <a:gd name="connsiteY6" fmla="*/ 21590 h 52831"/>
                  <a:gd name="connsiteX7" fmla="*/ 30683 w 41249"/>
                  <a:gd name="connsiteY7" fmla="*/ 30734 h 52831"/>
                  <a:gd name="connsiteX8" fmla="*/ 11076 w 41249"/>
                  <a:gd name="connsiteY8" fmla="*/ 30734 h 52831"/>
                  <a:gd name="connsiteX9" fmla="*/ 11076 w 41249"/>
                  <a:gd name="connsiteY9" fmla="*/ 43307 h 52831"/>
                  <a:gd name="connsiteX10" fmla="*/ 41250 w 41249"/>
                  <a:gd name="connsiteY10" fmla="*/ 43307 h 52831"/>
                  <a:gd name="connsiteX11" fmla="*/ 41250 w 41249"/>
                  <a:gd name="connsiteY11" fmla="*/ 52832 h 52831"/>
                  <a:gd name="connsiteX12" fmla="*/ 127 w 41249"/>
                  <a:gd name="connsiteY12" fmla="*/ 52832 h 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49" h="52831">
                    <a:moveTo>
                      <a:pt x="0" y="52832"/>
                    </a:moveTo>
                    <a:lnTo>
                      <a:pt x="0" y="0"/>
                    </a:lnTo>
                    <a:lnTo>
                      <a:pt x="40741" y="0"/>
                    </a:lnTo>
                    <a:lnTo>
                      <a:pt x="40741" y="9525"/>
                    </a:lnTo>
                    <a:lnTo>
                      <a:pt x="11076" y="9525"/>
                    </a:lnTo>
                    <a:lnTo>
                      <a:pt x="11076" y="21590"/>
                    </a:lnTo>
                    <a:lnTo>
                      <a:pt x="30683" y="21590"/>
                    </a:lnTo>
                    <a:lnTo>
                      <a:pt x="30683" y="30734"/>
                    </a:lnTo>
                    <a:lnTo>
                      <a:pt x="11076" y="30734"/>
                    </a:lnTo>
                    <a:lnTo>
                      <a:pt x="11076" y="43307"/>
                    </a:lnTo>
                    <a:lnTo>
                      <a:pt x="41250" y="43307"/>
                    </a:lnTo>
                    <a:lnTo>
                      <a:pt x="41250" y="52832"/>
                    </a:lnTo>
                    <a:lnTo>
                      <a:pt x="127" y="52832"/>
                    </a:lnTo>
                    <a:close/>
                  </a:path>
                </a:pathLst>
              </a:custGeom>
              <a:solidFill>
                <a:srgbClr val="FFFFFF"/>
              </a:solidFill>
              <a:ln w="0" cap="flat">
                <a:noFill/>
                <a:prstDash val="solid"/>
                <a:miter/>
              </a:ln>
            </p:spPr>
            <p:txBody>
              <a:bodyPr rtlCol="0" anchor="ctr"/>
              <a:lstStyle/>
              <a:p>
                <a:endParaRPr lang="en-AD" sz="2400"/>
              </a:p>
            </p:txBody>
          </p:sp>
          <p:sp>
            <p:nvSpPr>
              <p:cNvPr id="91" name="Freeform 90">
                <a:extLst>
                  <a:ext uri="{FF2B5EF4-FFF2-40B4-BE49-F238E27FC236}">
                    <a16:creationId xmlns:a16="http://schemas.microsoft.com/office/drawing/2014/main" id="{444D64D6-DBE5-77CE-E610-BB6F23430D8A}"/>
                  </a:ext>
                </a:extLst>
              </p:cNvPr>
              <p:cNvSpPr/>
              <p:nvPr/>
            </p:nvSpPr>
            <p:spPr>
              <a:xfrm>
                <a:off x="3545966" y="4768977"/>
                <a:ext cx="36801" cy="40139"/>
              </a:xfrm>
              <a:custGeom>
                <a:avLst/>
                <a:gdLst>
                  <a:gd name="connsiteX0" fmla="*/ 10192 w 36801"/>
                  <a:gd name="connsiteY0" fmla="*/ 0 h 40139"/>
                  <a:gd name="connsiteX1" fmla="*/ 10192 w 36801"/>
                  <a:gd name="connsiteY1" fmla="*/ 22860 h 40139"/>
                  <a:gd name="connsiteX2" fmla="*/ 12484 w 36801"/>
                  <a:gd name="connsiteY2" fmla="*/ 28829 h 40139"/>
                  <a:gd name="connsiteX3" fmla="*/ 18341 w 36801"/>
                  <a:gd name="connsiteY3" fmla="*/ 31115 h 40139"/>
                  <a:gd name="connsiteX4" fmla="*/ 23051 w 36801"/>
                  <a:gd name="connsiteY4" fmla="*/ 30099 h 40139"/>
                  <a:gd name="connsiteX5" fmla="*/ 26489 w 36801"/>
                  <a:gd name="connsiteY5" fmla="*/ 27178 h 40139"/>
                  <a:gd name="connsiteX6" fmla="*/ 26489 w 36801"/>
                  <a:gd name="connsiteY6" fmla="*/ 0 h 40139"/>
                  <a:gd name="connsiteX7" fmla="*/ 36801 w 36801"/>
                  <a:gd name="connsiteY7" fmla="*/ 0 h 40139"/>
                  <a:gd name="connsiteX8" fmla="*/ 36801 w 36801"/>
                  <a:gd name="connsiteY8" fmla="*/ 39370 h 40139"/>
                  <a:gd name="connsiteX9" fmla="*/ 26616 w 36801"/>
                  <a:gd name="connsiteY9" fmla="*/ 39370 h 40139"/>
                  <a:gd name="connsiteX10" fmla="*/ 26616 w 36801"/>
                  <a:gd name="connsiteY10" fmla="*/ 36195 h 40139"/>
                  <a:gd name="connsiteX11" fmla="*/ 21524 w 36801"/>
                  <a:gd name="connsiteY11" fmla="*/ 39116 h 40139"/>
                  <a:gd name="connsiteX12" fmla="*/ 15540 w 36801"/>
                  <a:gd name="connsiteY12" fmla="*/ 40132 h 40139"/>
                  <a:gd name="connsiteX13" fmla="*/ 4336 w 36801"/>
                  <a:gd name="connsiteY13" fmla="*/ 35814 h 40139"/>
                  <a:gd name="connsiteX14" fmla="*/ 7 w 36801"/>
                  <a:gd name="connsiteY14" fmla="*/ 24511 h 40139"/>
                  <a:gd name="connsiteX15" fmla="*/ 7 w 36801"/>
                  <a:gd name="connsiteY15" fmla="*/ 0 h 40139"/>
                  <a:gd name="connsiteX16" fmla="*/ 10192 w 36801"/>
                  <a:gd name="connsiteY16" fmla="*/ 0 h 4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01" h="40139">
                    <a:moveTo>
                      <a:pt x="10192" y="0"/>
                    </a:moveTo>
                    <a:lnTo>
                      <a:pt x="10192" y="22860"/>
                    </a:lnTo>
                    <a:cubicBezTo>
                      <a:pt x="10192" y="25146"/>
                      <a:pt x="10829" y="27305"/>
                      <a:pt x="12484" y="28829"/>
                    </a:cubicBezTo>
                    <a:cubicBezTo>
                      <a:pt x="14012" y="30353"/>
                      <a:pt x="16176" y="31242"/>
                      <a:pt x="18341" y="31115"/>
                    </a:cubicBezTo>
                    <a:cubicBezTo>
                      <a:pt x="19996" y="31115"/>
                      <a:pt x="21651" y="30734"/>
                      <a:pt x="23051" y="30099"/>
                    </a:cubicBezTo>
                    <a:cubicBezTo>
                      <a:pt x="24452" y="29464"/>
                      <a:pt x="25598" y="28448"/>
                      <a:pt x="26489" y="27178"/>
                    </a:cubicBezTo>
                    <a:lnTo>
                      <a:pt x="26489" y="0"/>
                    </a:lnTo>
                    <a:lnTo>
                      <a:pt x="36801" y="0"/>
                    </a:lnTo>
                    <a:lnTo>
                      <a:pt x="36801" y="39370"/>
                    </a:lnTo>
                    <a:lnTo>
                      <a:pt x="26616" y="39370"/>
                    </a:lnTo>
                    <a:lnTo>
                      <a:pt x="26616" y="36195"/>
                    </a:lnTo>
                    <a:cubicBezTo>
                      <a:pt x="25088" y="37465"/>
                      <a:pt x="23433" y="38481"/>
                      <a:pt x="21524" y="39116"/>
                    </a:cubicBezTo>
                    <a:cubicBezTo>
                      <a:pt x="19614" y="39878"/>
                      <a:pt x="17577" y="40132"/>
                      <a:pt x="15540" y="40132"/>
                    </a:cubicBezTo>
                    <a:cubicBezTo>
                      <a:pt x="11338" y="40259"/>
                      <a:pt x="7264" y="38735"/>
                      <a:pt x="4336" y="35814"/>
                    </a:cubicBezTo>
                    <a:cubicBezTo>
                      <a:pt x="1408" y="32766"/>
                      <a:pt x="-120" y="28702"/>
                      <a:pt x="7" y="24511"/>
                    </a:cubicBezTo>
                    <a:lnTo>
                      <a:pt x="7" y="0"/>
                    </a:lnTo>
                    <a:lnTo>
                      <a:pt x="10192" y="0"/>
                    </a:lnTo>
                    <a:close/>
                  </a:path>
                </a:pathLst>
              </a:custGeom>
              <a:solidFill>
                <a:srgbClr val="FFFFFF"/>
              </a:solidFill>
              <a:ln w="0" cap="flat">
                <a:noFill/>
                <a:prstDash val="solid"/>
                <a:miter/>
              </a:ln>
            </p:spPr>
            <p:txBody>
              <a:bodyPr rtlCol="0" anchor="ctr"/>
              <a:lstStyle/>
              <a:p>
                <a:endParaRPr lang="en-AD" sz="2400"/>
              </a:p>
            </p:txBody>
          </p:sp>
          <p:sp>
            <p:nvSpPr>
              <p:cNvPr id="92" name="Freeform 91">
                <a:extLst>
                  <a:ext uri="{FF2B5EF4-FFF2-40B4-BE49-F238E27FC236}">
                    <a16:creationId xmlns:a16="http://schemas.microsoft.com/office/drawing/2014/main" id="{4621CCC3-00AE-AD38-FB0A-6DD2ADEA0423}"/>
                  </a:ext>
                </a:extLst>
              </p:cNvPr>
              <p:cNvSpPr/>
              <p:nvPr/>
            </p:nvSpPr>
            <p:spPr>
              <a:xfrm>
                <a:off x="3591043" y="4768195"/>
                <a:ext cx="25207" cy="40151"/>
              </a:xfrm>
              <a:custGeom>
                <a:avLst/>
                <a:gdLst>
                  <a:gd name="connsiteX0" fmla="*/ 127 w 25207"/>
                  <a:gd name="connsiteY0" fmla="*/ 40151 h 40151"/>
                  <a:gd name="connsiteX1" fmla="*/ 127 w 25207"/>
                  <a:gd name="connsiteY1" fmla="*/ 781 h 40151"/>
                  <a:gd name="connsiteX2" fmla="*/ 10439 w 25207"/>
                  <a:gd name="connsiteY2" fmla="*/ 781 h 40151"/>
                  <a:gd name="connsiteX3" fmla="*/ 10439 w 25207"/>
                  <a:gd name="connsiteY3" fmla="*/ 5099 h 40151"/>
                  <a:gd name="connsiteX4" fmla="*/ 15023 w 25207"/>
                  <a:gd name="connsiteY4" fmla="*/ 1289 h 40151"/>
                  <a:gd name="connsiteX5" fmla="*/ 20879 w 25207"/>
                  <a:gd name="connsiteY5" fmla="*/ 19 h 40151"/>
                  <a:gd name="connsiteX6" fmla="*/ 23426 w 25207"/>
                  <a:gd name="connsiteY6" fmla="*/ 273 h 40151"/>
                  <a:gd name="connsiteX7" fmla="*/ 25208 w 25207"/>
                  <a:gd name="connsiteY7" fmla="*/ 908 h 40151"/>
                  <a:gd name="connsiteX8" fmla="*/ 25208 w 25207"/>
                  <a:gd name="connsiteY8" fmla="*/ 9925 h 40151"/>
                  <a:gd name="connsiteX9" fmla="*/ 22662 w 25207"/>
                  <a:gd name="connsiteY9" fmla="*/ 9163 h 40151"/>
                  <a:gd name="connsiteX10" fmla="*/ 19861 w 25207"/>
                  <a:gd name="connsiteY10" fmla="*/ 8909 h 40151"/>
                  <a:gd name="connsiteX11" fmla="*/ 10312 w 25207"/>
                  <a:gd name="connsiteY11" fmla="*/ 14751 h 40151"/>
                  <a:gd name="connsiteX12" fmla="*/ 10312 w 25207"/>
                  <a:gd name="connsiteY12" fmla="*/ 40151 h 40151"/>
                  <a:gd name="connsiteX13" fmla="*/ 0 w 25207"/>
                  <a:gd name="connsiteY13" fmla="*/ 40151 h 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07" h="40151">
                    <a:moveTo>
                      <a:pt x="127" y="40151"/>
                    </a:moveTo>
                    <a:lnTo>
                      <a:pt x="127" y="781"/>
                    </a:lnTo>
                    <a:lnTo>
                      <a:pt x="10439" y="781"/>
                    </a:lnTo>
                    <a:lnTo>
                      <a:pt x="10439" y="5099"/>
                    </a:lnTo>
                    <a:cubicBezTo>
                      <a:pt x="11585" y="3448"/>
                      <a:pt x="13240" y="2178"/>
                      <a:pt x="15023" y="1289"/>
                    </a:cubicBezTo>
                    <a:cubicBezTo>
                      <a:pt x="16805" y="400"/>
                      <a:pt x="18842" y="-108"/>
                      <a:pt x="20879" y="19"/>
                    </a:cubicBezTo>
                    <a:cubicBezTo>
                      <a:pt x="21771" y="19"/>
                      <a:pt x="22535" y="19"/>
                      <a:pt x="23426" y="273"/>
                    </a:cubicBezTo>
                    <a:cubicBezTo>
                      <a:pt x="24062" y="273"/>
                      <a:pt x="24699" y="654"/>
                      <a:pt x="25208" y="908"/>
                    </a:cubicBezTo>
                    <a:lnTo>
                      <a:pt x="25208" y="9925"/>
                    </a:lnTo>
                    <a:cubicBezTo>
                      <a:pt x="24444" y="9544"/>
                      <a:pt x="23553" y="9290"/>
                      <a:pt x="22662" y="9163"/>
                    </a:cubicBezTo>
                    <a:cubicBezTo>
                      <a:pt x="21771" y="9036"/>
                      <a:pt x="20752" y="8909"/>
                      <a:pt x="19861" y="8909"/>
                    </a:cubicBezTo>
                    <a:cubicBezTo>
                      <a:pt x="15787" y="8909"/>
                      <a:pt x="12095" y="11195"/>
                      <a:pt x="10312" y="14751"/>
                    </a:cubicBezTo>
                    <a:lnTo>
                      <a:pt x="10312" y="40151"/>
                    </a:lnTo>
                    <a:lnTo>
                      <a:pt x="0" y="40151"/>
                    </a:lnTo>
                    <a:close/>
                  </a:path>
                </a:pathLst>
              </a:custGeom>
              <a:solidFill>
                <a:srgbClr val="FFFFFF"/>
              </a:solidFill>
              <a:ln w="0" cap="flat">
                <a:noFill/>
                <a:prstDash val="solid"/>
                <a:miter/>
              </a:ln>
            </p:spPr>
            <p:txBody>
              <a:bodyPr rtlCol="0" anchor="ctr"/>
              <a:lstStyle/>
              <a:p>
                <a:endParaRPr lang="en-AD" sz="2400"/>
              </a:p>
            </p:txBody>
          </p:sp>
          <p:sp>
            <p:nvSpPr>
              <p:cNvPr id="93" name="Freeform 92">
                <a:extLst>
                  <a:ext uri="{FF2B5EF4-FFF2-40B4-BE49-F238E27FC236}">
                    <a16:creationId xmlns:a16="http://schemas.microsoft.com/office/drawing/2014/main" id="{815DAC76-1EF6-981D-EFCA-674F1D038F5F}"/>
                  </a:ext>
                </a:extLst>
              </p:cNvPr>
              <p:cNvSpPr/>
              <p:nvPr/>
            </p:nvSpPr>
            <p:spPr>
              <a:xfrm>
                <a:off x="3618924" y="4768336"/>
                <a:ext cx="42008" cy="40899"/>
              </a:xfrm>
              <a:custGeom>
                <a:avLst/>
                <a:gdLst>
                  <a:gd name="connsiteX0" fmla="*/ 0 w 42008"/>
                  <a:gd name="connsiteY0" fmla="*/ 20325 h 40899"/>
                  <a:gd name="connsiteX1" fmla="*/ 6111 w 42008"/>
                  <a:gd name="connsiteY1" fmla="*/ 5848 h 40899"/>
                  <a:gd name="connsiteX2" fmla="*/ 21134 w 42008"/>
                  <a:gd name="connsiteY2" fmla="*/ 5 h 40899"/>
                  <a:gd name="connsiteX3" fmla="*/ 29410 w 42008"/>
                  <a:gd name="connsiteY3" fmla="*/ 1529 h 40899"/>
                  <a:gd name="connsiteX4" fmla="*/ 36030 w 42008"/>
                  <a:gd name="connsiteY4" fmla="*/ 5848 h 40899"/>
                  <a:gd name="connsiteX5" fmla="*/ 40358 w 42008"/>
                  <a:gd name="connsiteY5" fmla="*/ 28454 h 40899"/>
                  <a:gd name="connsiteX6" fmla="*/ 36030 w 42008"/>
                  <a:gd name="connsiteY6" fmla="*/ 34930 h 40899"/>
                  <a:gd name="connsiteX7" fmla="*/ 29410 w 42008"/>
                  <a:gd name="connsiteY7" fmla="*/ 39248 h 40899"/>
                  <a:gd name="connsiteX8" fmla="*/ 21134 w 42008"/>
                  <a:gd name="connsiteY8" fmla="*/ 40899 h 40899"/>
                  <a:gd name="connsiteX9" fmla="*/ 6111 w 42008"/>
                  <a:gd name="connsiteY9" fmla="*/ 35057 h 40899"/>
                  <a:gd name="connsiteX10" fmla="*/ 1782 w 42008"/>
                  <a:gd name="connsiteY10" fmla="*/ 28580 h 40899"/>
                  <a:gd name="connsiteX11" fmla="*/ 0 w 42008"/>
                  <a:gd name="connsiteY11" fmla="*/ 20579 h 40899"/>
                  <a:gd name="connsiteX12" fmla="*/ 21007 w 42008"/>
                  <a:gd name="connsiteY12" fmla="*/ 31755 h 40899"/>
                  <a:gd name="connsiteX13" fmla="*/ 28773 w 42008"/>
                  <a:gd name="connsiteY13" fmla="*/ 28454 h 40899"/>
                  <a:gd name="connsiteX14" fmla="*/ 28773 w 42008"/>
                  <a:gd name="connsiteY14" fmla="*/ 12198 h 40899"/>
                  <a:gd name="connsiteX15" fmla="*/ 21007 w 42008"/>
                  <a:gd name="connsiteY15" fmla="*/ 8895 h 40899"/>
                  <a:gd name="connsiteX16" fmla="*/ 13240 w 42008"/>
                  <a:gd name="connsiteY16" fmla="*/ 12198 h 40899"/>
                  <a:gd name="connsiteX17" fmla="*/ 13240 w 42008"/>
                  <a:gd name="connsiteY17" fmla="*/ 28454 h 40899"/>
                  <a:gd name="connsiteX18" fmla="*/ 21007 w 42008"/>
                  <a:gd name="connsiteY18" fmla="*/ 31755 h 4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8" h="40899">
                    <a:moveTo>
                      <a:pt x="0" y="20325"/>
                    </a:moveTo>
                    <a:cubicBezTo>
                      <a:pt x="0" y="14864"/>
                      <a:pt x="2164" y="9657"/>
                      <a:pt x="6111" y="5848"/>
                    </a:cubicBezTo>
                    <a:cubicBezTo>
                      <a:pt x="10058" y="2037"/>
                      <a:pt x="15532" y="-121"/>
                      <a:pt x="21134" y="5"/>
                    </a:cubicBezTo>
                    <a:cubicBezTo>
                      <a:pt x="23935" y="5"/>
                      <a:pt x="26736" y="513"/>
                      <a:pt x="29410" y="1529"/>
                    </a:cubicBezTo>
                    <a:cubicBezTo>
                      <a:pt x="31829" y="2545"/>
                      <a:pt x="34120" y="3942"/>
                      <a:pt x="36030" y="5848"/>
                    </a:cubicBezTo>
                    <a:cubicBezTo>
                      <a:pt x="41886" y="11817"/>
                      <a:pt x="43669" y="20706"/>
                      <a:pt x="40358" y="28454"/>
                    </a:cubicBezTo>
                    <a:cubicBezTo>
                      <a:pt x="39340" y="30867"/>
                      <a:pt x="37939" y="33025"/>
                      <a:pt x="36030" y="34930"/>
                    </a:cubicBezTo>
                    <a:cubicBezTo>
                      <a:pt x="34120" y="36708"/>
                      <a:pt x="31829" y="38232"/>
                      <a:pt x="29410" y="39248"/>
                    </a:cubicBezTo>
                    <a:cubicBezTo>
                      <a:pt x="26736" y="40264"/>
                      <a:pt x="23935" y="40899"/>
                      <a:pt x="21134" y="40899"/>
                    </a:cubicBezTo>
                    <a:cubicBezTo>
                      <a:pt x="15532" y="40899"/>
                      <a:pt x="10185" y="38867"/>
                      <a:pt x="6111" y="35057"/>
                    </a:cubicBezTo>
                    <a:cubicBezTo>
                      <a:pt x="4201" y="33279"/>
                      <a:pt x="2801" y="30993"/>
                      <a:pt x="1782" y="28580"/>
                    </a:cubicBezTo>
                    <a:cubicBezTo>
                      <a:pt x="636" y="26041"/>
                      <a:pt x="0" y="23373"/>
                      <a:pt x="0" y="20579"/>
                    </a:cubicBezTo>
                    <a:close/>
                    <a:moveTo>
                      <a:pt x="21007" y="31755"/>
                    </a:moveTo>
                    <a:cubicBezTo>
                      <a:pt x="23935" y="31755"/>
                      <a:pt x="26736" y="30612"/>
                      <a:pt x="28773" y="28454"/>
                    </a:cubicBezTo>
                    <a:cubicBezTo>
                      <a:pt x="32974" y="23881"/>
                      <a:pt x="32974" y="16897"/>
                      <a:pt x="28773" y="12198"/>
                    </a:cubicBezTo>
                    <a:cubicBezTo>
                      <a:pt x="26736" y="10038"/>
                      <a:pt x="23935" y="8768"/>
                      <a:pt x="21007" y="8895"/>
                    </a:cubicBezTo>
                    <a:cubicBezTo>
                      <a:pt x="18078" y="8895"/>
                      <a:pt x="15277" y="10038"/>
                      <a:pt x="13240" y="12198"/>
                    </a:cubicBezTo>
                    <a:cubicBezTo>
                      <a:pt x="9039" y="16769"/>
                      <a:pt x="9039" y="23881"/>
                      <a:pt x="13240" y="28454"/>
                    </a:cubicBezTo>
                    <a:cubicBezTo>
                      <a:pt x="15277" y="30612"/>
                      <a:pt x="18078" y="31755"/>
                      <a:pt x="21007" y="31755"/>
                    </a:cubicBezTo>
                    <a:close/>
                  </a:path>
                </a:pathLst>
              </a:custGeom>
              <a:solidFill>
                <a:srgbClr val="FFFFFF"/>
              </a:solidFill>
              <a:ln w="0" cap="flat">
                <a:noFill/>
                <a:prstDash val="solid"/>
                <a:miter/>
              </a:ln>
            </p:spPr>
            <p:txBody>
              <a:bodyPr rtlCol="0" anchor="ctr"/>
              <a:lstStyle/>
              <a:p>
                <a:endParaRPr lang="en-AD" sz="2400"/>
              </a:p>
            </p:txBody>
          </p:sp>
          <p:sp>
            <p:nvSpPr>
              <p:cNvPr id="94" name="Freeform 93">
                <a:extLst>
                  <a:ext uri="{FF2B5EF4-FFF2-40B4-BE49-F238E27FC236}">
                    <a16:creationId xmlns:a16="http://schemas.microsoft.com/office/drawing/2014/main" id="{3EDCFEFF-E98C-00CB-A04D-CA2DEF40C3DC}"/>
                  </a:ext>
                </a:extLst>
              </p:cNvPr>
              <p:cNvSpPr/>
              <p:nvPr/>
            </p:nvSpPr>
            <p:spPr>
              <a:xfrm>
                <a:off x="3667049" y="4768571"/>
                <a:ext cx="41570" cy="55777"/>
              </a:xfrm>
              <a:custGeom>
                <a:avLst/>
                <a:gdLst>
                  <a:gd name="connsiteX0" fmla="*/ 127 w 41570"/>
                  <a:gd name="connsiteY0" fmla="*/ 55523 h 55777"/>
                  <a:gd name="connsiteX1" fmla="*/ 127 w 41570"/>
                  <a:gd name="connsiteY1" fmla="*/ 405 h 55777"/>
                  <a:gd name="connsiteX2" fmla="*/ 10312 w 41570"/>
                  <a:gd name="connsiteY2" fmla="*/ 405 h 55777"/>
                  <a:gd name="connsiteX3" fmla="*/ 10312 w 41570"/>
                  <a:gd name="connsiteY3" fmla="*/ 3707 h 55777"/>
                  <a:gd name="connsiteX4" fmla="*/ 15532 w 41570"/>
                  <a:gd name="connsiteY4" fmla="*/ 913 h 55777"/>
                  <a:gd name="connsiteX5" fmla="*/ 21516 w 41570"/>
                  <a:gd name="connsiteY5" fmla="*/ 24 h 55777"/>
                  <a:gd name="connsiteX6" fmla="*/ 29282 w 41570"/>
                  <a:gd name="connsiteY6" fmla="*/ 1675 h 55777"/>
                  <a:gd name="connsiteX7" fmla="*/ 35648 w 41570"/>
                  <a:gd name="connsiteY7" fmla="*/ 5993 h 55777"/>
                  <a:gd name="connsiteX8" fmla="*/ 39977 w 41570"/>
                  <a:gd name="connsiteY8" fmla="*/ 12343 h 55777"/>
                  <a:gd name="connsiteX9" fmla="*/ 35648 w 41570"/>
                  <a:gd name="connsiteY9" fmla="*/ 34568 h 55777"/>
                  <a:gd name="connsiteX10" fmla="*/ 29155 w 41570"/>
                  <a:gd name="connsiteY10" fmla="*/ 38886 h 55777"/>
                  <a:gd name="connsiteX11" fmla="*/ 15532 w 41570"/>
                  <a:gd name="connsiteY11" fmla="*/ 39648 h 55777"/>
                  <a:gd name="connsiteX12" fmla="*/ 10439 w 41570"/>
                  <a:gd name="connsiteY12" fmla="*/ 37362 h 55777"/>
                  <a:gd name="connsiteX13" fmla="*/ 10439 w 41570"/>
                  <a:gd name="connsiteY13" fmla="*/ 55777 h 55777"/>
                  <a:gd name="connsiteX14" fmla="*/ 0 w 41570"/>
                  <a:gd name="connsiteY14" fmla="*/ 55777 h 55777"/>
                  <a:gd name="connsiteX15" fmla="*/ 19861 w 41570"/>
                  <a:gd name="connsiteY15" fmla="*/ 8660 h 55777"/>
                  <a:gd name="connsiteX16" fmla="*/ 14641 w 41570"/>
                  <a:gd name="connsiteY16" fmla="*/ 9549 h 55777"/>
                  <a:gd name="connsiteX17" fmla="*/ 10312 w 41570"/>
                  <a:gd name="connsiteY17" fmla="*/ 12343 h 55777"/>
                  <a:gd name="connsiteX18" fmla="*/ 10312 w 41570"/>
                  <a:gd name="connsiteY18" fmla="*/ 27837 h 55777"/>
                  <a:gd name="connsiteX19" fmla="*/ 14641 w 41570"/>
                  <a:gd name="connsiteY19" fmla="*/ 30504 h 55777"/>
                  <a:gd name="connsiteX20" fmla="*/ 19861 w 41570"/>
                  <a:gd name="connsiteY20" fmla="*/ 31520 h 55777"/>
                  <a:gd name="connsiteX21" fmla="*/ 28009 w 41570"/>
                  <a:gd name="connsiteY21" fmla="*/ 28218 h 55777"/>
                  <a:gd name="connsiteX22" fmla="*/ 31319 w 41570"/>
                  <a:gd name="connsiteY22" fmla="*/ 20090 h 55777"/>
                  <a:gd name="connsiteX23" fmla="*/ 28009 w 41570"/>
                  <a:gd name="connsiteY23" fmla="*/ 11962 h 55777"/>
                  <a:gd name="connsiteX24" fmla="*/ 19861 w 41570"/>
                  <a:gd name="connsiteY24" fmla="*/ 8660 h 5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70" h="55777">
                    <a:moveTo>
                      <a:pt x="127" y="55523"/>
                    </a:moveTo>
                    <a:lnTo>
                      <a:pt x="127" y="405"/>
                    </a:lnTo>
                    <a:lnTo>
                      <a:pt x="10312" y="405"/>
                    </a:lnTo>
                    <a:lnTo>
                      <a:pt x="10312" y="3707"/>
                    </a:lnTo>
                    <a:cubicBezTo>
                      <a:pt x="11840" y="2437"/>
                      <a:pt x="13622" y="1421"/>
                      <a:pt x="15532" y="913"/>
                    </a:cubicBezTo>
                    <a:cubicBezTo>
                      <a:pt x="17442" y="278"/>
                      <a:pt x="19479" y="-103"/>
                      <a:pt x="21516" y="24"/>
                    </a:cubicBezTo>
                    <a:cubicBezTo>
                      <a:pt x="24190" y="24"/>
                      <a:pt x="26863" y="532"/>
                      <a:pt x="29282" y="1675"/>
                    </a:cubicBezTo>
                    <a:cubicBezTo>
                      <a:pt x="31701" y="2691"/>
                      <a:pt x="33865" y="4088"/>
                      <a:pt x="35648" y="5993"/>
                    </a:cubicBezTo>
                    <a:cubicBezTo>
                      <a:pt x="37430" y="7771"/>
                      <a:pt x="38958" y="10057"/>
                      <a:pt x="39977" y="12343"/>
                    </a:cubicBezTo>
                    <a:cubicBezTo>
                      <a:pt x="43159" y="19963"/>
                      <a:pt x="41504" y="28726"/>
                      <a:pt x="35648" y="34568"/>
                    </a:cubicBezTo>
                    <a:cubicBezTo>
                      <a:pt x="33738" y="36473"/>
                      <a:pt x="31574" y="37870"/>
                      <a:pt x="29155" y="38886"/>
                    </a:cubicBezTo>
                    <a:cubicBezTo>
                      <a:pt x="24826" y="40664"/>
                      <a:pt x="19988" y="40918"/>
                      <a:pt x="15532" y="39648"/>
                    </a:cubicBezTo>
                    <a:cubicBezTo>
                      <a:pt x="13750" y="39140"/>
                      <a:pt x="11967" y="38378"/>
                      <a:pt x="10439" y="37362"/>
                    </a:cubicBezTo>
                    <a:lnTo>
                      <a:pt x="10439" y="55777"/>
                    </a:lnTo>
                    <a:lnTo>
                      <a:pt x="0" y="55777"/>
                    </a:lnTo>
                    <a:close/>
                    <a:moveTo>
                      <a:pt x="19861" y="8660"/>
                    </a:moveTo>
                    <a:cubicBezTo>
                      <a:pt x="18078" y="8660"/>
                      <a:pt x="16296" y="8914"/>
                      <a:pt x="14641" y="9549"/>
                    </a:cubicBezTo>
                    <a:cubicBezTo>
                      <a:pt x="12986" y="10184"/>
                      <a:pt x="11585" y="11073"/>
                      <a:pt x="10312" y="12343"/>
                    </a:cubicBezTo>
                    <a:lnTo>
                      <a:pt x="10312" y="27837"/>
                    </a:lnTo>
                    <a:cubicBezTo>
                      <a:pt x="11585" y="28980"/>
                      <a:pt x="12986" y="29869"/>
                      <a:pt x="14641" y="30504"/>
                    </a:cubicBezTo>
                    <a:cubicBezTo>
                      <a:pt x="16296" y="31139"/>
                      <a:pt x="18078" y="31520"/>
                      <a:pt x="19861" y="31520"/>
                    </a:cubicBezTo>
                    <a:cubicBezTo>
                      <a:pt x="22916" y="31520"/>
                      <a:pt x="25845" y="30377"/>
                      <a:pt x="28009" y="28218"/>
                    </a:cubicBezTo>
                    <a:cubicBezTo>
                      <a:pt x="30173" y="26059"/>
                      <a:pt x="31447" y="23138"/>
                      <a:pt x="31319" y="20090"/>
                    </a:cubicBezTo>
                    <a:cubicBezTo>
                      <a:pt x="31319" y="17042"/>
                      <a:pt x="30173" y="14121"/>
                      <a:pt x="28009" y="11962"/>
                    </a:cubicBezTo>
                    <a:cubicBezTo>
                      <a:pt x="25845" y="9803"/>
                      <a:pt x="22916" y="8660"/>
                      <a:pt x="19861" y="8660"/>
                    </a:cubicBezTo>
                    <a:close/>
                  </a:path>
                </a:pathLst>
              </a:custGeom>
              <a:solidFill>
                <a:srgbClr val="FFFFFF"/>
              </a:solidFill>
              <a:ln w="0" cap="flat">
                <a:noFill/>
                <a:prstDash val="solid"/>
                <a:miter/>
              </a:ln>
            </p:spPr>
            <p:txBody>
              <a:bodyPr rtlCol="0" anchor="ctr"/>
              <a:lstStyle/>
              <a:p>
                <a:endParaRPr lang="en-AD" sz="2400"/>
              </a:p>
            </p:txBody>
          </p:sp>
          <p:sp>
            <p:nvSpPr>
              <p:cNvPr id="95" name="Freeform 94">
                <a:extLst>
                  <a:ext uri="{FF2B5EF4-FFF2-40B4-BE49-F238E27FC236}">
                    <a16:creationId xmlns:a16="http://schemas.microsoft.com/office/drawing/2014/main" id="{E5F75A1B-80E1-CC7F-F655-787607571FB1}"/>
                  </a:ext>
                </a:extLst>
              </p:cNvPr>
              <p:cNvSpPr/>
              <p:nvPr/>
            </p:nvSpPr>
            <p:spPr>
              <a:xfrm>
                <a:off x="3712500" y="4768215"/>
                <a:ext cx="39976" cy="40894"/>
              </a:xfrm>
              <a:custGeom>
                <a:avLst/>
                <a:gdLst>
                  <a:gd name="connsiteX0" fmla="*/ 37430 w 39976"/>
                  <a:gd name="connsiteY0" fmla="*/ 35179 h 40894"/>
                  <a:gd name="connsiteX1" fmla="*/ 29919 w 39976"/>
                  <a:gd name="connsiteY1" fmla="*/ 39497 h 40894"/>
                  <a:gd name="connsiteX2" fmla="*/ 21262 w 39976"/>
                  <a:gd name="connsiteY2" fmla="*/ 40894 h 40894"/>
                  <a:gd name="connsiteX3" fmla="*/ 12859 w 39976"/>
                  <a:gd name="connsiteY3" fmla="*/ 39243 h 40894"/>
                  <a:gd name="connsiteX4" fmla="*/ 6111 w 39976"/>
                  <a:gd name="connsiteY4" fmla="*/ 34925 h 40894"/>
                  <a:gd name="connsiteX5" fmla="*/ 0 w 39976"/>
                  <a:gd name="connsiteY5" fmla="*/ 20447 h 40894"/>
                  <a:gd name="connsiteX6" fmla="*/ 1528 w 39976"/>
                  <a:gd name="connsiteY6" fmla="*/ 12446 h 40894"/>
                  <a:gd name="connsiteX7" fmla="*/ 5857 w 39976"/>
                  <a:gd name="connsiteY7" fmla="*/ 5969 h 40894"/>
                  <a:gd name="connsiteX8" fmla="*/ 12350 w 39976"/>
                  <a:gd name="connsiteY8" fmla="*/ 1651 h 40894"/>
                  <a:gd name="connsiteX9" fmla="*/ 20370 w 39976"/>
                  <a:gd name="connsiteY9" fmla="*/ 0 h 40894"/>
                  <a:gd name="connsiteX10" fmla="*/ 28137 w 39976"/>
                  <a:gd name="connsiteY10" fmla="*/ 1651 h 40894"/>
                  <a:gd name="connsiteX11" fmla="*/ 34375 w 39976"/>
                  <a:gd name="connsiteY11" fmla="*/ 5969 h 40894"/>
                  <a:gd name="connsiteX12" fmla="*/ 38449 w 39976"/>
                  <a:gd name="connsiteY12" fmla="*/ 12573 h 40894"/>
                  <a:gd name="connsiteX13" fmla="*/ 39977 w 39976"/>
                  <a:gd name="connsiteY13" fmla="*/ 21209 h 40894"/>
                  <a:gd name="connsiteX14" fmla="*/ 39977 w 39976"/>
                  <a:gd name="connsiteY14" fmla="*/ 23876 h 40894"/>
                  <a:gd name="connsiteX15" fmla="*/ 10567 w 39976"/>
                  <a:gd name="connsiteY15" fmla="*/ 23876 h 40894"/>
                  <a:gd name="connsiteX16" fmla="*/ 14896 w 39976"/>
                  <a:gd name="connsiteY16" fmla="*/ 29845 h 40894"/>
                  <a:gd name="connsiteX17" fmla="*/ 22026 w 39976"/>
                  <a:gd name="connsiteY17" fmla="*/ 32131 h 40894"/>
                  <a:gd name="connsiteX18" fmla="*/ 26864 w 39976"/>
                  <a:gd name="connsiteY18" fmla="*/ 31369 h 40894"/>
                  <a:gd name="connsiteX19" fmla="*/ 30683 w 39976"/>
                  <a:gd name="connsiteY19" fmla="*/ 28956 h 40894"/>
                  <a:gd name="connsiteX20" fmla="*/ 37303 w 39976"/>
                  <a:gd name="connsiteY20" fmla="*/ 35052 h 40894"/>
                  <a:gd name="connsiteX21" fmla="*/ 20243 w 39976"/>
                  <a:gd name="connsiteY21" fmla="*/ 8636 h 40894"/>
                  <a:gd name="connsiteX22" fmla="*/ 14132 w 39976"/>
                  <a:gd name="connsiteY22" fmla="*/ 10795 h 40894"/>
                  <a:gd name="connsiteX23" fmla="*/ 10694 w 39976"/>
                  <a:gd name="connsiteY23" fmla="*/ 16510 h 40894"/>
                  <a:gd name="connsiteX24" fmla="*/ 29919 w 39976"/>
                  <a:gd name="connsiteY24" fmla="*/ 16510 h 40894"/>
                  <a:gd name="connsiteX25" fmla="*/ 26354 w 39976"/>
                  <a:gd name="connsiteY25" fmla="*/ 10795 h 40894"/>
                  <a:gd name="connsiteX26" fmla="*/ 20370 w 39976"/>
                  <a:gd name="connsiteY26" fmla="*/ 8636 h 40894"/>
                  <a:gd name="connsiteX27" fmla="*/ 20243 w 39976"/>
                  <a:gd name="connsiteY27" fmla="*/ 8636 h 4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76" h="40894">
                    <a:moveTo>
                      <a:pt x="37430" y="35179"/>
                    </a:moveTo>
                    <a:cubicBezTo>
                      <a:pt x="35266" y="37084"/>
                      <a:pt x="32720" y="38481"/>
                      <a:pt x="29919" y="39497"/>
                    </a:cubicBezTo>
                    <a:cubicBezTo>
                      <a:pt x="27118" y="40513"/>
                      <a:pt x="24190" y="40894"/>
                      <a:pt x="21262" y="40894"/>
                    </a:cubicBezTo>
                    <a:cubicBezTo>
                      <a:pt x="18461" y="40894"/>
                      <a:pt x="15532" y="40386"/>
                      <a:pt x="12859" y="39243"/>
                    </a:cubicBezTo>
                    <a:cubicBezTo>
                      <a:pt x="10312" y="38227"/>
                      <a:pt x="8148" y="36830"/>
                      <a:pt x="6111" y="34925"/>
                    </a:cubicBezTo>
                    <a:cubicBezTo>
                      <a:pt x="2165" y="31115"/>
                      <a:pt x="0" y="25908"/>
                      <a:pt x="0" y="20447"/>
                    </a:cubicBezTo>
                    <a:cubicBezTo>
                      <a:pt x="0" y="17780"/>
                      <a:pt x="509" y="14986"/>
                      <a:pt x="1528" y="12446"/>
                    </a:cubicBezTo>
                    <a:cubicBezTo>
                      <a:pt x="2546" y="10033"/>
                      <a:pt x="3947" y="7874"/>
                      <a:pt x="5857" y="5969"/>
                    </a:cubicBezTo>
                    <a:cubicBezTo>
                      <a:pt x="7766" y="4064"/>
                      <a:pt x="9931" y="2667"/>
                      <a:pt x="12350" y="1651"/>
                    </a:cubicBezTo>
                    <a:cubicBezTo>
                      <a:pt x="14896" y="635"/>
                      <a:pt x="17569" y="0"/>
                      <a:pt x="20370" y="0"/>
                    </a:cubicBezTo>
                    <a:cubicBezTo>
                      <a:pt x="23044" y="0"/>
                      <a:pt x="25718" y="508"/>
                      <a:pt x="28137" y="1651"/>
                    </a:cubicBezTo>
                    <a:cubicBezTo>
                      <a:pt x="30428" y="2667"/>
                      <a:pt x="32592" y="4064"/>
                      <a:pt x="34375" y="5969"/>
                    </a:cubicBezTo>
                    <a:cubicBezTo>
                      <a:pt x="36157" y="7874"/>
                      <a:pt x="37558" y="10160"/>
                      <a:pt x="38449" y="12573"/>
                    </a:cubicBezTo>
                    <a:cubicBezTo>
                      <a:pt x="39468" y="15367"/>
                      <a:pt x="39977" y="18288"/>
                      <a:pt x="39977" y="21209"/>
                    </a:cubicBezTo>
                    <a:lnTo>
                      <a:pt x="39977" y="23876"/>
                    </a:lnTo>
                    <a:lnTo>
                      <a:pt x="10567" y="23876"/>
                    </a:lnTo>
                    <a:cubicBezTo>
                      <a:pt x="11331" y="26289"/>
                      <a:pt x="12859" y="28448"/>
                      <a:pt x="14896" y="29845"/>
                    </a:cubicBezTo>
                    <a:cubicBezTo>
                      <a:pt x="16933" y="31369"/>
                      <a:pt x="19479" y="32131"/>
                      <a:pt x="22026" y="32131"/>
                    </a:cubicBezTo>
                    <a:cubicBezTo>
                      <a:pt x="23681" y="32131"/>
                      <a:pt x="25336" y="31877"/>
                      <a:pt x="26864" y="31369"/>
                    </a:cubicBezTo>
                    <a:cubicBezTo>
                      <a:pt x="28264" y="30861"/>
                      <a:pt x="29664" y="30099"/>
                      <a:pt x="30683" y="28956"/>
                    </a:cubicBezTo>
                    <a:lnTo>
                      <a:pt x="37303" y="35052"/>
                    </a:lnTo>
                    <a:close/>
                    <a:moveTo>
                      <a:pt x="20243" y="8636"/>
                    </a:moveTo>
                    <a:cubicBezTo>
                      <a:pt x="17951" y="8636"/>
                      <a:pt x="15787" y="9398"/>
                      <a:pt x="14132" y="10795"/>
                    </a:cubicBezTo>
                    <a:cubicBezTo>
                      <a:pt x="12477" y="12319"/>
                      <a:pt x="11204" y="14351"/>
                      <a:pt x="10694" y="16510"/>
                    </a:cubicBezTo>
                    <a:lnTo>
                      <a:pt x="29919" y="16510"/>
                    </a:lnTo>
                    <a:cubicBezTo>
                      <a:pt x="29283" y="14351"/>
                      <a:pt x="28137" y="12319"/>
                      <a:pt x="26354" y="10795"/>
                    </a:cubicBezTo>
                    <a:cubicBezTo>
                      <a:pt x="24699" y="9398"/>
                      <a:pt x="22535" y="8636"/>
                      <a:pt x="20370" y="8636"/>
                    </a:cubicBezTo>
                    <a:lnTo>
                      <a:pt x="20243" y="8636"/>
                    </a:lnTo>
                    <a:close/>
                  </a:path>
                </a:pathLst>
              </a:custGeom>
              <a:solidFill>
                <a:srgbClr val="FFFFFF"/>
              </a:solidFill>
              <a:ln w="0" cap="flat">
                <a:noFill/>
                <a:prstDash val="solid"/>
                <a:miter/>
              </a:ln>
            </p:spPr>
            <p:txBody>
              <a:bodyPr rtlCol="0" anchor="ctr"/>
              <a:lstStyle/>
              <a:p>
                <a:endParaRPr lang="en-AD" sz="2400"/>
              </a:p>
            </p:txBody>
          </p:sp>
          <p:sp>
            <p:nvSpPr>
              <p:cNvPr id="96" name="Freeform 95">
                <a:extLst>
                  <a:ext uri="{FF2B5EF4-FFF2-40B4-BE49-F238E27FC236}">
                    <a16:creationId xmlns:a16="http://schemas.microsoft.com/office/drawing/2014/main" id="{E424345B-B85B-5EAA-98F6-B7FDA231E492}"/>
                  </a:ext>
                </a:extLst>
              </p:cNvPr>
              <p:cNvSpPr/>
              <p:nvPr/>
            </p:nvSpPr>
            <p:spPr>
              <a:xfrm>
                <a:off x="2968984" y="4720136"/>
                <a:ext cx="163471" cy="125040"/>
              </a:xfrm>
              <a:custGeom>
                <a:avLst/>
                <a:gdLst>
                  <a:gd name="connsiteX0" fmla="*/ 98541 w 163471"/>
                  <a:gd name="connsiteY0" fmla="*/ 67636 h 125040"/>
                  <a:gd name="connsiteX1" fmla="*/ 125532 w 163471"/>
                  <a:gd name="connsiteY1" fmla="*/ 51761 h 125040"/>
                  <a:gd name="connsiteX2" fmla="*/ 135717 w 163471"/>
                  <a:gd name="connsiteY2" fmla="*/ 19376 h 125040"/>
                  <a:gd name="connsiteX3" fmla="*/ 86065 w 163471"/>
                  <a:gd name="connsiteY3" fmla="*/ 2993 h 125040"/>
                  <a:gd name="connsiteX4" fmla="*/ 73970 w 163471"/>
                  <a:gd name="connsiteY4" fmla="*/ 92274 h 125040"/>
                  <a:gd name="connsiteX5" fmla="*/ 163472 w 163471"/>
                  <a:gd name="connsiteY5" fmla="*/ 80463 h 125040"/>
                  <a:gd name="connsiteX6" fmla="*/ 88738 w 163471"/>
                  <a:gd name="connsiteY6" fmla="*/ 73859 h 125040"/>
                  <a:gd name="connsiteX7" fmla="*/ 85555 w 163471"/>
                  <a:gd name="connsiteY7" fmla="*/ 69033 h 125040"/>
                  <a:gd name="connsiteX8" fmla="*/ 94213 w 163471"/>
                  <a:gd name="connsiteY8" fmla="*/ 18106 h 125040"/>
                  <a:gd name="connsiteX9" fmla="*/ 120058 w 163471"/>
                  <a:gd name="connsiteY9" fmla="*/ 24456 h 125040"/>
                  <a:gd name="connsiteX10" fmla="*/ 114456 w 163471"/>
                  <a:gd name="connsiteY10" fmla="*/ 37410 h 125040"/>
                  <a:gd name="connsiteX11" fmla="*/ 85810 w 163471"/>
                  <a:gd name="connsiteY11" fmla="*/ 53285 h 125040"/>
                  <a:gd name="connsiteX12" fmla="*/ 85810 w 163471"/>
                  <a:gd name="connsiteY12" fmla="*/ 69160 h 125040"/>
                  <a:gd name="connsiteX13" fmla="*/ 80590 w 163471"/>
                  <a:gd name="connsiteY13" fmla="*/ 57349 h 125040"/>
                  <a:gd name="connsiteX14" fmla="*/ 50926 w 163471"/>
                  <a:gd name="connsiteY14" fmla="*/ 93417 h 125040"/>
                  <a:gd name="connsiteX15" fmla="*/ 23426 w 163471"/>
                  <a:gd name="connsiteY15" fmla="*/ 5279 h 125040"/>
                  <a:gd name="connsiteX16" fmla="*/ 0 w 163471"/>
                  <a:gd name="connsiteY16" fmla="*/ 14042 h 125040"/>
                  <a:gd name="connsiteX17" fmla="*/ 55764 w 163471"/>
                  <a:gd name="connsiteY17" fmla="*/ 125040 h 125040"/>
                  <a:gd name="connsiteX18" fmla="*/ 98414 w 163471"/>
                  <a:gd name="connsiteY18" fmla="*/ 67890 h 1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471" h="125040">
                    <a:moveTo>
                      <a:pt x="98541" y="67636"/>
                    </a:moveTo>
                    <a:cubicBezTo>
                      <a:pt x="106944" y="61540"/>
                      <a:pt x="115983" y="56206"/>
                      <a:pt x="125532" y="51761"/>
                    </a:cubicBezTo>
                    <a:cubicBezTo>
                      <a:pt x="141446" y="44141"/>
                      <a:pt x="142719" y="30933"/>
                      <a:pt x="135717" y="19376"/>
                    </a:cubicBezTo>
                    <a:cubicBezTo>
                      <a:pt x="125532" y="2485"/>
                      <a:pt x="104398" y="-4500"/>
                      <a:pt x="86065" y="2993"/>
                    </a:cubicBezTo>
                    <a:cubicBezTo>
                      <a:pt x="50162" y="15947"/>
                      <a:pt x="48761" y="65096"/>
                      <a:pt x="73970" y="92274"/>
                    </a:cubicBezTo>
                    <a:cubicBezTo>
                      <a:pt x="104398" y="124913"/>
                      <a:pt x="155451" y="114245"/>
                      <a:pt x="163472" y="80463"/>
                    </a:cubicBezTo>
                    <a:cubicBezTo>
                      <a:pt x="141574" y="99767"/>
                      <a:pt x="104780" y="94052"/>
                      <a:pt x="88738" y="73859"/>
                    </a:cubicBezTo>
                    <a:cubicBezTo>
                      <a:pt x="87592" y="72335"/>
                      <a:pt x="86447" y="70684"/>
                      <a:pt x="85555" y="69033"/>
                    </a:cubicBezTo>
                    <a:cubicBezTo>
                      <a:pt x="75116" y="51888"/>
                      <a:pt x="74479" y="25599"/>
                      <a:pt x="94213" y="18106"/>
                    </a:cubicBezTo>
                    <a:cubicBezTo>
                      <a:pt x="106435" y="13407"/>
                      <a:pt x="116111" y="18106"/>
                      <a:pt x="120058" y="24456"/>
                    </a:cubicBezTo>
                    <a:cubicBezTo>
                      <a:pt x="123368" y="29917"/>
                      <a:pt x="120949" y="34616"/>
                      <a:pt x="114456" y="37410"/>
                    </a:cubicBezTo>
                    <a:cubicBezTo>
                      <a:pt x="104398" y="41728"/>
                      <a:pt x="94849" y="47062"/>
                      <a:pt x="85810" y="53285"/>
                    </a:cubicBezTo>
                    <a:cubicBezTo>
                      <a:pt x="85810" y="58746"/>
                      <a:pt x="86192" y="63572"/>
                      <a:pt x="85810" y="69160"/>
                    </a:cubicBezTo>
                    <a:cubicBezTo>
                      <a:pt x="83518" y="65477"/>
                      <a:pt x="81736" y="61540"/>
                      <a:pt x="80590" y="57349"/>
                    </a:cubicBezTo>
                    <a:cubicBezTo>
                      <a:pt x="67731" y="66620"/>
                      <a:pt x="57419" y="79066"/>
                      <a:pt x="50926" y="93417"/>
                    </a:cubicBezTo>
                    <a:cubicBezTo>
                      <a:pt x="28773" y="67255"/>
                      <a:pt x="23426" y="36267"/>
                      <a:pt x="23426" y="5279"/>
                    </a:cubicBezTo>
                    <a:cubicBezTo>
                      <a:pt x="11968" y="9851"/>
                      <a:pt x="255" y="13788"/>
                      <a:pt x="0" y="14042"/>
                    </a:cubicBezTo>
                    <a:cubicBezTo>
                      <a:pt x="2037" y="57603"/>
                      <a:pt x="14769" y="95830"/>
                      <a:pt x="55764" y="125040"/>
                    </a:cubicBezTo>
                    <a:cubicBezTo>
                      <a:pt x="63148" y="101799"/>
                      <a:pt x="78171" y="81606"/>
                      <a:pt x="98414" y="67890"/>
                    </a:cubicBezTo>
                    <a:close/>
                  </a:path>
                </a:pathLst>
              </a:custGeom>
              <a:solidFill>
                <a:srgbClr val="FFFFFF"/>
              </a:solidFill>
              <a:ln w="0" cap="flat">
                <a:noFill/>
                <a:prstDash val="solid"/>
                <a:miter/>
              </a:ln>
            </p:spPr>
            <p:txBody>
              <a:bodyPr rtlCol="0" anchor="ctr"/>
              <a:lstStyle/>
              <a:p>
                <a:endParaRPr lang="en-AD" sz="2400"/>
              </a:p>
            </p:txBody>
          </p:sp>
        </p:grpSp>
        <p:sp>
          <p:nvSpPr>
            <p:cNvPr id="97" name="Freeform 96">
              <a:extLst>
                <a:ext uri="{FF2B5EF4-FFF2-40B4-BE49-F238E27FC236}">
                  <a16:creationId xmlns:a16="http://schemas.microsoft.com/office/drawing/2014/main" id="{2E2A207F-1B82-DDEC-932D-09A2A6196CF0}"/>
                </a:ext>
              </a:extLst>
            </p:cNvPr>
            <p:cNvSpPr/>
            <p:nvPr userDrawn="1"/>
          </p:nvSpPr>
          <p:spPr>
            <a:xfrm>
              <a:off x="1953916" y="4103534"/>
              <a:ext cx="444709" cy="259460"/>
            </a:xfrm>
            <a:custGeom>
              <a:avLst/>
              <a:gdLst>
                <a:gd name="connsiteX0" fmla="*/ 64039 w 444709"/>
                <a:gd name="connsiteY0" fmla="*/ 152400 h 259460"/>
                <a:gd name="connsiteX1" fmla="*/ 50035 w 444709"/>
                <a:gd name="connsiteY1" fmla="*/ 138811 h 259460"/>
                <a:gd name="connsiteX2" fmla="*/ 44815 w 444709"/>
                <a:gd name="connsiteY2" fmla="*/ 120015 h 259460"/>
                <a:gd name="connsiteX3" fmla="*/ 50035 w 444709"/>
                <a:gd name="connsiteY3" fmla="*/ 101219 h 259460"/>
                <a:gd name="connsiteX4" fmla="*/ 64039 w 444709"/>
                <a:gd name="connsiteY4" fmla="*/ 87630 h 259460"/>
                <a:gd name="connsiteX5" fmla="*/ 83264 w 444709"/>
                <a:gd name="connsiteY5" fmla="*/ 82677 h 259460"/>
                <a:gd name="connsiteX6" fmla="*/ 98159 w 444709"/>
                <a:gd name="connsiteY6" fmla="*/ 85598 h 259460"/>
                <a:gd name="connsiteX7" fmla="*/ 110763 w 444709"/>
                <a:gd name="connsiteY7" fmla="*/ 94361 h 259460"/>
                <a:gd name="connsiteX8" fmla="*/ 98287 w 444709"/>
                <a:gd name="connsiteY8" fmla="*/ 107442 h 259460"/>
                <a:gd name="connsiteX9" fmla="*/ 82754 w 444709"/>
                <a:gd name="connsiteY9" fmla="*/ 100711 h 259460"/>
                <a:gd name="connsiteX10" fmla="*/ 73588 w 444709"/>
                <a:gd name="connsiteY10" fmla="*/ 102997 h 259460"/>
                <a:gd name="connsiteX11" fmla="*/ 66967 w 444709"/>
                <a:gd name="connsiteY11" fmla="*/ 109601 h 259460"/>
                <a:gd name="connsiteX12" fmla="*/ 64548 w 444709"/>
                <a:gd name="connsiteY12" fmla="*/ 120015 h 259460"/>
                <a:gd name="connsiteX13" fmla="*/ 66967 w 444709"/>
                <a:gd name="connsiteY13" fmla="*/ 130683 h 259460"/>
                <a:gd name="connsiteX14" fmla="*/ 73588 w 444709"/>
                <a:gd name="connsiteY14" fmla="*/ 137160 h 259460"/>
                <a:gd name="connsiteX15" fmla="*/ 82754 w 444709"/>
                <a:gd name="connsiteY15" fmla="*/ 139319 h 259460"/>
                <a:gd name="connsiteX16" fmla="*/ 91666 w 444709"/>
                <a:gd name="connsiteY16" fmla="*/ 137541 h 259460"/>
                <a:gd name="connsiteX17" fmla="*/ 98414 w 444709"/>
                <a:gd name="connsiteY17" fmla="*/ 132461 h 259460"/>
                <a:gd name="connsiteX18" fmla="*/ 110891 w 444709"/>
                <a:gd name="connsiteY18" fmla="*/ 145542 h 259460"/>
                <a:gd name="connsiteX19" fmla="*/ 98414 w 444709"/>
                <a:gd name="connsiteY19" fmla="*/ 154305 h 259460"/>
                <a:gd name="connsiteX20" fmla="*/ 83518 w 444709"/>
                <a:gd name="connsiteY20" fmla="*/ 157226 h 259460"/>
                <a:gd name="connsiteX21" fmla="*/ 64294 w 444709"/>
                <a:gd name="connsiteY21" fmla="*/ 152146 h 259460"/>
                <a:gd name="connsiteX22" fmla="*/ 135590 w 444709"/>
                <a:gd name="connsiteY22" fmla="*/ 152400 h 259460"/>
                <a:gd name="connsiteX23" fmla="*/ 121331 w 444709"/>
                <a:gd name="connsiteY23" fmla="*/ 138811 h 259460"/>
                <a:gd name="connsiteX24" fmla="*/ 116111 w 444709"/>
                <a:gd name="connsiteY24" fmla="*/ 120015 h 259460"/>
                <a:gd name="connsiteX25" fmla="*/ 121331 w 444709"/>
                <a:gd name="connsiteY25" fmla="*/ 101219 h 259460"/>
                <a:gd name="connsiteX26" fmla="*/ 135590 w 444709"/>
                <a:gd name="connsiteY26" fmla="*/ 87630 h 259460"/>
                <a:gd name="connsiteX27" fmla="*/ 155196 w 444709"/>
                <a:gd name="connsiteY27" fmla="*/ 82677 h 259460"/>
                <a:gd name="connsiteX28" fmla="*/ 174803 w 444709"/>
                <a:gd name="connsiteY28" fmla="*/ 87630 h 259460"/>
                <a:gd name="connsiteX29" fmla="*/ 189062 w 444709"/>
                <a:gd name="connsiteY29" fmla="*/ 101219 h 259460"/>
                <a:gd name="connsiteX30" fmla="*/ 194282 w 444709"/>
                <a:gd name="connsiteY30" fmla="*/ 120015 h 259460"/>
                <a:gd name="connsiteX31" fmla="*/ 189062 w 444709"/>
                <a:gd name="connsiteY31" fmla="*/ 138811 h 259460"/>
                <a:gd name="connsiteX32" fmla="*/ 174803 w 444709"/>
                <a:gd name="connsiteY32" fmla="*/ 152400 h 259460"/>
                <a:gd name="connsiteX33" fmla="*/ 155196 w 444709"/>
                <a:gd name="connsiteY33" fmla="*/ 157480 h 259460"/>
                <a:gd name="connsiteX34" fmla="*/ 135590 w 444709"/>
                <a:gd name="connsiteY34" fmla="*/ 152400 h 259460"/>
                <a:gd name="connsiteX35" fmla="*/ 164999 w 444709"/>
                <a:gd name="connsiteY35" fmla="*/ 136906 h 259460"/>
                <a:gd name="connsiteX36" fmla="*/ 172002 w 444709"/>
                <a:gd name="connsiteY36" fmla="*/ 130048 h 259460"/>
                <a:gd name="connsiteX37" fmla="*/ 174548 w 444709"/>
                <a:gd name="connsiteY37" fmla="*/ 120015 h 259460"/>
                <a:gd name="connsiteX38" fmla="*/ 172002 w 444709"/>
                <a:gd name="connsiteY38" fmla="*/ 109982 h 259460"/>
                <a:gd name="connsiteX39" fmla="*/ 164999 w 444709"/>
                <a:gd name="connsiteY39" fmla="*/ 103124 h 259460"/>
                <a:gd name="connsiteX40" fmla="*/ 155196 w 444709"/>
                <a:gd name="connsiteY40" fmla="*/ 100711 h 259460"/>
                <a:gd name="connsiteX41" fmla="*/ 145393 w 444709"/>
                <a:gd name="connsiteY41" fmla="*/ 103124 h 259460"/>
                <a:gd name="connsiteX42" fmla="*/ 138391 w 444709"/>
                <a:gd name="connsiteY42" fmla="*/ 109982 h 259460"/>
                <a:gd name="connsiteX43" fmla="*/ 135844 w 444709"/>
                <a:gd name="connsiteY43" fmla="*/ 120015 h 259460"/>
                <a:gd name="connsiteX44" fmla="*/ 138391 w 444709"/>
                <a:gd name="connsiteY44" fmla="*/ 130048 h 259460"/>
                <a:gd name="connsiteX45" fmla="*/ 145393 w 444709"/>
                <a:gd name="connsiteY45" fmla="*/ 136906 h 259460"/>
                <a:gd name="connsiteX46" fmla="*/ 155069 w 444709"/>
                <a:gd name="connsiteY46" fmla="*/ 139446 h 259460"/>
                <a:gd name="connsiteX47" fmla="*/ 164872 w 444709"/>
                <a:gd name="connsiteY47" fmla="*/ 137033 h 259460"/>
                <a:gd name="connsiteX48" fmla="*/ 219363 w 444709"/>
                <a:gd name="connsiteY48" fmla="*/ 152400 h 259460"/>
                <a:gd name="connsiteX49" fmla="*/ 205358 w 444709"/>
                <a:gd name="connsiteY49" fmla="*/ 138811 h 259460"/>
                <a:gd name="connsiteX50" fmla="*/ 200138 w 444709"/>
                <a:gd name="connsiteY50" fmla="*/ 120015 h 259460"/>
                <a:gd name="connsiteX51" fmla="*/ 205358 w 444709"/>
                <a:gd name="connsiteY51" fmla="*/ 101219 h 259460"/>
                <a:gd name="connsiteX52" fmla="*/ 219363 w 444709"/>
                <a:gd name="connsiteY52" fmla="*/ 87630 h 259460"/>
                <a:gd name="connsiteX53" fmla="*/ 238587 w 444709"/>
                <a:gd name="connsiteY53" fmla="*/ 82677 h 259460"/>
                <a:gd name="connsiteX54" fmla="*/ 253483 w 444709"/>
                <a:gd name="connsiteY54" fmla="*/ 85598 h 259460"/>
                <a:gd name="connsiteX55" fmla="*/ 266087 w 444709"/>
                <a:gd name="connsiteY55" fmla="*/ 94361 h 259460"/>
                <a:gd name="connsiteX56" fmla="*/ 253610 w 444709"/>
                <a:gd name="connsiteY56" fmla="*/ 107442 h 259460"/>
                <a:gd name="connsiteX57" fmla="*/ 238078 w 444709"/>
                <a:gd name="connsiteY57" fmla="*/ 100711 h 259460"/>
                <a:gd name="connsiteX58" fmla="*/ 228911 w 444709"/>
                <a:gd name="connsiteY58" fmla="*/ 102997 h 259460"/>
                <a:gd name="connsiteX59" fmla="*/ 222291 w 444709"/>
                <a:gd name="connsiteY59" fmla="*/ 109601 h 259460"/>
                <a:gd name="connsiteX60" fmla="*/ 219872 w 444709"/>
                <a:gd name="connsiteY60" fmla="*/ 120015 h 259460"/>
                <a:gd name="connsiteX61" fmla="*/ 222291 w 444709"/>
                <a:gd name="connsiteY61" fmla="*/ 130683 h 259460"/>
                <a:gd name="connsiteX62" fmla="*/ 228911 w 444709"/>
                <a:gd name="connsiteY62" fmla="*/ 137160 h 259460"/>
                <a:gd name="connsiteX63" fmla="*/ 238078 w 444709"/>
                <a:gd name="connsiteY63" fmla="*/ 139319 h 259460"/>
                <a:gd name="connsiteX64" fmla="*/ 246990 w 444709"/>
                <a:gd name="connsiteY64" fmla="*/ 137541 h 259460"/>
                <a:gd name="connsiteX65" fmla="*/ 253738 w 444709"/>
                <a:gd name="connsiteY65" fmla="*/ 132461 h 259460"/>
                <a:gd name="connsiteX66" fmla="*/ 266214 w 444709"/>
                <a:gd name="connsiteY66" fmla="*/ 145542 h 259460"/>
                <a:gd name="connsiteX67" fmla="*/ 253738 w 444709"/>
                <a:gd name="connsiteY67" fmla="*/ 154305 h 259460"/>
                <a:gd name="connsiteX68" fmla="*/ 238842 w 444709"/>
                <a:gd name="connsiteY68" fmla="*/ 157226 h 259460"/>
                <a:gd name="connsiteX69" fmla="*/ 219617 w 444709"/>
                <a:gd name="connsiteY69" fmla="*/ 152146 h 259460"/>
                <a:gd name="connsiteX70" fmla="*/ 277163 w 444709"/>
                <a:gd name="connsiteY70" fmla="*/ 84582 h 259460"/>
                <a:gd name="connsiteX71" fmla="*/ 296897 w 444709"/>
                <a:gd name="connsiteY71" fmla="*/ 84582 h 259460"/>
                <a:gd name="connsiteX72" fmla="*/ 296897 w 444709"/>
                <a:gd name="connsiteY72" fmla="*/ 155702 h 259460"/>
                <a:gd name="connsiteX73" fmla="*/ 277163 w 444709"/>
                <a:gd name="connsiteY73" fmla="*/ 155702 h 259460"/>
                <a:gd name="connsiteX74" fmla="*/ 277163 w 444709"/>
                <a:gd name="connsiteY74" fmla="*/ 84582 h 259460"/>
                <a:gd name="connsiteX75" fmla="*/ 345659 w 444709"/>
                <a:gd name="connsiteY75" fmla="*/ 84582 h 259460"/>
                <a:gd name="connsiteX76" fmla="*/ 359408 w 444709"/>
                <a:gd name="connsiteY76" fmla="*/ 87884 h 259460"/>
                <a:gd name="connsiteX77" fmla="*/ 368830 w 444709"/>
                <a:gd name="connsiteY77" fmla="*/ 96901 h 259460"/>
                <a:gd name="connsiteX78" fmla="*/ 372267 w 444709"/>
                <a:gd name="connsiteY78" fmla="*/ 109855 h 259460"/>
                <a:gd name="connsiteX79" fmla="*/ 368957 w 444709"/>
                <a:gd name="connsiteY79" fmla="*/ 122809 h 259460"/>
                <a:gd name="connsiteX80" fmla="*/ 359790 w 444709"/>
                <a:gd name="connsiteY80" fmla="*/ 131699 h 259460"/>
                <a:gd name="connsiteX81" fmla="*/ 374559 w 444709"/>
                <a:gd name="connsiteY81" fmla="*/ 155702 h 259460"/>
                <a:gd name="connsiteX82" fmla="*/ 352024 w 444709"/>
                <a:gd name="connsiteY82" fmla="*/ 155702 h 259460"/>
                <a:gd name="connsiteX83" fmla="*/ 340566 w 444709"/>
                <a:gd name="connsiteY83" fmla="*/ 135001 h 259460"/>
                <a:gd name="connsiteX84" fmla="*/ 329999 w 444709"/>
                <a:gd name="connsiteY84" fmla="*/ 135001 h 259460"/>
                <a:gd name="connsiteX85" fmla="*/ 329999 w 444709"/>
                <a:gd name="connsiteY85" fmla="*/ 155702 h 259460"/>
                <a:gd name="connsiteX86" fmla="*/ 310265 w 444709"/>
                <a:gd name="connsiteY86" fmla="*/ 155702 h 259460"/>
                <a:gd name="connsiteX87" fmla="*/ 310265 w 444709"/>
                <a:gd name="connsiteY87" fmla="*/ 84582 h 259460"/>
                <a:gd name="connsiteX88" fmla="*/ 345913 w 444709"/>
                <a:gd name="connsiteY88" fmla="*/ 84582 h 259460"/>
                <a:gd name="connsiteX89" fmla="*/ 348714 w 444709"/>
                <a:gd name="connsiteY89" fmla="*/ 117348 h 259460"/>
                <a:gd name="connsiteX90" fmla="*/ 351515 w 444709"/>
                <a:gd name="connsiteY90" fmla="*/ 114173 h 259460"/>
                <a:gd name="connsiteX91" fmla="*/ 352533 w 444709"/>
                <a:gd name="connsiteY91" fmla="*/ 109728 h 259460"/>
                <a:gd name="connsiteX92" fmla="*/ 351515 w 444709"/>
                <a:gd name="connsiteY92" fmla="*/ 105410 h 259460"/>
                <a:gd name="connsiteX93" fmla="*/ 348714 w 444709"/>
                <a:gd name="connsiteY93" fmla="*/ 102108 h 259460"/>
                <a:gd name="connsiteX94" fmla="*/ 344895 w 444709"/>
                <a:gd name="connsiteY94" fmla="*/ 100838 h 259460"/>
                <a:gd name="connsiteX95" fmla="*/ 329871 w 444709"/>
                <a:gd name="connsiteY95" fmla="*/ 100838 h 259460"/>
                <a:gd name="connsiteX96" fmla="*/ 329871 w 444709"/>
                <a:gd name="connsiteY96" fmla="*/ 118364 h 259460"/>
                <a:gd name="connsiteX97" fmla="*/ 344895 w 444709"/>
                <a:gd name="connsiteY97" fmla="*/ 118364 h 259460"/>
                <a:gd name="connsiteX98" fmla="*/ 348714 w 444709"/>
                <a:gd name="connsiteY98" fmla="*/ 117221 h 259460"/>
                <a:gd name="connsiteX99" fmla="*/ 285948 w 444709"/>
                <a:gd name="connsiteY99" fmla="*/ 72009 h 259460"/>
                <a:gd name="connsiteX100" fmla="*/ 296261 w 444709"/>
                <a:gd name="connsiteY100" fmla="*/ 61722 h 259460"/>
                <a:gd name="connsiteX101" fmla="*/ 285948 w 444709"/>
                <a:gd name="connsiteY101" fmla="*/ 51435 h 259460"/>
                <a:gd name="connsiteX102" fmla="*/ 275636 w 444709"/>
                <a:gd name="connsiteY102" fmla="*/ 61722 h 259460"/>
                <a:gd name="connsiteX103" fmla="*/ 285948 w 444709"/>
                <a:gd name="connsiteY103" fmla="*/ 72009 h 259460"/>
                <a:gd name="connsiteX104" fmla="*/ 161689 w 444709"/>
                <a:gd name="connsiteY104" fmla="*/ 217932 h 259460"/>
                <a:gd name="connsiteX105" fmla="*/ 172002 w 444709"/>
                <a:gd name="connsiteY105" fmla="*/ 207645 h 259460"/>
                <a:gd name="connsiteX106" fmla="*/ 161689 w 444709"/>
                <a:gd name="connsiteY106" fmla="*/ 197358 h 259460"/>
                <a:gd name="connsiteX107" fmla="*/ 151377 w 444709"/>
                <a:gd name="connsiteY107" fmla="*/ 207645 h 259460"/>
                <a:gd name="connsiteX108" fmla="*/ 161689 w 444709"/>
                <a:gd name="connsiteY108" fmla="*/ 217932 h 259460"/>
                <a:gd name="connsiteX109" fmla="*/ 310902 w 444709"/>
                <a:gd name="connsiteY109" fmla="*/ 49911 h 259460"/>
                <a:gd name="connsiteX110" fmla="*/ 325543 w 444709"/>
                <a:gd name="connsiteY110" fmla="*/ 35306 h 259460"/>
                <a:gd name="connsiteX111" fmla="*/ 310902 w 444709"/>
                <a:gd name="connsiteY111" fmla="*/ 20701 h 259460"/>
                <a:gd name="connsiteX112" fmla="*/ 296261 w 444709"/>
                <a:gd name="connsiteY112" fmla="*/ 35306 h 259460"/>
                <a:gd name="connsiteX113" fmla="*/ 310902 w 444709"/>
                <a:gd name="connsiteY113" fmla="*/ 49911 h 259460"/>
                <a:gd name="connsiteX114" fmla="*/ 134317 w 444709"/>
                <a:gd name="connsiteY114" fmla="*/ 244856 h 259460"/>
                <a:gd name="connsiteX115" fmla="*/ 148958 w 444709"/>
                <a:gd name="connsiteY115" fmla="*/ 230251 h 259460"/>
                <a:gd name="connsiteX116" fmla="*/ 134317 w 444709"/>
                <a:gd name="connsiteY116" fmla="*/ 215646 h 259460"/>
                <a:gd name="connsiteX117" fmla="*/ 119675 w 444709"/>
                <a:gd name="connsiteY117" fmla="*/ 230251 h 259460"/>
                <a:gd name="connsiteX118" fmla="*/ 134317 w 444709"/>
                <a:gd name="connsiteY118" fmla="*/ 244856 h 259460"/>
                <a:gd name="connsiteX119" fmla="*/ 358263 w 444709"/>
                <a:gd name="connsiteY119" fmla="*/ 41656 h 259460"/>
                <a:gd name="connsiteX120" fmla="*/ 379142 w 444709"/>
                <a:gd name="connsiteY120" fmla="*/ 20828 h 259460"/>
                <a:gd name="connsiteX121" fmla="*/ 358263 w 444709"/>
                <a:gd name="connsiteY121" fmla="*/ 0 h 259460"/>
                <a:gd name="connsiteX122" fmla="*/ 337383 w 444709"/>
                <a:gd name="connsiteY122" fmla="*/ 20828 h 259460"/>
                <a:gd name="connsiteX123" fmla="*/ 358263 w 444709"/>
                <a:gd name="connsiteY123" fmla="*/ 41656 h 259460"/>
                <a:gd name="connsiteX124" fmla="*/ 85937 w 444709"/>
                <a:gd name="connsiteY124" fmla="*/ 259461 h 259460"/>
                <a:gd name="connsiteX125" fmla="*/ 106817 w 444709"/>
                <a:gd name="connsiteY125" fmla="*/ 238633 h 259460"/>
                <a:gd name="connsiteX126" fmla="*/ 85937 w 444709"/>
                <a:gd name="connsiteY126" fmla="*/ 217805 h 259460"/>
                <a:gd name="connsiteX127" fmla="*/ 65058 w 444709"/>
                <a:gd name="connsiteY127" fmla="*/ 238633 h 259460"/>
                <a:gd name="connsiteX128" fmla="*/ 85937 w 444709"/>
                <a:gd name="connsiteY128" fmla="*/ 259461 h 259460"/>
                <a:gd name="connsiteX129" fmla="*/ 417209 w 444709"/>
                <a:gd name="connsiteY129" fmla="*/ 56769 h 259460"/>
                <a:gd name="connsiteX130" fmla="*/ 444709 w 444709"/>
                <a:gd name="connsiteY130" fmla="*/ 29337 h 259460"/>
                <a:gd name="connsiteX131" fmla="*/ 417209 w 444709"/>
                <a:gd name="connsiteY131" fmla="*/ 1905 h 259460"/>
                <a:gd name="connsiteX132" fmla="*/ 389709 w 444709"/>
                <a:gd name="connsiteY132" fmla="*/ 29337 h 259460"/>
                <a:gd name="connsiteX133" fmla="*/ 417209 w 444709"/>
                <a:gd name="connsiteY133" fmla="*/ 56769 h 259460"/>
                <a:gd name="connsiteX134" fmla="*/ 27500 w 444709"/>
                <a:gd name="connsiteY134" fmla="*/ 250063 h 259460"/>
                <a:gd name="connsiteX135" fmla="*/ 55000 w 444709"/>
                <a:gd name="connsiteY135" fmla="*/ 222631 h 259460"/>
                <a:gd name="connsiteX136" fmla="*/ 27500 w 444709"/>
                <a:gd name="connsiteY136" fmla="*/ 195199 h 259460"/>
                <a:gd name="connsiteX137" fmla="*/ 0 w 444709"/>
                <a:gd name="connsiteY137" fmla="*/ 222631 h 259460"/>
                <a:gd name="connsiteX138" fmla="*/ 27500 w 444709"/>
                <a:gd name="connsiteY138" fmla="*/ 250063 h 259460"/>
                <a:gd name="connsiteX139" fmla="*/ 71551 w 444709"/>
                <a:gd name="connsiteY139" fmla="*/ 177165 h 259460"/>
                <a:gd name="connsiteX140" fmla="*/ 74224 w 444709"/>
                <a:gd name="connsiteY140" fmla="*/ 177927 h 259460"/>
                <a:gd name="connsiteX141" fmla="*/ 74479 w 444709"/>
                <a:gd name="connsiteY141" fmla="*/ 178308 h 259460"/>
                <a:gd name="connsiteX142" fmla="*/ 74224 w 444709"/>
                <a:gd name="connsiteY142" fmla="*/ 178943 h 259460"/>
                <a:gd name="connsiteX143" fmla="*/ 71041 w 444709"/>
                <a:gd name="connsiteY143" fmla="*/ 180086 h 259460"/>
                <a:gd name="connsiteX144" fmla="*/ 69641 w 444709"/>
                <a:gd name="connsiteY144" fmla="*/ 180467 h 259460"/>
                <a:gd name="connsiteX145" fmla="*/ 69132 w 444709"/>
                <a:gd name="connsiteY145" fmla="*/ 181610 h 259460"/>
                <a:gd name="connsiteX146" fmla="*/ 68622 w 444709"/>
                <a:gd name="connsiteY146" fmla="*/ 185420 h 259460"/>
                <a:gd name="connsiteX147" fmla="*/ 68495 w 444709"/>
                <a:gd name="connsiteY147" fmla="*/ 188087 h 259460"/>
                <a:gd name="connsiteX148" fmla="*/ 68495 w 444709"/>
                <a:gd name="connsiteY148" fmla="*/ 189484 h 259460"/>
                <a:gd name="connsiteX149" fmla="*/ 68877 w 444709"/>
                <a:gd name="connsiteY149" fmla="*/ 192532 h 259460"/>
                <a:gd name="connsiteX150" fmla="*/ 68113 w 444709"/>
                <a:gd name="connsiteY150" fmla="*/ 193548 h 259460"/>
                <a:gd name="connsiteX151" fmla="*/ 67349 w 444709"/>
                <a:gd name="connsiteY151" fmla="*/ 193675 h 259460"/>
                <a:gd name="connsiteX152" fmla="*/ 65058 w 444709"/>
                <a:gd name="connsiteY152" fmla="*/ 192913 h 259460"/>
                <a:gd name="connsiteX153" fmla="*/ 64676 w 444709"/>
                <a:gd name="connsiteY153" fmla="*/ 189992 h 259460"/>
                <a:gd name="connsiteX154" fmla="*/ 65185 w 444709"/>
                <a:gd name="connsiteY154" fmla="*/ 184404 h 259460"/>
                <a:gd name="connsiteX155" fmla="*/ 65440 w 444709"/>
                <a:gd name="connsiteY155" fmla="*/ 182499 h 259460"/>
                <a:gd name="connsiteX156" fmla="*/ 65440 w 444709"/>
                <a:gd name="connsiteY156" fmla="*/ 182499 h 259460"/>
                <a:gd name="connsiteX157" fmla="*/ 64421 w 444709"/>
                <a:gd name="connsiteY157" fmla="*/ 182753 h 259460"/>
                <a:gd name="connsiteX158" fmla="*/ 58183 w 444709"/>
                <a:gd name="connsiteY158" fmla="*/ 184658 h 259460"/>
                <a:gd name="connsiteX159" fmla="*/ 57419 w 444709"/>
                <a:gd name="connsiteY159" fmla="*/ 185293 h 259460"/>
                <a:gd name="connsiteX160" fmla="*/ 56528 w 444709"/>
                <a:gd name="connsiteY160" fmla="*/ 189738 h 259460"/>
                <a:gd name="connsiteX161" fmla="*/ 56528 w 444709"/>
                <a:gd name="connsiteY161" fmla="*/ 190500 h 259460"/>
                <a:gd name="connsiteX162" fmla="*/ 56273 w 444709"/>
                <a:gd name="connsiteY162" fmla="*/ 190754 h 259460"/>
                <a:gd name="connsiteX163" fmla="*/ 54363 w 444709"/>
                <a:gd name="connsiteY163" fmla="*/ 191770 h 259460"/>
                <a:gd name="connsiteX164" fmla="*/ 53217 w 444709"/>
                <a:gd name="connsiteY164" fmla="*/ 191389 h 259460"/>
                <a:gd name="connsiteX165" fmla="*/ 52326 w 444709"/>
                <a:gd name="connsiteY165" fmla="*/ 189611 h 259460"/>
                <a:gd name="connsiteX166" fmla="*/ 53090 w 444709"/>
                <a:gd name="connsiteY166" fmla="*/ 185039 h 259460"/>
                <a:gd name="connsiteX167" fmla="*/ 52835 w 444709"/>
                <a:gd name="connsiteY167" fmla="*/ 184785 h 259460"/>
                <a:gd name="connsiteX168" fmla="*/ 51690 w 444709"/>
                <a:gd name="connsiteY168" fmla="*/ 183515 h 259460"/>
                <a:gd name="connsiteX169" fmla="*/ 52454 w 444709"/>
                <a:gd name="connsiteY169" fmla="*/ 181229 h 259460"/>
                <a:gd name="connsiteX170" fmla="*/ 53217 w 444709"/>
                <a:gd name="connsiteY170" fmla="*/ 180975 h 259460"/>
                <a:gd name="connsiteX171" fmla="*/ 54618 w 444709"/>
                <a:gd name="connsiteY171" fmla="*/ 181356 h 259460"/>
                <a:gd name="connsiteX172" fmla="*/ 54872 w 444709"/>
                <a:gd name="connsiteY172" fmla="*/ 181102 h 259460"/>
                <a:gd name="connsiteX173" fmla="*/ 66840 w 444709"/>
                <a:gd name="connsiteY173" fmla="*/ 162433 h 259460"/>
                <a:gd name="connsiteX174" fmla="*/ 67859 w 444709"/>
                <a:gd name="connsiteY174" fmla="*/ 161290 h 259460"/>
                <a:gd name="connsiteX175" fmla="*/ 69004 w 444709"/>
                <a:gd name="connsiteY175" fmla="*/ 161036 h 259460"/>
                <a:gd name="connsiteX176" fmla="*/ 70659 w 444709"/>
                <a:gd name="connsiteY176" fmla="*/ 160782 h 259460"/>
                <a:gd name="connsiteX177" fmla="*/ 72315 w 444709"/>
                <a:gd name="connsiteY177" fmla="*/ 161163 h 259460"/>
                <a:gd name="connsiteX178" fmla="*/ 72569 w 444709"/>
                <a:gd name="connsiteY178" fmla="*/ 161798 h 259460"/>
                <a:gd name="connsiteX179" fmla="*/ 71933 w 444709"/>
                <a:gd name="connsiteY179" fmla="*/ 164846 h 259460"/>
                <a:gd name="connsiteX180" fmla="*/ 71551 w 444709"/>
                <a:gd name="connsiteY180" fmla="*/ 167132 h 259460"/>
                <a:gd name="connsiteX181" fmla="*/ 69896 w 444709"/>
                <a:gd name="connsiteY181" fmla="*/ 177292 h 259460"/>
                <a:gd name="connsiteX182" fmla="*/ 70023 w 444709"/>
                <a:gd name="connsiteY182" fmla="*/ 177546 h 259460"/>
                <a:gd name="connsiteX183" fmla="*/ 71678 w 444709"/>
                <a:gd name="connsiteY183" fmla="*/ 177546 h 259460"/>
                <a:gd name="connsiteX184" fmla="*/ 62639 w 444709"/>
                <a:gd name="connsiteY184" fmla="*/ 179832 h 259460"/>
                <a:gd name="connsiteX185" fmla="*/ 65312 w 444709"/>
                <a:gd name="connsiteY185" fmla="*/ 178816 h 259460"/>
                <a:gd name="connsiteX186" fmla="*/ 65567 w 444709"/>
                <a:gd name="connsiteY186" fmla="*/ 178435 h 259460"/>
                <a:gd name="connsiteX187" fmla="*/ 67349 w 444709"/>
                <a:gd name="connsiteY187" fmla="*/ 168148 h 259460"/>
                <a:gd name="connsiteX188" fmla="*/ 67222 w 444709"/>
                <a:gd name="connsiteY188" fmla="*/ 167767 h 259460"/>
                <a:gd name="connsiteX189" fmla="*/ 66076 w 444709"/>
                <a:gd name="connsiteY189" fmla="*/ 169545 h 259460"/>
                <a:gd name="connsiteX190" fmla="*/ 59838 w 444709"/>
                <a:gd name="connsiteY190" fmla="*/ 179705 h 259460"/>
                <a:gd name="connsiteX191" fmla="*/ 59201 w 444709"/>
                <a:gd name="connsiteY191" fmla="*/ 180721 h 259460"/>
                <a:gd name="connsiteX192" fmla="*/ 59328 w 444709"/>
                <a:gd name="connsiteY192" fmla="*/ 180721 h 259460"/>
                <a:gd name="connsiteX193" fmla="*/ 62639 w 444709"/>
                <a:gd name="connsiteY193" fmla="*/ 179705 h 259460"/>
                <a:gd name="connsiteX194" fmla="*/ 77025 w 444709"/>
                <a:gd name="connsiteY194" fmla="*/ 189230 h 259460"/>
                <a:gd name="connsiteX195" fmla="*/ 75497 w 444709"/>
                <a:gd name="connsiteY195" fmla="*/ 189484 h 259460"/>
                <a:gd name="connsiteX196" fmla="*/ 73588 w 444709"/>
                <a:gd name="connsiteY196" fmla="*/ 188976 h 259460"/>
                <a:gd name="connsiteX197" fmla="*/ 72569 w 444709"/>
                <a:gd name="connsiteY197" fmla="*/ 188214 h 259460"/>
                <a:gd name="connsiteX198" fmla="*/ 72187 w 444709"/>
                <a:gd name="connsiteY198" fmla="*/ 186182 h 259460"/>
                <a:gd name="connsiteX199" fmla="*/ 73842 w 444709"/>
                <a:gd name="connsiteY199" fmla="*/ 181483 h 259460"/>
                <a:gd name="connsiteX200" fmla="*/ 82627 w 444709"/>
                <a:gd name="connsiteY200" fmla="*/ 172085 h 259460"/>
                <a:gd name="connsiteX201" fmla="*/ 85810 w 444709"/>
                <a:gd name="connsiteY201" fmla="*/ 171196 h 259460"/>
                <a:gd name="connsiteX202" fmla="*/ 88102 w 444709"/>
                <a:gd name="connsiteY202" fmla="*/ 171958 h 259460"/>
                <a:gd name="connsiteX203" fmla="*/ 88483 w 444709"/>
                <a:gd name="connsiteY203" fmla="*/ 172085 h 259460"/>
                <a:gd name="connsiteX204" fmla="*/ 89120 w 444709"/>
                <a:gd name="connsiteY204" fmla="*/ 171450 h 259460"/>
                <a:gd name="connsiteX205" fmla="*/ 98669 w 444709"/>
                <a:gd name="connsiteY205" fmla="*/ 157480 h 259460"/>
                <a:gd name="connsiteX206" fmla="*/ 100069 w 444709"/>
                <a:gd name="connsiteY206" fmla="*/ 156845 h 259460"/>
                <a:gd name="connsiteX207" fmla="*/ 101470 w 444709"/>
                <a:gd name="connsiteY207" fmla="*/ 157353 h 259460"/>
                <a:gd name="connsiteX208" fmla="*/ 102106 w 444709"/>
                <a:gd name="connsiteY208" fmla="*/ 158242 h 259460"/>
                <a:gd name="connsiteX209" fmla="*/ 101088 w 444709"/>
                <a:gd name="connsiteY209" fmla="*/ 160655 h 259460"/>
                <a:gd name="connsiteX210" fmla="*/ 100069 w 444709"/>
                <a:gd name="connsiteY210" fmla="*/ 162433 h 259460"/>
                <a:gd name="connsiteX211" fmla="*/ 92685 w 444709"/>
                <a:gd name="connsiteY211" fmla="*/ 174244 h 259460"/>
                <a:gd name="connsiteX212" fmla="*/ 91921 w 444709"/>
                <a:gd name="connsiteY212" fmla="*/ 176022 h 259460"/>
                <a:gd name="connsiteX213" fmla="*/ 88102 w 444709"/>
                <a:gd name="connsiteY213" fmla="*/ 188087 h 259460"/>
                <a:gd name="connsiteX214" fmla="*/ 88229 w 444709"/>
                <a:gd name="connsiteY214" fmla="*/ 189865 h 259460"/>
                <a:gd name="connsiteX215" fmla="*/ 87974 w 444709"/>
                <a:gd name="connsiteY215" fmla="*/ 190119 h 259460"/>
                <a:gd name="connsiteX216" fmla="*/ 87338 w 444709"/>
                <a:gd name="connsiteY216" fmla="*/ 190754 h 259460"/>
                <a:gd name="connsiteX217" fmla="*/ 86319 w 444709"/>
                <a:gd name="connsiteY217" fmla="*/ 191008 h 259460"/>
                <a:gd name="connsiteX218" fmla="*/ 84919 w 444709"/>
                <a:gd name="connsiteY218" fmla="*/ 190754 h 259460"/>
                <a:gd name="connsiteX219" fmla="*/ 84282 w 444709"/>
                <a:gd name="connsiteY219" fmla="*/ 189992 h 259460"/>
                <a:gd name="connsiteX220" fmla="*/ 84282 w 444709"/>
                <a:gd name="connsiteY220" fmla="*/ 188722 h 259460"/>
                <a:gd name="connsiteX221" fmla="*/ 85683 w 444709"/>
                <a:gd name="connsiteY221" fmla="*/ 181610 h 259460"/>
                <a:gd name="connsiteX222" fmla="*/ 85937 w 444709"/>
                <a:gd name="connsiteY222" fmla="*/ 180594 h 259460"/>
                <a:gd name="connsiteX223" fmla="*/ 85937 w 444709"/>
                <a:gd name="connsiteY223" fmla="*/ 180594 h 259460"/>
                <a:gd name="connsiteX224" fmla="*/ 84919 w 444709"/>
                <a:gd name="connsiteY224" fmla="*/ 181610 h 259460"/>
                <a:gd name="connsiteX225" fmla="*/ 76898 w 444709"/>
                <a:gd name="connsiteY225" fmla="*/ 189103 h 259460"/>
                <a:gd name="connsiteX226" fmla="*/ 77280 w 444709"/>
                <a:gd name="connsiteY226" fmla="*/ 185039 h 259460"/>
                <a:gd name="connsiteX227" fmla="*/ 85683 w 444709"/>
                <a:gd name="connsiteY227" fmla="*/ 175641 h 259460"/>
                <a:gd name="connsiteX228" fmla="*/ 86574 w 444709"/>
                <a:gd name="connsiteY228" fmla="*/ 174117 h 259460"/>
                <a:gd name="connsiteX229" fmla="*/ 86192 w 444709"/>
                <a:gd name="connsiteY229" fmla="*/ 173736 h 259460"/>
                <a:gd name="connsiteX230" fmla="*/ 84282 w 444709"/>
                <a:gd name="connsiteY230" fmla="*/ 174752 h 259460"/>
                <a:gd name="connsiteX231" fmla="*/ 76007 w 444709"/>
                <a:gd name="connsiteY231" fmla="*/ 184531 h 259460"/>
                <a:gd name="connsiteX232" fmla="*/ 75625 w 444709"/>
                <a:gd name="connsiteY232" fmla="*/ 185928 h 259460"/>
                <a:gd name="connsiteX233" fmla="*/ 75625 w 444709"/>
                <a:gd name="connsiteY233" fmla="*/ 186182 h 259460"/>
                <a:gd name="connsiteX234" fmla="*/ 77152 w 444709"/>
                <a:gd name="connsiteY234" fmla="*/ 185039 h 259460"/>
                <a:gd name="connsiteX235" fmla="*/ 107071 w 444709"/>
                <a:gd name="connsiteY235" fmla="*/ 176530 h 259460"/>
                <a:gd name="connsiteX236" fmla="*/ 106435 w 444709"/>
                <a:gd name="connsiteY236" fmla="*/ 177800 h 259460"/>
                <a:gd name="connsiteX237" fmla="*/ 100578 w 444709"/>
                <a:gd name="connsiteY237" fmla="*/ 187960 h 259460"/>
                <a:gd name="connsiteX238" fmla="*/ 98923 w 444709"/>
                <a:gd name="connsiteY238" fmla="*/ 189611 h 259460"/>
                <a:gd name="connsiteX239" fmla="*/ 97141 w 444709"/>
                <a:gd name="connsiteY239" fmla="*/ 190246 h 259460"/>
                <a:gd name="connsiteX240" fmla="*/ 94977 w 444709"/>
                <a:gd name="connsiteY240" fmla="*/ 189230 h 259460"/>
                <a:gd name="connsiteX241" fmla="*/ 93576 w 444709"/>
                <a:gd name="connsiteY241" fmla="*/ 187325 h 259460"/>
                <a:gd name="connsiteX242" fmla="*/ 94085 w 444709"/>
                <a:gd name="connsiteY242" fmla="*/ 184023 h 259460"/>
                <a:gd name="connsiteX243" fmla="*/ 94977 w 444709"/>
                <a:gd name="connsiteY243" fmla="*/ 180848 h 259460"/>
                <a:gd name="connsiteX244" fmla="*/ 97777 w 444709"/>
                <a:gd name="connsiteY244" fmla="*/ 170815 h 259460"/>
                <a:gd name="connsiteX245" fmla="*/ 98287 w 444709"/>
                <a:gd name="connsiteY245" fmla="*/ 170053 h 259460"/>
                <a:gd name="connsiteX246" fmla="*/ 99178 w 444709"/>
                <a:gd name="connsiteY246" fmla="*/ 169799 h 259460"/>
                <a:gd name="connsiteX247" fmla="*/ 100324 w 444709"/>
                <a:gd name="connsiteY247" fmla="*/ 169799 h 259460"/>
                <a:gd name="connsiteX248" fmla="*/ 101470 w 444709"/>
                <a:gd name="connsiteY248" fmla="*/ 170180 h 259460"/>
                <a:gd name="connsiteX249" fmla="*/ 101597 w 444709"/>
                <a:gd name="connsiteY249" fmla="*/ 170561 h 259460"/>
                <a:gd name="connsiteX250" fmla="*/ 100069 w 444709"/>
                <a:gd name="connsiteY250" fmla="*/ 175641 h 259460"/>
                <a:gd name="connsiteX251" fmla="*/ 97268 w 444709"/>
                <a:gd name="connsiteY251" fmla="*/ 185674 h 259460"/>
                <a:gd name="connsiteX252" fmla="*/ 97014 w 444709"/>
                <a:gd name="connsiteY252" fmla="*/ 186436 h 259460"/>
                <a:gd name="connsiteX253" fmla="*/ 97014 w 444709"/>
                <a:gd name="connsiteY253" fmla="*/ 186436 h 259460"/>
                <a:gd name="connsiteX254" fmla="*/ 97395 w 444709"/>
                <a:gd name="connsiteY254" fmla="*/ 186055 h 259460"/>
                <a:gd name="connsiteX255" fmla="*/ 101979 w 444709"/>
                <a:gd name="connsiteY255" fmla="*/ 178435 h 259460"/>
                <a:gd name="connsiteX256" fmla="*/ 102743 w 444709"/>
                <a:gd name="connsiteY256" fmla="*/ 176657 h 259460"/>
                <a:gd name="connsiteX257" fmla="*/ 103252 w 444709"/>
                <a:gd name="connsiteY257" fmla="*/ 174371 h 259460"/>
                <a:gd name="connsiteX258" fmla="*/ 102870 w 444709"/>
                <a:gd name="connsiteY258" fmla="*/ 173355 h 259460"/>
                <a:gd name="connsiteX259" fmla="*/ 102361 w 444709"/>
                <a:gd name="connsiteY259" fmla="*/ 172212 h 259460"/>
                <a:gd name="connsiteX260" fmla="*/ 104016 w 444709"/>
                <a:gd name="connsiteY260" fmla="*/ 171196 h 259460"/>
                <a:gd name="connsiteX261" fmla="*/ 106308 w 444709"/>
                <a:gd name="connsiteY261" fmla="*/ 172339 h 259460"/>
                <a:gd name="connsiteX262" fmla="*/ 107708 w 444709"/>
                <a:gd name="connsiteY262" fmla="*/ 173609 h 259460"/>
                <a:gd name="connsiteX263" fmla="*/ 109872 w 444709"/>
                <a:gd name="connsiteY263" fmla="*/ 172974 h 259460"/>
                <a:gd name="connsiteX264" fmla="*/ 112801 w 444709"/>
                <a:gd name="connsiteY264" fmla="*/ 172212 h 259460"/>
                <a:gd name="connsiteX265" fmla="*/ 114965 w 444709"/>
                <a:gd name="connsiteY265" fmla="*/ 172847 h 259460"/>
                <a:gd name="connsiteX266" fmla="*/ 115347 w 444709"/>
                <a:gd name="connsiteY266" fmla="*/ 173736 h 259460"/>
                <a:gd name="connsiteX267" fmla="*/ 114965 w 444709"/>
                <a:gd name="connsiteY267" fmla="*/ 174117 h 259460"/>
                <a:gd name="connsiteX268" fmla="*/ 109872 w 444709"/>
                <a:gd name="connsiteY268" fmla="*/ 176022 h 259460"/>
                <a:gd name="connsiteX269" fmla="*/ 108472 w 444709"/>
                <a:gd name="connsiteY269" fmla="*/ 176276 h 259460"/>
                <a:gd name="connsiteX270" fmla="*/ 106944 w 444709"/>
                <a:gd name="connsiteY270" fmla="*/ 176149 h 259460"/>
                <a:gd name="connsiteX271" fmla="*/ 106689 w 444709"/>
                <a:gd name="connsiteY271" fmla="*/ 176149 h 259460"/>
                <a:gd name="connsiteX272" fmla="*/ 116875 w 444709"/>
                <a:gd name="connsiteY272" fmla="*/ 186182 h 259460"/>
                <a:gd name="connsiteX273" fmla="*/ 112546 w 444709"/>
                <a:gd name="connsiteY273" fmla="*/ 189103 h 259460"/>
                <a:gd name="connsiteX274" fmla="*/ 111018 w 444709"/>
                <a:gd name="connsiteY274" fmla="*/ 189484 h 259460"/>
                <a:gd name="connsiteX275" fmla="*/ 109872 w 444709"/>
                <a:gd name="connsiteY275" fmla="*/ 189103 h 259460"/>
                <a:gd name="connsiteX276" fmla="*/ 108090 w 444709"/>
                <a:gd name="connsiteY276" fmla="*/ 187579 h 259460"/>
                <a:gd name="connsiteX277" fmla="*/ 107326 w 444709"/>
                <a:gd name="connsiteY277" fmla="*/ 185674 h 259460"/>
                <a:gd name="connsiteX278" fmla="*/ 110127 w 444709"/>
                <a:gd name="connsiteY278" fmla="*/ 178943 h 259460"/>
                <a:gd name="connsiteX279" fmla="*/ 116111 w 444709"/>
                <a:gd name="connsiteY279" fmla="*/ 172720 h 259460"/>
                <a:gd name="connsiteX280" fmla="*/ 123750 w 444709"/>
                <a:gd name="connsiteY280" fmla="*/ 169291 h 259460"/>
                <a:gd name="connsiteX281" fmla="*/ 126423 w 444709"/>
                <a:gd name="connsiteY281" fmla="*/ 170434 h 259460"/>
                <a:gd name="connsiteX282" fmla="*/ 126805 w 444709"/>
                <a:gd name="connsiteY282" fmla="*/ 171323 h 259460"/>
                <a:gd name="connsiteX283" fmla="*/ 127569 w 444709"/>
                <a:gd name="connsiteY283" fmla="*/ 172085 h 259460"/>
                <a:gd name="connsiteX284" fmla="*/ 128715 w 444709"/>
                <a:gd name="connsiteY284" fmla="*/ 172974 h 259460"/>
                <a:gd name="connsiteX285" fmla="*/ 128588 w 444709"/>
                <a:gd name="connsiteY285" fmla="*/ 173355 h 259460"/>
                <a:gd name="connsiteX286" fmla="*/ 123368 w 444709"/>
                <a:gd name="connsiteY286" fmla="*/ 182118 h 259460"/>
                <a:gd name="connsiteX287" fmla="*/ 122476 w 444709"/>
                <a:gd name="connsiteY287" fmla="*/ 186309 h 259460"/>
                <a:gd name="connsiteX288" fmla="*/ 122986 w 444709"/>
                <a:gd name="connsiteY288" fmla="*/ 188595 h 259460"/>
                <a:gd name="connsiteX289" fmla="*/ 123240 w 444709"/>
                <a:gd name="connsiteY289" fmla="*/ 189103 h 259460"/>
                <a:gd name="connsiteX290" fmla="*/ 122476 w 444709"/>
                <a:gd name="connsiteY290" fmla="*/ 189738 h 259460"/>
                <a:gd name="connsiteX291" fmla="*/ 121331 w 444709"/>
                <a:gd name="connsiteY291" fmla="*/ 189865 h 259460"/>
                <a:gd name="connsiteX292" fmla="*/ 119294 w 444709"/>
                <a:gd name="connsiteY292" fmla="*/ 188976 h 259460"/>
                <a:gd name="connsiteX293" fmla="*/ 118912 w 444709"/>
                <a:gd name="connsiteY293" fmla="*/ 186309 h 259460"/>
                <a:gd name="connsiteX294" fmla="*/ 119166 w 444709"/>
                <a:gd name="connsiteY294" fmla="*/ 183896 h 259460"/>
                <a:gd name="connsiteX295" fmla="*/ 119166 w 444709"/>
                <a:gd name="connsiteY295" fmla="*/ 183896 h 259460"/>
                <a:gd name="connsiteX296" fmla="*/ 116875 w 444709"/>
                <a:gd name="connsiteY296" fmla="*/ 185928 h 259460"/>
                <a:gd name="connsiteX297" fmla="*/ 122731 w 444709"/>
                <a:gd name="connsiteY297" fmla="*/ 172720 h 259460"/>
                <a:gd name="connsiteX298" fmla="*/ 114074 w 444709"/>
                <a:gd name="connsiteY298" fmla="*/ 179705 h 259460"/>
                <a:gd name="connsiteX299" fmla="*/ 110763 w 444709"/>
                <a:gd name="connsiteY299" fmla="*/ 185547 h 259460"/>
                <a:gd name="connsiteX300" fmla="*/ 111018 w 444709"/>
                <a:gd name="connsiteY300" fmla="*/ 186436 h 259460"/>
                <a:gd name="connsiteX301" fmla="*/ 111655 w 444709"/>
                <a:gd name="connsiteY301" fmla="*/ 186182 h 259460"/>
                <a:gd name="connsiteX302" fmla="*/ 112928 w 444709"/>
                <a:gd name="connsiteY302" fmla="*/ 185166 h 259460"/>
                <a:gd name="connsiteX303" fmla="*/ 122986 w 444709"/>
                <a:gd name="connsiteY303" fmla="*/ 175006 h 259460"/>
                <a:gd name="connsiteX304" fmla="*/ 124259 w 444709"/>
                <a:gd name="connsiteY304" fmla="*/ 173482 h 259460"/>
                <a:gd name="connsiteX305" fmla="*/ 124513 w 444709"/>
                <a:gd name="connsiteY305" fmla="*/ 172847 h 259460"/>
                <a:gd name="connsiteX306" fmla="*/ 124131 w 444709"/>
                <a:gd name="connsiteY306" fmla="*/ 172085 h 259460"/>
                <a:gd name="connsiteX307" fmla="*/ 122731 w 444709"/>
                <a:gd name="connsiteY307" fmla="*/ 172720 h 259460"/>
                <a:gd name="connsiteX308" fmla="*/ 133044 w 444709"/>
                <a:gd name="connsiteY308" fmla="*/ 187198 h 259460"/>
                <a:gd name="connsiteX309" fmla="*/ 132025 w 444709"/>
                <a:gd name="connsiteY309" fmla="*/ 188341 h 259460"/>
                <a:gd name="connsiteX310" fmla="*/ 131261 w 444709"/>
                <a:gd name="connsiteY310" fmla="*/ 189103 h 259460"/>
                <a:gd name="connsiteX311" fmla="*/ 129351 w 444709"/>
                <a:gd name="connsiteY311" fmla="*/ 189738 h 259460"/>
                <a:gd name="connsiteX312" fmla="*/ 127569 w 444709"/>
                <a:gd name="connsiteY312" fmla="*/ 188849 h 259460"/>
                <a:gd name="connsiteX313" fmla="*/ 126169 w 444709"/>
                <a:gd name="connsiteY313" fmla="*/ 187071 h 259460"/>
                <a:gd name="connsiteX314" fmla="*/ 126805 w 444709"/>
                <a:gd name="connsiteY314" fmla="*/ 184023 h 259460"/>
                <a:gd name="connsiteX315" fmla="*/ 128206 w 444709"/>
                <a:gd name="connsiteY315" fmla="*/ 180467 h 259460"/>
                <a:gd name="connsiteX316" fmla="*/ 129224 w 444709"/>
                <a:gd name="connsiteY316" fmla="*/ 178435 h 259460"/>
                <a:gd name="connsiteX317" fmla="*/ 133553 w 444709"/>
                <a:gd name="connsiteY317" fmla="*/ 170815 h 259460"/>
                <a:gd name="connsiteX318" fmla="*/ 134189 w 444709"/>
                <a:gd name="connsiteY318" fmla="*/ 169926 h 259460"/>
                <a:gd name="connsiteX319" fmla="*/ 135972 w 444709"/>
                <a:gd name="connsiteY319" fmla="*/ 169418 h 259460"/>
                <a:gd name="connsiteX320" fmla="*/ 137754 w 444709"/>
                <a:gd name="connsiteY320" fmla="*/ 170053 h 259460"/>
                <a:gd name="connsiteX321" fmla="*/ 137881 w 444709"/>
                <a:gd name="connsiteY321" fmla="*/ 170688 h 259460"/>
                <a:gd name="connsiteX322" fmla="*/ 136863 w 444709"/>
                <a:gd name="connsiteY322" fmla="*/ 172847 h 259460"/>
                <a:gd name="connsiteX323" fmla="*/ 134189 w 444709"/>
                <a:gd name="connsiteY323" fmla="*/ 176530 h 259460"/>
                <a:gd name="connsiteX324" fmla="*/ 130879 w 444709"/>
                <a:gd name="connsiteY324" fmla="*/ 183007 h 259460"/>
                <a:gd name="connsiteX325" fmla="*/ 130243 w 444709"/>
                <a:gd name="connsiteY325" fmla="*/ 184912 h 259460"/>
                <a:gd name="connsiteX326" fmla="*/ 130370 w 444709"/>
                <a:gd name="connsiteY326" fmla="*/ 184912 h 259460"/>
                <a:gd name="connsiteX327" fmla="*/ 131770 w 444709"/>
                <a:gd name="connsiteY327" fmla="*/ 183261 h 259460"/>
                <a:gd name="connsiteX328" fmla="*/ 139664 w 444709"/>
                <a:gd name="connsiteY328" fmla="*/ 174117 h 259460"/>
                <a:gd name="connsiteX329" fmla="*/ 140555 w 444709"/>
                <a:gd name="connsiteY329" fmla="*/ 172720 h 259460"/>
                <a:gd name="connsiteX330" fmla="*/ 141574 w 444709"/>
                <a:gd name="connsiteY330" fmla="*/ 172339 h 259460"/>
                <a:gd name="connsiteX331" fmla="*/ 143229 w 444709"/>
                <a:gd name="connsiteY331" fmla="*/ 172847 h 259460"/>
                <a:gd name="connsiteX332" fmla="*/ 143993 w 444709"/>
                <a:gd name="connsiteY332" fmla="*/ 173990 h 259460"/>
                <a:gd name="connsiteX333" fmla="*/ 143611 w 444709"/>
                <a:gd name="connsiteY333" fmla="*/ 175006 h 259460"/>
                <a:gd name="connsiteX334" fmla="*/ 140428 w 444709"/>
                <a:gd name="connsiteY334" fmla="*/ 181102 h 259460"/>
                <a:gd name="connsiteX335" fmla="*/ 139664 w 444709"/>
                <a:gd name="connsiteY335" fmla="*/ 184785 h 259460"/>
                <a:gd name="connsiteX336" fmla="*/ 139918 w 444709"/>
                <a:gd name="connsiteY336" fmla="*/ 186563 h 259460"/>
                <a:gd name="connsiteX337" fmla="*/ 141192 w 444709"/>
                <a:gd name="connsiteY337" fmla="*/ 188087 h 259460"/>
                <a:gd name="connsiteX338" fmla="*/ 141701 w 444709"/>
                <a:gd name="connsiteY338" fmla="*/ 189103 h 259460"/>
                <a:gd name="connsiteX339" fmla="*/ 141446 w 444709"/>
                <a:gd name="connsiteY339" fmla="*/ 189738 h 259460"/>
                <a:gd name="connsiteX340" fmla="*/ 140300 w 444709"/>
                <a:gd name="connsiteY340" fmla="*/ 190119 h 259460"/>
                <a:gd name="connsiteX341" fmla="*/ 138009 w 444709"/>
                <a:gd name="connsiteY341" fmla="*/ 189484 h 259460"/>
                <a:gd name="connsiteX342" fmla="*/ 136608 w 444709"/>
                <a:gd name="connsiteY342" fmla="*/ 187960 h 259460"/>
                <a:gd name="connsiteX343" fmla="*/ 136099 w 444709"/>
                <a:gd name="connsiteY343" fmla="*/ 186055 h 259460"/>
                <a:gd name="connsiteX344" fmla="*/ 136226 w 444709"/>
                <a:gd name="connsiteY344" fmla="*/ 184150 h 259460"/>
                <a:gd name="connsiteX345" fmla="*/ 136226 w 444709"/>
                <a:gd name="connsiteY345" fmla="*/ 183642 h 259460"/>
                <a:gd name="connsiteX346" fmla="*/ 136099 w 444709"/>
                <a:gd name="connsiteY346" fmla="*/ 183515 h 259460"/>
                <a:gd name="connsiteX347" fmla="*/ 135590 w 444709"/>
                <a:gd name="connsiteY347" fmla="*/ 184023 h 259460"/>
                <a:gd name="connsiteX348" fmla="*/ 133171 w 444709"/>
                <a:gd name="connsiteY348" fmla="*/ 187198 h 259460"/>
                <a:gd name="connsiteX349" fmla="*/ 152395 w 444709"/>
                <a:gd name="connsiteY349" fmla="*/ 184404 h 259460"/>
                <a:gd name="connsiteX350" fmla="*/ 155069 w 444709"/>
                <a:gd name="connsiteY350" fmla="*/ 182499 h 259460"/>
                <a:gd name="connsiteX351" fmla="*/ 157615 w 444709"/>
                <a:gd name="connsiteY351" fmla="*/ 181483 h 259460"/>
                <a:gd name="connsiteX352" fmla="*/ 158888 w 444709"/>
                <a:gd name="connsiteY352" fmla="*/ 181991 h 259460"/>
                <a:gd name="connsiteX353" fmla="*/ 159270 w 444709"/>
                <a:gd name="connsiteY353" fmla="*/ 182626 h 259460"/>
                <a:gd name="connsiteX354" fmla="*/ 159143 w 444709"/>
                <a:gd name="connsiteY354" fmla="*/ 183007 h 259460"/>
                <a:gd name="connsiteX355" fmla="*/ 158761 w 444709"/>
                <a:gd name="connsiteY355" fmla="*/ 183515 h 259460"/>
                <a:gd name="connsiteX356" fmla="*/ 154560 w 444709"/>
                <a:gd name="connsiteY356" fmla="*/ 186436 h 259460"/>
                <a:gd name="connsiteX357" fmla="*/ 147939 w 444709"/>
                <a:gd name="connsiteY357" fmla="*/ 189738 h 259460"/>
                <a:gd name="connsiteX358" fmla="*/ 143865 w 444709"/>
                <a:gd name="connsiteY358" fmla="*/ 187706 h 259460"/>
                <a:gd name="connsiteX359" fmla="*/ 143483 w 444709"/>
                <a:gd name="connsiteY359" fmla="*/ 186055 h 259460"/>
                <a:gd name="connsiteX360" fmla="*/ 144374 w 444709"/>
                <a:gd name="connsiteY360" fmla="*/ 182499 h 259460"/>
                <a:gd name="connsiteX361" fmla="*/ 145393 w 444709"/>
                <a:gd name="connsiteY361" fmla="*/ 180213 h 259460"/>
                <a:gd name="connsiteX362" fmla="*/ 153923 w 444709"/>
                <a:gd name="connsiteY362" fmla="*/ 169926 h 259460"/>
                <a:gd name="connsiteX363" fmla="*/ 154942 w 444709"/>
                <a:gd name="connsiteY363" fmla="*/ 169672 h 259460"/>
                <a:gd name="connsiteX364" fmla="*/ 159143 w 444709"/>
                <a:gd name="connsiteY364" fmla="*/ 171450 h 259460"/>
                <a:gd name="connsiteX365" fmla="*/ 159270 w 444709"/>
                <a:gd name="connsiteY365" fmla="*/ 171831 h 259460"/>
                <a:gd name="connsiteX366" fmla="*/ 159270 w 444709"/>
                <a:gd name="connsiteY366" fmla="*/ 172339 h 259460"/>
                <a:gd name="connsiteX367" fmla="*/ 159270 w 444709"/>
                <a:gd name="connsiteY367" fmla="*/ 172720 h 259460"/>
                <a:gd name="connsiteX368" fmla="*/ 159270 w 444709"/>
                <a:gd name="connsiteY368" fmla="*/ 173101 h 259460"/>
                <a:gd name="connsiteX369" fmla="*/ 157743 w 444709"/>
                <a:gd name="connsiteY369" fmla="*/ 176530 h 259460"/>
                <a:gd name="connsiteX370" fmla="*/ 157488 w 444709"/>
                <a:gd name="connsiteY370" fmla="*/ 177292 h 259460"/>
                <a:gd name="connsiteX371" fmla="*/ 156469 w 444709"/>
                <a:gd name="connsiteY371" fmla="*/ 177546 h 259460"/>
                <a:gd name="connsiteX372" fmla="*/ 155324 w 444709"/>
                <a:gd name="connsiteY372" fmla="*/ 177292 h 259460"/>
                <a:gd name="connsiteX373" fmla="*/ 154305 w 444709"/>
                <a:gd name="connsiteY373" fmla="*/ 176530 h 259460"/>
                <a:gd name="connsiteX374" fmla="*/ 153923 w 444709"/>
                <a:gd name="connsiteY374" fmla="*/ 175641 h 259460"/>
                <a:gd name="connsiteX375" fmla="*/ 155069 w 444709"/>
                <a:gd name="connsiteY375" fmla="*/ 173228 h 259460"/>
                <a:gd name="connsiteX376" fmla="*/ 154942 w 444709"/>
                <a:gd name="connsiteY376" fmla="*/ 173228 h 259460"/>
                <a:gd name="connsiteX377" fmla="*/ 154305 w 444709"/>
                <a:gd name="connsiteY377" fmla="*/ 173736 h 259460"/>
                <a:gd name="connsiteX378" fmla="*/ 149722 w 444709"/>
                <a:gd name="connsiteY378" fmla="*/ 179959 h 259460"/>
                <a:gd name="connsiteX379" fmla="*/ 147048 w 444709"/>
                <a:gd name="connsiteY379" fmla="*/ 186436 h 259460"/>
                <a:gd name="connsiteX380" fmla="*/ 147557 w 444709"/>
                <a:gd name="connsiteY380" fmla="*/ 187071 h 259460"/>
                <a:gd name="connsiteX381" fmla="*/ 152523 w 444709"/>
                <a:gd name="connsiteY381" fmla="*/ 184531 h 259460"/>
                <a:gd name="connsiteX382" fmla="*/ 164236 w 444709"/>
                <a:gd name="connsiteY382" fmla="*/ 185420 h 259460"/>
                <a:gd name="connsiteX383" fmla="*/ 166400 w 444709"/>
                <a:gd name="connsiteY383" fmla="*/ 184404 h 259460"/>
                <a:gd name="connsiteX384" fmla="*/ 167928 w 444709"/>
                <a:gd name="connsiteY384" fmla="*/ 185166 h 259460"/>
                <a:gd name="connsiteX385" fmla="*/ 167164 w 444709"/>
                <a:gd name="connsiteY385" fmla="*/ 186309 h 259460"/>
                <a:gd name="connsiteX386" fmla="*/ 165381 w 444709"/>
                <a:gd name="connsiteY386" fmla="*/ 187960 h 259460"/>
                <a:gd name="connsiteX387" fmla="*/ 160925 w 444709"/>
                <a:gd name="connsiteY387" fmla="*/ 189992 h 259460"/>
                <a:gd name="connsiteX388" fmla="*/ 157870 w 444709"/>
                <a:gd name="connsiteY388" fmla="*/ 186182 h 259460"/>
                <a:gd name="connsiteX389" fmla="*/ 158761 w 444709"/>
                <a:gd name="connsiteY389" fmla="*/ 181610 h 259460"/>
                <a:gd name="connsiteX390" fmla="*/ 159525 w 444709"/>
                <a:gd name="connsiteY390" fmla="*/ 179578 h 259460"/>
                <a:gd name="connsiteX391" fmla="*/ 163981 w 444709"/>
                <a:gd name="connsiteY391" fmla="*/ 170434 h 259460"/>
                <a:gd name="connsiteX392" fmla="*/ 166400 w 444709"/>
                <a:gd name="connsiteY392" fmla="*/ 169291 h 259460"/>
                <a:gd name="connsiteX393" fmla="*/ 167928 w 444709"/>
                <a:gd name="connsiteY393" fmla="*/ 169672 h 259460"/>
                <a:gd name="connsiteX394" fmla="*/ 168182 w 444709"/>
                <a:gd name="connsiteY394" fmla="*/ 170180 h 259460"/>
                <a:gd name="connsiteX395" fmla="*/ 165381 w 444709"/>
                <a:gd name="connsiteY395" fmla="*/ 175641 h 259460"/>
                <a:gd name="connsiteX396" fmla="*/ 162708 w 444709"/>
                <a:gd name="connsiteY396" fmla="*/ 181483 h 259460"/>
                <a:gd name="connsiteX397" fmla="*/ 161435 w 444709"/>
                <a:gd name="connsiteY397" fmla="*/ 186055 h 259460"/>
                <a:gd name="connsiteX398" fmla="*/ 161817 w 444709"/>
                <a:gd name="connsiteY398" fmla="*/ 186817 h 259460"/>
                <a:gd name="connsiteX399" fmla="*/ 164236 w 444709"/>
                <a:gd name="connsiteY399" fmla="*/ 185547 h 259460"/>
                <a:gd name="connsiteX400" fmla="*/ 172638 w 444709"/>
                <a:gd name="connsiteY400" fmla="*/ 162941 h 259460"/>
                <a:gd name="connsiteX401" fmla="*/ 171620 w 444709"/>
                <a:gd name="connsiteY401" fmla="*/ 164084 h 259460"/>
                <a:gd name="connsiteX402" fmla="*/ 169837 w 444709"/>
                <a:gd name="connsiteY402" fmla="*/ 165100 h 259460"/>
                <a:gd name="connsiteX403" fmla="*/ 167546 w 444709"/>
                <a:gd name="connsiteY403" fmla="*/ 163322 h 259460"/>
                <a:gd name="connsiteX404" fmla="*/ 170474 w 444709"/>
                <a:gd name="connsiteY404" fmla="*/ 160401 h 259460"/>
                <a:gd name="connsiteX405" fmla="*/ 172766 w 444709"/>
                <a:gd name="connsiteY405" fmla="*/ 162052 h 259460"/>
                <a:gd name="connsiteX406" fmla="*/ 172511 w 444709"/>
                <a:gd name="connsiteY406" fmla="*/ 163195 h 259460"/>
                <a:gd name="connsiteX407" fmla="*/ 173148 w 444709"/>
                <a:gd name="connsiteY407" fmla="*/ 187198 h 259460"/>
                <a:gd name="connsiteX408" fmla="*/ 172129 w 444709"/>
                <a:gd name="connsiteY408" fmla="*/ 188341 h 259460"/>
                <a:gd name="connsiteX409" fmla="*/ 171365 w 444709"/>
                <a:gd name="connsiteY409" fmla="*/ 189103 h 259460"/>
                <a:gd name="connsiteX410" fmla="*/ 169455 w 444709"/>
                <a:gd name="connsiteY410" fmla="*/ 189738 h 259460"/>
                <a:gd name="connsiteX411" fmla="*/ 167673 w 444709"/>
                <a:gd name="connsiteY411" fmla="*/ 188849 h 259460"/>
                <a:gd name="connsiteX412" fmla="*/ 166273 w 444709"/>
                <a:gd name="connsiteY412" fmla="*/ 187071 h 259460"/>
                <a:gd name="connsiteX413" fmla="*/ 166909 w 444709"/>
                <a:gd name="connsiteY413" fmla="*/ 184023 h 259460"/>
                <a:gd name="connsiteX414" fmla="*/ 168310 w 444709"/>
                <a:gd name="connsiteY414" fmla="*/ 180467 h 259460"/>
                <a:gd name="connsiteX415" fmla="*/ 169328 w 444709"/>
                <a:gd name="connsiteY415" fmla="*/ 178435 h 259460"/>
                <a:gd name="connsiteX416" fmla="*/ 173657 w 444709"/>
                <a:gd name="connsiteY416" fmla="*/ 170815 h 259460"/>
                <a:gd name="connsiteX417" fmla="*/ 174293 w 444709"/>
                <a:gd name="connsiteY417" fmla="*/ 169926 h 259460"/>
                <a:gd name="connsiteX418" fmla="*/ 176076 w 444709"/>
                <a:gd name="connsiteY418" fmla="*/ 169418 h 259460"/>
                <a:gd name="connsiteX419" fmla="*/ 177858 w 444709"/>
                <a:gd name="connsiteY419" fmla="*/ 170053 h 259460"/>
                <a:gd name="connsiteX420" fmla="*/ 177986 w 444709"/>
                <a:gd name="connsiteY420" fmla="*/ 170688 h 259460"/>
                <a:gd name="connsiteX421" fmla="*/ 176967 w 444709"/>
                <a:gd name="connsiteY421" fmla="*/ 172847 h 259460"/>
                <a:gd name="connsiteX422" fmla="*/ 174293 w 444709"/>
                <a:gd name="connsiteY422" fmla="*/ 176530 h 259460"/>
                <a:gd name="connsiteX423" fmla="*/ 170983 w 444709"/>
                <a:gd name="connsiteY423" fmla="*/ 183007 h 259460"/>
                <a:gd name="connsiteX424" fmla="*/ 170347 w 444709"/>
                <a:gd name="connsiteY424" fmla="*/ 184912 h 259460"/>
                <a:gd name="connsiteX425" fmla="*/ 170474 w 444709"/>
                <a:gd name="connsiteY425" fmla="*/ 184912 h 259460"/>
                <a:gd name="connsiteX426" fmla="*/ 171874 w 444709"/>
                <a:gd name="connsiteY426" fmla="*/ 183261 h 259460"/>
                <a:gd name="connsiteX427" fmla="*/ 179768 w 444709"/>
                <a:gd name="connsiteY427" fmla="*/ 174117 h 259460"/>
                <a:gd name="connsiteX428" fmla="*/ 180659 w 444709"/>
                <a:gd name="connsiteY428" fmla="*/ 172720 h 259460"/>
                <a:gd name="connsiteX429" fmla="*/ 181678 w 444709"/>
                <a:gd name="connsiteY429" fmla="*/ 172339 h 259460"/>
                <a:gd name="connsiteX430" fmla="*/ 183333 w 444709"/>
                <a:gd name="connsiteY430" fmla="*/ 172847 h 259460"/>
                <a:gd name="connsiteX431" fmla="*/ 184097 w 444709"/>
                <a:gd name="connsiteY431" fmla="*/ 173990 h 259460"/>
                <a:gd name="connsiteX432" fmla="*/ 183715 w 444709"/>
                <a:gd name="connsiteY432" fmla="*/ 175006 h 259460"/>
                <a:gd name="connsiteX433" fmla="*/ 180532 w 444709"/>
                <a:gd name="connsiteY433" fmla="*/ 181102 h 259460"/>
                <a:gd name="connsiteX434" fmla="*/ 179768 w 444709"/>
                <a:gd name="connsiteY434" fmla="*/ 184785 h 259460"/>
                <a:gd name="connsiteX435" fmla="*/ 180023 w 444709"/>
                <a:gd name="connsiteY435" fmla="*/ 186563 h 259460"/>
                <a:gd name="connsiteX436" fmla="*/ 181296 w 444709"/>
                <a:gd name="connsiteY436" fmla="*/ 188087 h 259460"/>
                <a:gd name="connsiteX437" fmla="*/ 181805 w 444709"/>
                <a:gd name="connsiteY437" fmla="*/ 189103 h 259460"/>
                <a:gd name="connsiteX438" fmla="*/ 181550 w 444709"/>
                <a:gd name="connsiteY438" fmla="*/ 189738 h 259460"/>
                <a:gd name="connsiteX439" fmla="*/ 180404 w 444709"/>
                <a:gd name="connsiteY439" fmla="*/ 190119 h 259460"/>
                <a:gd name="connsiteX440" fmla="*/ 178113 w 444709"/>
                <a:gd name="connsiteY440" fmla="*/ 189484 h 259460"/>
                <a:gd name="connsiteX441" fmla="*/ 176712 w 444709"/>
                <a:gd name="connsiteY441" fmla="*/ 187960 h 259460"/>
                <a:gd name="connsiteX442" fmla="*/ 176203 w 444709"/>
                <a:gd name="connsiteY442" fmla="*/ 186055 h 259460"/>
                <a:gd name="connsiteX443" fmla="*/ 176330 w 444709"/>
                <a:gd name="connsiteY443" fmla="*/ 184150 h 259460"/>
                <a:gd name="connsiteX444" fmla="*/ 176330 w 444709"/>
                <a:gd name="connsiteY444" fmla="*/ 183642 h 259460"/>
                <a:gd name="connsiteX445" fmla="*/ 176203 w 444709"/>
                <a:gd name="connsiteY445" fmla="*/ 183515 h 259460"/>
                <a:gd name="connsiteX446" fmla="*/ 175694 w 444709"/>
                <a:gd name="connsiteY446" fmla="*/ 184023 h 259460"/>
                <a:gd name="connsiteX447" fmla="*/ 173275 w 444709"/>
                <a:gd name="connsiteY447" fmla="*/ 187198 h 259460"/>
                <a:gd name="connsiteX448" fmla="*/ 200902 w 444709"/>
                <a:gd name="connsiteY448" fmla="*/ 180340 h 259460"/>
                <a:gd name="connsiteX449" fmla="*/ 202303 w 444709"/>
                <a:gd name="connsiteY449" fmla="*/ 179959 h 259460"/>
                <a:gd name="connsiteX450" fmla="*/ 203703 w 444709"/>
                <a:gd name="connsiteY450" fmla="*/ 180848 h 259460"/>
                <a:gd name="connsiteX451" fmla="*/ 203321 w 444709"/>
                <a:gd name="connsiteY451" fmla="*/ 181864 h 259460"/>
                <a:gd name="connsiteX452" fmla="*/ 189571 w 444709"/>
                <a:gd name="connsiteY452" fmla="*/ 196342 h 259460"/>
                <a:gd name="connsiteX453" fmla="*/ 185752 w 444709"/>
                <a:gd name="connsiteY453" fmla="*/ 204216 h 259460"/>
                <a:gd name="connsiteX454" fmla="*/ 182441 w 444709"/>
                <a:gd name="connsiteY454" fmla="*/ 205994 h 259460"/>
                <a:gd name="connsiteX455" fmla="*/ 180150 w 444709"/>
                <a:gd name="connsiteY455" fmla="*/ 204343 h 259460"/>
                <a:gd name="connsiteX456" fmla="*/ 183205 w 444709"/>
                <a:gd name="connsiteY456" fmla="*/ 198247 h 259460"/>
                <a:gd name="connsiteX457" fmla="*/ 186897 w 444709"/>
                <a:gd name="connsiteY457" fmla="*/ 193294 h 259460"/>
                <a:gd name="connsiteX458" fmla="*/ 190590 w 444709"/>
                <a:gd name="connsiteY458" fmla="*/ 186690 h 259460"/>
                <a:gd name="connsiteX459" fmla="*/ 190972 w 444709"/>
                <a:gd name="connsiteY459" fmla="*/ 185674 h 259460"/>
                <a:gd name="connsiteX460" fmla="*/ 190972 w 444709"/>
                <a:gd name="connsiteY460" fmla="*/ 185674 h 259460"/>
                <a:gd name="connsiteX461" fmla="*/ 189826 w 444709"/>
                <a:gd name="connsiteY461" fmla="*/ 186563 h 259460"/>
                <a:gd name="connsiteX462" fmla="*/ 186643 w 444709"/>
                <a:gd name="connsiteY462" fmla="*/ 187833 h 259460"/>
                <a:gd name="connsiteX463" fmla="*/ 185115 w 444709"/>
                <a:gd name="connsiteY463" fmla="*/ 187579 h 259460"/>
                <a:gd name="connsiteX464" fmla="*/ 182951 w 444709"/>
                <a:gd name="connsiteY464" fmla="*/ 185674 h 259460"/>
                <a:gd name="connsiteX465" fmla="*/ 182696 w 444709"/>
                <a:gd name="connsiteY465" fmla="*/ 184531 h 259460"/>
                <a:gd name="connsiteX466" fmla="*/ 183333 w 444709"/>
                <a:gd name="connsiteY466" fmla="*/ 181991 h 259460"/>
                <a:gd name="connsiteX467" fmla="*/ 184097 w 444709"/>
                <a:gd name="connsiteY467" fmla="*/ 180467 h 259460"/>
                <a:gd name="connsiteX468" fmla="*/ 188298 w 444709"/>
                <a:gd name="connsiteY468" fmla="*/ 175006 h 259460"/>
                <a:gd name="connsiteX469" fmla="*/ 193772 w 444709"/>
                <a:gd name="connsiteY469" fmla="*/ 170561 h 259460"/>
                <a:gd name="connsiteX470" fmla="*/ 196446 w 444709"/>
                <a:gd name="connsiteY470" fmla="*/ 169672 h 259460"/>
                <a:gd name="connsiteX471" fmla="*/ 200647 w 444709"/>
                <a:gd name="connsiteY471" fmla="*/ 171450 h 259460"/>
                <a:gd name="connsiteX472" fmla="*/ 200902 w 444709"/>
                <a:gd name="connsiteY472" fmla="*/ 172466 h 259460"/>
                <a:gd name="connsiteX473" fmla="*/ 200138 w 444709"/>
                <a:gd name="connsiteY473" fmla="*/ 175006 h 259460"/>
                <a:gd name="connsiteX474" fmla="*/ 195555 w 444709"/>
                <a:gd name="connsiteY474" fmla="*/ 183261 h 259460"/>
                <a:gd name="connsiteX475" fmla="*/ 195046 w 444709"/>
                <a:gd name="connsiteY475" fmla="*/ 184404 h 259460"/>
                <a:gd name="connsiteX476" fmla="*/ 195046 w 444709"/>
                <a:gd name="connsiteY476" fmla="*/ 184404 h 259460"/>
                <a:gd name="connsiteX477" fmla="*/ 195682 w 444709"/>
                <a:gd name="connsiteY477" fmla="*/ 183896 h 259460"/>
                <a:gd name="connsiteX478" fmla="*/ 200775 w 444709"/>
                <a:gd name="connsiteY478" fmla="*/ 180340 h 259460"/>
                <a:gd name="connsiteX479" fmla="*/ 195300 w 444709"/>
                <a:gd name="connsiteY479" fmla="*/ 173101 h 259460"/>
                <a:gd name="connsiteX480" fmla="*/ 193518 w 444709"/>
                <a:gd name="connsiteY480" fmla="*/ 174371 h 259460"/>
                <a:gd name="connsiteX481" fmla="*/ 187025 w 444709"/>
                <a:gd name="connsiteY481" fmla="*/ 182372 h 259460"/>
                <a:gd name="connsiteX482" fmla="*/ 186388 w 444709"/>
                <a:gd name="connsiteY482" fmla="*/ 183896 h 259460"/>
                <a:gd name="connsiteX483" fmla="*/ 186516 w 444709"/>
                <a:gd name="connsiteY483" fmla="*/ 184150 h 259460"/>
                <a:gd name="connsiteX484" fmla="*/ 187916 w 444709"/>
                <a:gd name="connsiteY484" fmla="*/ 183261 h 259460"/>
                <a:gd name="connsiteX485" fmla="*/ 197210 w 444709"/>
                <a:gd name="connsiteY485" fmla="*/ 173228 h 259460"/>
                <a:gd name="connsiteX486" fmla="*/ 197337 w 444709"/>
                <a:gd name="connsiteY486" fmla="*/ 172974 h 259460"/>
                <a:gd name="connsiteX487" fmla="*/ 197337 w 444709"/>
                <a:gd name="connsiteY487" fmla="*/ 172720 h 259460"/>
                <a:gd name="connsiteX488" fmla="*/ 196701 w 444709"/>
                <a:gd name="connsiteY488" fmla="*/ 172339 h 259460"/>
                <a:gd name="connsiteX489" fmla="*/ 195300 w 444709"/>
                <a:gd name="connsiteY489" fmla="*/ 173101 h 259460"/>
                <a:gd name="connsiteX490" fmla="*/ 231967 w 444709"/>
                <a:gd name="connsiteY490" fmla="*/ 174244 h 259460"/>
                <a:gd name="connsiteX491" fmla="*/ 234258 w 444709"/>
                <a:gd name="connsiteY491" fmla="*/ 173736 h 259460"/>
                <a:gd name="connsiteX492" fmla="*/ 236295 w 444709"/>
                <a:gd name="connsiteY492" fmla="*/ 174117 h 259460"/>
                <a:gd name="connsiteX493" fmla="*/ 237441 w 444709"/>
                <a:gd name="connsiteY493" fmla="*/ 175133 h 259460"/>
                <a:gd name="connsiteX494" fmla="*/ 237696 w 444709"/>
                <a:gd name="connsiteY494" fmla="*/ 176149 h 259460"/>
                <a:gd name="connsiteX495" fmla="*/ 237059 w 444709"/>
                <a:gd name="connsiteY495" fmla="*/ 176784 h 259460"/>
                <a:gd name="connsiteX496" fmla="*/ 233749 w 444709"/>
                <a:gd name="connsiteY496" fmla="*/ 177165 h 259460"/>
                <a:gd name="connsiteX497" fmla="*/ 230439 w 444709"/>
                <a:gd name="connsiteY497" fmla="*/ 177927 h 259460"/>
                <a:gd name="connsiteX498" fmla="*/ 229802 w 444709"/>
                <a:gd name="connsiteY498" fmla="*/ 178308 h 259460"/>
                <a:gd name="connsiteX499" fmla="*/ 227893 w 444709"/>
                <a:gd name="connsiteY499" fmla="*/ 182753 h 259460"/>
                <a:gd name="connsiteX500" fmla="*/ 225856 w 444709"/>
                <a:gd name="connsiteY500" fmla="*/ 191135 h 259460"/>
                <a:gd name="connsiteX501" fmla="*/ 224583 w 444709"/>
                <a:gd name="connsiteY501" fmla="*/ 191770 h 259460"/>
                <a:gd name="connsiteX502" fmla="*/ 222673 w 444709"/>
                <a:gd name="connsiteY502" fmla="*/ 191389 h 259460"/>
                <a:gd name="connsiteX503" fmla="*/ 222036 w 444709"/>
                <a:gd name="connsiteY503" fmla="*/ 189738 h 259460"/>
                <a:gd name="connsiteX504" fmla="*/ 222291 w 444709"/>
                <a:gd name="connsiteY504" fmla="*/ 188087 h 259460"/>
                <a:gd name="connsiteX505" fmla="*/ 224710 w 444709"/>
                <a:gd name="connsiteY505" fmla="*/ 180467 h 259460"/>
                <a:gd name="connsiteX506" fmla="*/ 224964 w 444709"/>
                <a:gd name="connsiteY506" fmla="*/ 179451 h 259460"/>
                <a:gd name="connsiteX507" fmla="*/ 224837 w 444709"/>
                <a:gd name="connsiteY507" fmla="*/ 179197 h 259460"/>
                <a:gd name="connsiteX508" fmla="*/ 224201 w 444709"/>
                <a:gd name="connsiteY508" fmla="*/ 179197 h 259460"/>
                <a:gd name="connsiteX509" fmla="*/ 219745 w 444709"/>
                <a:gd name="connsiteY509" fmla="*/ 180086 h 259460"/>
                <a:gd name="connsiteX510" fmla="*/ 218853 w 444709"/>
                <a:gd name="connsiteY510" fmla="*/ 181102 h 259460"/>
                <a:gd name="connsiteX511" fmla="*/ 217326 w 444709"/>
                <a:gd name="connsiteY511" fmla="*/ 185928 h 259460"/>
                <a:gd name="connsiteX512" fmla="*/ 217071 w 444709"/>
                <a:gd name="connsiteY512" fmla="*/ 187452 h 259460"/>
                <a:gd name="connsiteX513" fmla="*/ 217071 w 444709"/>
                <a:gd name="connsiteY513" fmla="*/ 188722 h 259460"/>
                <a:gd name="connsiteX514" fmla="*/ 216816 w 444709"/>
                <a:gd name="connsiteY514" fmla="*/ 189738 h 259460"/>
                <a:gd name="connsiteX515" fmla="*/ 215798 w 444709"/>
                <a:gd name="connsiteY515" fmla="*/ 189992 h 259460"/>
                <a:gd name="connsiteX516" fmla="*/ 214397 w 444709"/>
                <a:gd name="connsiteY516" fmla="*/ 189738 h 259460"/>
                <a:gd name="connsiteX517" fmla="*/ 213379 w 444709"/>
                <a:gd name="connsiteY517" fmla="*/ 189103 h 259460"/>
                <a:gd name="connsiteX518" fmla="*/ 212997 w 444709"/>
                <a:gd name="connsiteY518" fmla="*/ 188722 h 259460"/>
                <a:gd name="connsiteX519" fmla="*/ 212742 w 444709"/>
                <a:gd name="connsiteY519" fmla="*/ 188341 h 259460"/>
                <a:gd name="connsiteX520" fmla="*/ 212997 w 444709"/>
                <a:gd name="connsiteY520" fmla="*/ 186817 h 259460"/>
                <a:gd name="connsiteX521" fmla="*/ 213252 w 444709"/>
                <a:gd name="connsiteY521" fmla="*/ 186055 h 259460"/>
                <a:gd name="connsiteX522" fmla="*/ 214270 w 444709"/>
                <a:gd name="connsiteY522" fmla="*/ 181991 h 259460"/>
                <a:gd name="connsiteX523" fmla="*/ 214143 w 444709"/>
                <a:gd name="connsiteY523" fmla="*/ 181864 h 259460"/>
                <a:gd name="connsiteX524" fmla="*/ 212615 w 444709"/>
                <a:gd name="connsiteY524" fmla="*/ 181864 h 259460"/>
                <a:gd name="connsiteX525" fmla="*/ 209814 w 444709"/>
                <a:gd name="connsiteY525" fmla="*/ 180848 h 259460"/>
                <a:gd name="connsiteX526" fmla="*/ 209559 w 444709"/>
                <a:gd name="connsiteY526" fmla="*/ 179070 h 259460"/>
                <a:gd name="connsiteX527" fmla="*/ 210578 w 444709"/>
                <a:gd name="connsiteY527" fmla="*/ 178435 h 259460"/>
                <a:gd name="connsiteX528" fmla="*/ 212360 w 444709"/>
                <a:gd name="connsiteY528" fmla="*/ 178816 h 259460"/>
                <a:gd name="connsiteX529" fmla="*/ 215416 w 444709"/>
                <a:gd name="connsiteY529" fmla="*/ 178308 h 259460"/>
                <a:gd name="connsiteX530" fmla="*/ 215798 w 444709"/>
                <a:gd name="connsiteY530" fmla="*/ 177927 h 259460"/>
                <a:gd name="connsiteX531" fmla="*/ 217708 w 444709"/>
                <a:gd name="connsiteY531" fmla="*/ 173101 h 259460"/>
                <a:gd name="connsiteX532" fmla="*/ 223564 w 444709"/>
                <a:gd name="connsiteY532" fmla="*/ 161925 h 259460"/>
                <a:gd name="connsiteX533" fmla="*/ 225219 w 444709"/>
                <a:gd name="connsiteY533" fmla="*/ 161163 h 259460"/>
                <a:gd name="connsiteX534" fmla="*/ 227002 w 444709"/>
                <a:gd name="connsiteY534" fmla="*/ 161798 h 259460"/>
                <a:gd name="connsiteX535" fmla="*/ 227638 w 444709"/>
                <a:gd name="connsiteY535" fmla="*/ 162560 h 259460"/>
                <a:gd name="connsiteX536" fmla="*/ 227383 w 444709"/>
                <a:gd name="connsiteY536" fmla="*/ 163322 h 259460"/>
                <a:gd name="connsiteX537" fmla="*/ 220890 w 444709"/>
                <a:gd name="connsiteY537" fmla="*/ 175768 h 259460"/>
                <a:gd name="connsiteX538" fmla="*/ 220508 w 444709"/>
                <a:gd name="connsiteY538" fmla="*/ 176911 h 259460"/>
                <a:gd name="connsiteX539" fmla="*/ 220636 w 444709"/>
                <a:gd name="connsiteY539" fmla="*/ 177038 h 259460"/>
                <a:gd name="connsiteX540" fmla="*/ 221272 w 444709"/>
                <a:gd name="connsiteY540" fmla="*/ 177038 h 259460"/>
                <a:gd name="connsiteX541" fmla="*/ 225601 w 444709"/>
                <a:gd name="connsiteY541" fmla="*/ 176022 h 259460"/>
                <a:gd name="connsiteX542" fmla="*/ 226492 w 444709"/>
                <a:gd name="connsiteY542" fmla="*/ 175387 h 259460"/>
                <a:gd name="connsiteX543" fmla="*/ 230184 w 444709"/>
                <a:gd name="connsiteY543" fmla="*/ 166751 h 259460"/>
                <a:gd name="connsiteX544" fmla="*/ 230566 w 444709"/>
                <a:gd name="connsiteY544" fmla="*/ 165608 h 259460"/>
                <a:gd name="connsiteX545" fmla="*/ 230948 w 444709"/>
                <a:gd name="connsiteY545" fmla="*/ 165100 h 259460"/>
                <a:gd name="connsiteX546" fmla="*/ 232221 w 444709"/>
                <a:gd name="connsiteY546" fmla="*/ 164719 h 259460"/>
                <a:gd name="connsiteX547" fmla="*/ 233622 w 444709"/>
                <a:gd name="connsiteY547" fmla="*/ 164719 h 259460"/>
                <a:gd name="connsiteX548" fmla="*/ 234640 w 444709"/>
                <a:gd name="connsiteY548" fmla="*/ 164973 h 259460"/>
                <a:gd name="connsiteX549" fmla="*/ 234895 w 444709"/>
                <a:gd name="connsiteY549" fmla="*/ 165735 h 259460"/>
                <a:gd name="connsiteX550" fmla="*/ 234386 w 444709"/>
                <a:gd name="connsiteY550" fmla="*/ 167767 h 259460"/>
                <a:gd name="connsiteX551" fmla="*/ 231457 w 444709"/>
                <a:gd name="connsiteY551" fmla="*/ 173863 h 259460"/>
                <a:gd name="connsiteX552" fmla="*/ 231203 w 444709"/>
                <a:gd name="connsiteY552" fmla="*/ 174371 h 259460"/>
                <a:gd name="connsiteX553" fmla="*/ 231457 w 444709"/>
                <a:gd name="connsiteY553" fmla="*/ 174371 h 259460"/>
                <a:gd name="connsiteX554" fmla="*/ 232094 w 444709"/>
                <a:gd name="connsiteY554" fmla="*/ 174244 h 259460"/>
                <a:gd name="connsiteX555" fmla="*/ 243680 w 444709"/>
                <a:gd name="connsiteY555" fmla="*/ 186055 h 259460"/>
                <a:gd name="connsiteX556" fmla="*/ 250809 w 444709"/>
                <a:gd name="connsiteY556" fmla="*/ 180721 h 259460"/>
                <a:gd name="connsiteX557" fmla="*/ 252082 w 444709"/>
                <a:gd name="connsiteY557" fmla="*/ 180467 h 259460"/>
                <a:gd name="connsiteX558" fmla="*/ 253101 w 444709"/>
                <a:gd name="connsiteY558" fmla="*/ 181229 h 259460"/>
                <a:gd name="connsiteX559" fmla="*/ 253101 w 444709"/>
                <a:gd name="connsiteY559" fmla="*/ 181864 h 259460"/>
                <a:gd name="connsiteX560" fmla="*/ 252846 w 444709"/>
                <a:gd name="connsiteY560" fmla="*/ 182499 h 259460"/>
                <a:gd name="connsiteX561" fmla="*/ 243680 w 444709"/>
                <a:gd name="connsiteY561" fmla="*/ 189738 h 259460"/>
                <a:gd name="connsiteX562" fmla="*/ 241897 w 444709"/>
                <a:gd name="connsiteY562" fmla="*/ 190119 h 259460"/>
                <a:gd name="connsiteX563" fmla="*/ 239988 w 444709"/>
                <a:gd name="connsiteY563" fmla="*/ 189865 h 259460"/>
                <a:gd name="connsiteX564" fmla="*/ 237569 w 444709"/>
                <a:gd name="connsiteY564" fmla="*/ 188722 h 259460"/>
                <a:gd name="connsiteX565" fmla="*/ 235659 w 444709"/>
                <a:gd name="connsiteY565" fmla="*/ 183261 h 259460"/>
                <a:gd name="connsiteX566" fmla="*/ 236041 w 444709"/>
                <a:gd name="connsiteY566" fmla="*/ 181356 h 259460"/>
                <a:gd name="connsiteX567" fmla="*/ 243552 w 444709"/>
                <a:gd name="connsiteY567" fmla="*/ 170180 h 259460"/>
                <a:gd name="connsiteX568" fmla="*/ 248263 w 444709"/>
                <a:gd name="connsiteY568" fmla="*/ 168275 h 259460"/>
                <a:gd name="connsiteX569" fmla="*/ 250937 w 444709"/>
                <a:gd name="connsiteY569" fmla="*/ 168783 h 259460"/>
                <a:gd name="connsiteX570" fmla="*/ 251955 w 444709"/>
                <a:gd name="connsiteY570" fmla="*/ 170815 h 259460"/>
                <a:gd name="connsiteX571" fmla="*/ 250809 w 444709"/>
                <a:gd name="connsiteY571" fmla="*/ 174244 h 259460"/>
                <a:gd name="connsiteX572" fmla="*/ 249409 w 444709"/>
                <a:gd name="connsiteY572" fmla="*/ 176149 h 259460"/>
                <a:gd name="connsiteX573" fmla="*/ 239988 w 444709"/>
                <a:gd name="connsiteY573" fmla="*/ 184785 h 259460"/>
                <a:gd name="connsiteX574" fmla="*/ 239351 w 444709"/>
                <a:gd name="connsiteY574" fmla="*/ 185547 h 259460"/>
                <a:gd name="connsiteX575" fmla="*/ 240115 w 444709"/>
                <a:gd name="connsiteY575" fmla="*/ 187071 h 259460"/>
                <a:gd name="connsiteX576" fmla="*/ 241006 w 444709"/>
                <a:gd name="connsiteY576" fmla="*/ 187452 h 259460"/>
                <a:gd name="connsiteX577" fmla="*/ 243680 w 444709"/>
                <a:gd name="connsiteY577" fmla="*/ 186309 h 259460"/>
                <a:gd name="connsiteX578" fmla="*/ 240115 w 444709"/>
                <a:gd name="connsiteY578" fmla="*/ 180340 h 259460"/>
                <a:gd name="connsiteX579" fmla="*/ 240115 w 444709"/>
                <a:gd name="connsiteY579" fmla="*/ 180340 h 259460"/>
                <a:gd name="connsiteX580" fmla="*/ 241388 w 444709"/>
                <a:gd name="connsiteY580" fmla="*/ 179324 h 259460"/>
                <a:gd name="connsiteX581" fmla="*/ 245844 w 444709"/>
                <a:gd name="connsiteY581" fmla="*/ 174625 h 259460"/>
                <a:gd name="connsiteX582" fmla="*/ 246863 w 444709"/>
                <a:gd name="connsiteY582" fmla="*/ 172974 h 259460"/>
                <a:gd name="connsiteX583" fmla="*/ 247754 w 444709"/>
                <a:gd name="connsiteY583" fmla="*/ 171196 h 259460"/>
                <a:gd name="connsiteX584" fmla="*/ 247499 w 444709"/>
                <a:gd name="connsiteY584" fmla="*/ 170942 h 259460"/>
                <a:gd name="connsiteX585" fmla="*/ 246608 w 444709"/>
                <a:gd name="connsiteY585" fmla="*/ 171450 h 259460"/>
                <a:gd name="connsiteX586" fmla="*/ 240751 w 444709"/>
                <a:gd name="connsiteY586" fmla="*/ 178435 h 259460"/>
                <a:gd name="connsiteX587" fmla="*/ 239860 w 444709"/>
                <a:gd name="connsiteY587" fmla="*/ 180213 h 259460"/>
                <a:gd name="connsiteX588" fmla="*/ 258830 w 444709"/>
                <a:gd name="connsiteY588" fmla="*/ 186182 h 259460"/>
                <a:gd name="connsiteX589" fmla="*/ 254501 w 444709"/>
                <a:gd name="connsiteY589" fmla="*/ 189103 h 259460"/>
                <a:gd name="connsiteX590" fmla="*/ 252974 w 444709"/>
                <a:gd name="connsiteY590" fmla="*/ 189484 h 259460"/>
                <a:gd name="connsiteX591" fmla="*/ 251828 w 444709"/>
                <a:gd name="connsiteY591" fmla="*/ 189103 h 259460"/>
                <a:gd name="connsiteX592" fmla="*/ 250045 w 444709"/>
                <a:gd name="connsiteY592" fmla="*/ 187579 h 259460"/>
                <a:gd name="connsiteX593" fmla="*/ 249282 w 444709"/>
                <a:gd name="connsiteY593" fmla="*/ 185674 h 259460"/>
                <a:gd name="connsiteX594" fmla="*/ 252082 w 444709"/>
                <a:gd name="connsiteY594" fmla="*/ 178943 h 259460"/>
                <a:gd name="connsiteX595" fmla="*/ 258194 w 444709"/>
                <a:gd name="connsiteY595" fmla="*/ 172720 h 259460"/>
                <a:gd name="connsiteX596" fmla="*/ 265960 w 444709"/>
                <a:gd name="connsiteY596" fmla="*/ 169291 h 259460"/>
                <a:gd name="connsiteX597" fmla="*/ 268633 w 444709"/>
                <a:gd name="connsiteY597" fmla="*/ 170434 h 259460"/>
                <a:gd name="connsiteX598" fmla="*/ 269015 w 444709"/>
                <a:gd name="connsiteY598" fmla="*/ 171323 h 259460"/>
                <a:gd name="connsiteX599" fmla="*/ 269779 w 444709"/>
                <a:gd name="connsiteY599" fmla="*/ 172085 h 259460"/>
                <a:gd name="connsiteX600" fmla="*/ 271052 w 444709"/>
                <a:gd name="connsiteY600" fmla="*/ 172974 h 259460"/>
                <a:gd name="connsiteX601" fmla="*/ 270925 w 444709"/>
                <a:gd name="connsiteY601" fmla="*/ 173355 h 259460"/>
                <a:gd name="connsiteX602" fmla="*/ 265705 w 444709"/>
                <a:gd name="connsiteY602" fmla="*/ 182118 h 259460"/>
                <a:gd name="connsiteX603" fmla="*/ 264814 w 444709"/>
                <a:gd name="connsiteY603" fmla="*/ 186309 h 259460"/>
                <a:gd name="connsiteX604" fmla="*/ 265323 w 444709"/>
                <a:gd name="connsiteY604" fmla="*/ 188595 h 259460"/>
                <a:gd name="connsiteX605" fmla="*/ 265578 w 444709"/>
                <a:gd name="connsiteY605" fmla="*/ 189103 h 259460"/>
                <a:gd name="connsiteX606" fmla="*/ 264687 w 444709"/>
                <a:gd name="connsiteY606" fmla="*/ 189738 h 259460"/>
                <a:gd name="connsiteX607" fmla="*/ 263541 w 444709"/>
                <a:gd name="connsiteY607" fmla="*/ 189865 h 259460"/>
                <a:gd name="connsiteX608" fmla="*/ 261504 w 444709"/>
                <a:gd name="connsiteY608" fmla="*/ 188976 h 259460"/>
                <a:gd name="connsiteX609" fmla="*/ 261122 w 444709"/>
                <a:gd name="connsiteY609" fmla="*/ 186309 h 259460"/>
                <a:gd name="connsiteX610" fmla="*/ 261376 w 444709"/>
                <a:gd name="connsiteY610" fmla="*/ 183896 h 259460"/>
                <a:gd name="connsiteX611" fmla="*/ 261376 w 444709"/>
                <a:gd name="connsiteY611" fmla="*/ 183896 h 259460"/>
                <a:gd name="connsiteX612" fmla="*/ 258957 w 444709"/>
                <a:gd name="connsiteY612" fmla="*/ 185928 h 259460"/>
                <a:gd name="connsiteX613" fmla="*/ 264814 w 444709"/>
                <a:gd name="connsiteY613" fmla="*/ 172720 h 259460"/>
                <a:gd name="connsiteX614" fmla="*/ 256029 w 444709"/>
                <a:gd name="connsiteY614" fmla="*/ 179705 h 259460"/>
                <a:gd name="connsiteX615" fmla="*/ 252719 w 444709"/>
                <a:gd name="connsiteY615" fmla="*/ 185547 h 259460"/>
                <a:gd name="connsiteX616" fmla="*/ 252974 w 444709"/>
                <a:gd name="connsiteY616" fmla="*/ 186436 h 259460"/>
                <a:gd name="connsiteX617" fmla="*/ 253610 w 444709"/>
                <a:gd name="connsiteY617" fmla="*/ 186182 h 259460"/>
                <a:gd name="connsiteX618" fmla="*/ 254883 w 444709"/>
                <a:gd name="connsiteY618" fmla="*/ 185166 h 259460"/>
                <a:gd name="connsiteX619" fmla="*/ 265196 w 444709"/>
                <a:gd name="connsiteY619" fmla="*/ 175006 h 259460"/>
                <a:gd name="connsiteX620" fmla="*/ 266469 w 444709"/>
                <a:gd name="connsiteY620" fmla="*/ 173482 h 259460"/>
                <a:gd name="connsiteX621" fmla="*/ 266724 w 444709"/>
                <a:gd name="connsiteY621" fmla="*/ 172847 h 259460"/>
                <a:gd name="connsiteX622" fmla="*/ 266342 w 444709"/>
                <a:gd name="connsiteY622" fmla="*/ 172085 h 259460"/>
                <a:gd name="connsiteX623" fmla="*/ 264941 w 444709"/>
                <a:gd name="connsiteY623" fmla="*/ 172720 h 259460"/>
                <a:gd name="connsiteX624" fmla="*/ 272962 w 444709"/>
                <a:gd name="connsiteY624" fmla="*/ 187452 h 259460"/>
                <a:gd name="connsiteX625" fmla="*/ 273599 w 444709"/>
                <a:gd name="connsiteY625" fmla="*/ 187071 h 259460"/>
                <a:gd name="connsiteX626" fmla="*/ 276145 w 444709"/>
                <a:gd name="connsiteY626" fmla="*/ 184658 h 259460"/>
                <a:gd name="connsiteX627" fmla="*/ 279455 w 444709"/>
                <a:gd name="connsiteY627" fmla="*/ 182753 h 259460"/>
                <a:gd name="connsiteX628" fmla="*/ 280601 w 444709"/>
                <a:gd name="connsiteY628" fmla="*/ 183007 h 259460"/>
                <a:gd name="connsiteX629" fmla="*/ 281110 w 444709"/>
                <a:gd name="connsiteY629" fmla="*/ 183769 h 259460"/>
                <a:gd name="connsiteX630" fmla="*/ 280219 w 444709"/>
                <a:gd name="connsiteY630" fmla="*/ 184912 h 259460"/>
                <a:gd name="connsiteX631" fmla="*/ 277036 w 444709"/>
                <a:gd name="connsiteY631" fmla="*/ 188468 h 259460"/>
                <a:gd name="connsiteX632" fmla="*/ 272707 w 444709"/>
                <a:gd name="connsiteY632" fmla="*/ 190373 h 259460"/>
                <a:gd name="connsiteX633" fmla="*/ 270543 w 444709"/>
                <a:gd name="connsiteY633" fmla="*/ 189611 h 259460"/>
                <a:gd name="connsiteX634" fmla="*/ 269143 w 444709"/>
                <a:gd name="connsiteY634" fmla="*/ 188214 h 259460"/>
                <a:gd name="connsiteX635" fmla="*/ 268761 w 444709"/>
                <a:gd name="connsiteY635" fmla="*/ 186436 h 259460"/>
                <a:gd name="connsiteX636" fmla="*/ 269143 w 444709"/>
                <a:gd name="connsiteY636" fmla="*/ 184023 h 259460"/>
                <a:gd name="connsiteX637" fmla="*/ 270925 w 444709"/>
                <a:gd name="connsiteY637" fmla="*/ 179705 h 259460"/>
                <a:gd name="connsiteX638" fmla="*/ 280346 w 444709"/>
                <a:gd name="connsiteY638" fmla="*/ 162941 h 259460"/>
                <a:gd name="connsiteX639" fmla="*/ 281365 w 444709"/>
                <a:gd name="connsiteY639" fmla="*/ 160782 h 259460"/>
                <a:gd name="connsiteX640" fmla="*/ 283274 w 444709"/>
                <a:gd name="connsiteY640" fmla="*/ 159512 h 259460"/>
                <a:gd name="connsiteX641" fmla="*/ 284675 w 444709"/>
                <a:gd name="connsiteY641" fmla="*/ 159512 h 259460"/>
                <a:gd name="connsiteX642" fmla="*/ 286075 w 444709"/>
                <a:gd name="connsiteY642" fmla="*/ 160020 h 259460"/>
                <a:gd name="connsiteX643" fmla="*/ 286330 w 444709"/>
                <a:gd name="connsiteY643" fmla="*/ 161036 h 259460"/>
                <a:gd name="connsiteX644" fmla="*/ 285439 w 444709"/>
                <a:gd name="connsiteY644" fmla="*/ 163322 h 259460"/>
                <a:gd name="connsiteX645" fmla="*/ 274490 w 444709"/>
                <a:gd name="connsiteY645" fmla="*/ 180721 h 259460"/>
                <a:gd name="connsiteX646" fmla="*/ 273217 w 444709"/>
                <a:gd name="connsiteY646" fmla="*/ 183769 h 259460"/>
                <a:gd name="connsiteX647" fmla="*/ 272580 w 444709"/>
                <a:gd name="connsiteY647" fmla="*/ 186690 h 259460"/>
                <a:gd name="connsiteX648" fmla="*/ 273089 w 444709"/>
                <a:gd name="connsiteY648" fmla="*/ 187833 h 259460"/>
                <a:gd name="connsiteX649" fmla="*/ 288494 w 444709"/>
                <a:gd name="connsiteY649" fmla="*/ 174498 h 259460"/>
                <a:gd name="connsiteX650" fmla="*/ 289895 w 444709"/>
                <a:gd name="connsiteY650" fmla="*/ 174117 h 259460"/>
                <a:gd name="connsiteX651" fmla="*/ 293969 w 444709"/>
                <a:gd name="connsiteY651" fmla="*/ 172339 h 259460"/>
                <a:gd name="connsiteX652" fmla="*/ 294860 w 444709"/>
                <a:gd name="connsiteY652" fmla="*/ 172085 h 259460"/>
                <a:gd name="connsiteX653" fmla="*/ 297024 w 444709"/>
                <a:gd name="connsiteY653" fmla="*/ 173228 h 259460"/>
                <a:gd name="connsiteX654" fmla="*/ 295624 w 444709"/>
                <a:gd name="connsiteY654" fmla="*/ 174752 h 259460"/>
                <a:gd name="connsiteX655" fmla="*/ 293842 w 444709"/>
                <a:gd name="connsiteY655" fmla="*/ 175641 h 259460"/>
                <a:gd name="connsiteX656" fmla="*/ 287730 w 444709"/>
                <a:gd name="connsiteY656" fmla="*/ 177419 h 259460"/>
                <a:gd name="connsiteX657" fmla="*/ 286967 w 444709"/>
                <a:gd name="connsiteY657" fmla="*/ 178054 h 259460"/>
                <a:gd name="connsiteX658" fmla="*/ 286075 w 444709"/>
                <a:gd name="connsiteY658" fmla="*/ 180086 h 259460"/>
                <a:gd name="connsiteX659" fmla="*/ 285566 w 444709"/>
                <a:gd name="connsiteY659" fmla="*/ 181356 h 259460"/>
                <a:gd name="connsiteX660" fmla="*/ 283274 w 444709"/>
                <a:gd name="connsiteY660" fmla="*/ 188341 h 259460"/>
                <a:gd name="connsiteX661" fmla="*/ 282256 w 444709"/>
                <a:gd name="connsiteY661" fmla="*/ 189992 h 259460"/>
                <a:gd name="connsiteX662" fmla="*/ 281237 w 444709"/>
                <a:gd name="connsiteY662" fmla="*/ 189992 h 259460"/>
                <a:gd name="connsiteX663" fmla="*/ 279455 w 444709"/>
                <a:gd name="connsiteY663" fmla="*/ 189484 h 259460"/>
                <a:gd name="connsiteX664" fmla="*/ 279073 w 444709"/>
                <a:gd name="connsiteY664" fmla="*/ 188468 h 259460"/>
                <a:gd name="connsiteX665" fmla="*/ 279328 w 444709"/>
                <a:gd name="connsiteY665" fmla="*/ 187198 h 259460"/>
                <a:gd name="connsiteX666" fmla="*/ 282893 w 444709"/>
                <a:gd name="connsiteY666" fmla="*/ 177673 h 259460"/>
                <a:gd name="connsiteX667" fmla="*/ 283147 w 444709"/>
                <a:gd name="connsiteY667" fmla="*/ 176911 h 259460"/>
                <a:gd name="connsiteX668" fmla="*/ 282893 w 444709"/>
                <a:gd name="connsiteY668" fmla="*/ 176657 h 259460"/>
                <a:gd name="connsiteX669" fmla="*/ 280855 w 444709"/>
                <a:gd name="connsiteY669" fmla="*/ 174244 h 259460"/>
                <a:gd name="connsiteX670" fmla="*/ 280601 w 444709"/>
                <a:gd name="connsiteY670" fmla="*/ 173609 h 259460"/>
                <a:gd name="connsiteX671" fmla="*/ 280983 w 444709"/>
                <a:gd name="connsiteY671" fmla="*/ 173101 h 259460"/>
                <a:gd name="connsiteX672" fmla="*/ 282383 w 444709"/>
                <a:gd name="connsiteY672" fmla="*/ 172720 h 259460"/>
                <a:gd name="connsiteX673" fmla="*/ 283402 w 444709"/>
                <a:gd name="connsiteY673" fmla="*/ 172720 h 259460"/>
                <a:gd name="connsiteX674" fmla="*/ 284802 w 444709"/>
                <a:gd name="connsiteY674" fmla="*/ 173228 h 259460"/>
                <a:gd name="connsiteX675" fmla="*/ 285184 w 444709"/>
                <a:gd name="connsiteY675" fmla="*/ 172720 h 259460"/>
                <a:gd name="connsiteX676" fmla="*/ 285948 w 444709"/>
                <a:gd name="connsiteY676" fmla="*/ 170815 h 259460"/>
                <a:gd name="connsiteX677" fmla="*/ 289895 w 444709"/>
                <a:gd name="connsiteY677" fmla="*/ 162052 h 259460"/>
                <a:gd name="connsiteX678" fmla="*/ 290659 w 444709"/>
                <a:gd name="connsiteY678" fmla="*/ 161417 h 259460"/>
                <a:gd name="connsiteX679" fmla="*/ 291932 w 444709"/>
                <a:gd name="connsiteY679" fmla="*/ 161163 h 259460"/>
                <a:gd name="connsiteX680" fmla="*/ 294223 w 444709"/>
                <a:gd name="connsiteY680" fmla="*/ 161925 h 259460"/>
                <a:gd name="connsiteX681" fmla="*/ 293587 w 444709"/>
                <a:gd name="connsiteY681" fmla="*/ 163957 h 259460"/>
                <a:gd name="connsiteX682" fmla="*/ 289768 w 444709"/>
                <a:gd name="connsiteY682" fmla="*/ 171196 h 259460"/>
                <a:gd name="connsiteX683" fmla="*/ 288749 w 444709"/>
                <a:gd name="connsiteY683" fmla="*/ 173609 h 259460"/>
                <a:gd name="connsiteX684" fmla="*/ 289004 w 444709"/>
                <a:gd name="connsiteY684" fmla="*/ 173609 h 259460"/>
                <a:gd name="connsiteX685" fmla="*/ 305936 w 444709"/>
                <a:gd name="connsiteY685" fmla="*/ 170307 h 259460"/>
                <a:gd name="connsiteX686" fmla="*/ 307719 w 444709"/>
                <a:gd name="connsiteY686" fmla="*/ 170561 h 259460"/>
                <a:gd name="connsiteX687" fmla="*/ 308355 w 444709"/>
                <a:gd name="connsiteY687" fmla="*/ 171450 h 259460"/>
                <a:gd name="connsiteX688" fmla="*/ 306955 w 444709"/>
                <a:gd name="connsiteY688" fmla="*/ 174752 h 259460"/>
                <a:gd name="connsiteX689" fmla="*/ 305682 w 444709"/>
                <a:gd name="connsiteY689" fmla="*/ 177292 h 259460"/>
                <a:gd name="connsiteX690" fmla="*/ 303136 w 444709"/>
                <a:gd name="connsiteY690" fmla="*/ 184658 h 259460"/>
                <a:gd name="connsiteX691" fmla="*/ 302881 w 444709"/>
                <a:gd name="connsiteY691" fmla="*/ 187198 h 259460"/>
                <a:gd name="connsiteX692" fmla="*/ 303645 w 444709"/>
                <a:gd name="connsiteY692" fmla="*/ 188976 h 259460"/>
                <a:gd name="connsiteX693" fmla="*/ 304663 w 444709"/>
                <a:gd name="connsiteY693" fmla="*/ 189230 h 259460"/>
                <a:gd name="connsiteX694" fmla="*/ 304918 w 444709"/>
                <a:gd name="connsiteY694" fmla="*/ 189484 h 259460"/>
                <a:gd name="connsiteX695" fmla="*/ 304663 w 444709"/>
                <a:gd name="connsiteY695" fmla="*/ 190119 h 259460"/>
                <a:gd name="connsiteX696" fmla="*/ 303263 w 444709"/>
                <a:gd name="connsiteY696" fmla="*/ 190881 h 259460"/>
                <a:gd name="connsiteX697" fmla="*/ 302117 w 444709"/>
                <a:gd name="connsiteY697" fmla="*/ 190881 h 259460"/>
                <a:gd name="connsiteX698" fmla="*/ 300717 w 444709"/>
                <a:gd name="connsiteY698" fmla="*/ 190627 h 259460"/>
                <a:gd name="connsiteX699" fmla="*/ 298807 w 444709"/>
                <a:gd name="connsiteY699" fmla="*/ 187325 h 259460"/>
                <a:gd name="connsiteX700" fmla="*/ 299698 w 444709"/>
                <a:gd name="connsiteY700" fmla="*/ 183007 h 259460"/>
                <a:gd name="connsiteX701" fmla="*/ 301098 w 444709"/>
                <a:gd name="connsiteY701" fmla="*/ 179197 h 259460"/>
                <a:gd name="connsiteX702" fmla="*/ 301353 w 444709"/>
                <a:gd name="connsiteY702" fmla="*/ 178689 h 259460"/>
                <a:gd name="connsiteX703" fmla="*/ 301353 w 444709"/>
                <a:gd name="connsiteY703" fmla="*/ 178689 h 259460"/>
                <a:gd name="connsiteX704" fmla="*/ 299316 w 444709"/>
                <a:gd name="connsiteY704" fmla="*/ 181356 h 259460"/>
                <a:gd name="connsiteX705" fmla="*/ 293714 w 444709"/>
                <a:gd name="connsiteY705" fmla="*/ 188722 h 259460"/>
                <a:gd name="connsiteX706" fmla="*/ 292696 w 444709"/>
                <a:gd name="connsiteY706" fmla="*/ 189484 h 259460"/>
                <a:gd name="connsiteX707" fmla="*/ 291041 w 444709"/>
                <a:gd name="connsiteY707" fmla="*/ 189738 h 259460"/>
                <a:gd name="connsiteX708" fmla="*/ 290404 w 444709"/>
                <a:gd name="connsiteY708" fmla="*/ 189738 h 259460"/>
                <a:gd name="connsiteX709" fmla="*/ 288876 w 444709"/>
                <a:gd name="connsiteY709" fmla="*/ 188595 h 259460"/>
                <a:gd name="connsiteX710" fmla="*/ 288876 w 444709"/>
                <a:gd name="connsiteY710" fmla="*/ 188214 h 259460"/>
                <a:gd name="connsiteX711" fmla="*/ 289513 w 444709"/>
                <a:gd name="connsiteY711" fmla="*/ 186563 h 259460"/>
                <a:gd name="connsiteX712" fmla="*/ 297788 w 444709"/>
                <a:gd name="connsiteY712" fmla="*/ 169037 h 259460"/>
                <a:gd name="connsiteX713" fmla="*/ 298934 w 444709"/>
                <a:gd name="connsiteY713" fmla="*/ 167005 h 259460"/>
                <a:gd name="connsiteX714" fmla="*/ 304536 w 444709"/>
                <a:gd name="connsiteY714" fmla="*/ 157353 h 259460"/>
                <a:gd name="connsiteX715" fmla="*/ 306064 w 444709"/>
                <a:gd name="connsiteY715" fmla="*/ 156591 h 259460"/>
                <a:gd name="connsiteX716" fmla="*/ 307973 w 444709"/>
                <a:gd name="connsiteY716" fmla="*/ 156972 h 259460"/>
                <a:gd name="connsiteX717" fmla="*/ 308737 w 444709"/>
                <a:gd name="connsiteY717" fmla="*/ 158115 h 259460"/>
                <a:gd name="connsiteX718" fmla="*/ 306700 w 444709"/>
                <a:gd name="connsiteY718" fmla="*/ 161544 h 259460"/>
                <a:gd name="connsiteX719" fmla="*/ 305809 w 444709"/>
                <a:gd name="connsiteY719" fmla="*/ 162687 h 259460"/>
                <a:gd name="connsiteX720" fmla="*/ 297406 w 444709"/>
                <a:gd name="connsiteY720" fmla="*/ 177419 h 259460"/>
                <a:gd name="connsiteX721" fmla="*/ 295624 w 444709"/>
                <a:gd name="connsiteY721" fmla="*/ 180975 h 259460"/>
                <a:gd name="connsiteX722" fmla="*/ 295624 w 444709"/>
                <a:gd name="connsiteY722" fmla="*/ 180975 h 259460"/>
                <a:gd name="connsiteX723" fmla="*/ 296006 w 444709"/>
                <a:gd name="connsiteY723" fmla="*/ 180467 h 259460"/>
                <a:gd name="connsiteX724" fmla="*/ 303517 w 444709"/>
                <a:gd name="connsiteY724" fmla="*/ 171704 h 259460"/>
                <a:gd name="connsiteX725" fmla="*/ 305936 w 444709"/>
                <a:gd name="connsiteY725" fmla="*/ 170561 h 259460"/>
                <a:gd name="connsiteX726" fmla="*/ 315867 w 444709"/>
                <a:gd name="connsiteY726" fmla="*/ 184404 h 259460"/>
                <a:gd name="connsiteX727" fmla="*/ 318541 w 444709"/>
                <a:gd name="connsiteY727" fmla="*/ 182499 h 259460"/>
                <a:gd name="connsiteX728" fmla="*/ 321214 w 444709"/>
                <a:gd name="connsiteY728" fmla="*/ 181483 h 259460"/>
                <a:gd name="connsiteX729" fmla="*/ 322487 w 444709"/>
                <a:gd name="connsiteY729" fmla="*/ 181991 h 259460"/>
                <a:gd name="connsiteX730" fmla="*/ 322869 w 444709"/>
                <a:gd name="connsiteY730" fmla="*/ 182626 h 259460"/>
                <a:gd name="connsiteX731" fmla="*/ 322742 w 444709"/>
                <a:gd name="connsiteY731" fmla="*/ 183007 h 259460"/>
                <a:gd name="connsiteX732" fmla="*/ 322360 w 444709"/>
                <a:gd name="connsiteY732" fmla="*/ 183515 h 259460"/>
                <a:gd name="connsiteX733" fmla="*/ 318159 w 444709"/>
                <a:gd name="connsiteY733" fmla="*/ 186436 h 259460"/>
                <a:gd name="connsiteX734" fmla="*/ 311538 w 444709"/>
                <a:gd name="connsiteY734" fmla="*/ 189738 h 259460"/>
                <a:gd name="connsiteX735" fmla="*/ 307337 w 444709"/>
                <a:gd name="connsiteY735" fmla="*/ 187706 h 259460"/>
                <a:gd name="connsiteX736" fmla="*/ 306955 w 444709"/>
                <a:gd name="connsiteY736" fmla="*/ 186055 h 259460"/>
                <a:gd name="connsiteX737" fmla="*/ 307846 w 444709"/>
                <a:gd name="connsiteY737" fmla="*/ 182499 h 259460"/>
                <a:gd name="connsiteX738" fmla="*/ 308865 w 444709"/>
                <a:gd name="connsiteY738" fmla="*/ 180213 h 259460"/>
                <a:gd name="connsiteX739" fmla="*/ 317522 w 444709"/>
                <a:gd name="connsiteY739" fmla="*/ 169926 h 259460"/>
                <a:gd name="connsiteX740" fmla="*/ 318541 w 444709"/>
                <a:gd name="connsiteY740" fmla="*/ 169672 h 259460"/>
                <a:gd name="connsiteX741" fmla="*/ 322869 w 444709"/>
                <a:gd name="connsiteY741" fmla="*/ 171450 h 259460"/>
                <a:gd name="connsiteX742" fmla="*/ 322997 w 444709"/>
                <a:gd name="connsiteY742" fmla="*/ 171831 h 259460"/>
                <a:gd name="connsiteX743" fmla="*/ 322997 w 444709"/>
                <a:gd name="connsiteY743" fmla="*/ 172339 h 259460"/>
                <a:gd name="connsiteX744" fmla="*/ 322997 w 444709"/>
                <a:gd name="connsiteY744" fmla="*/ 172720 h 259460"/>
                <a:gd name="connsiteX745" fmla="*/ 322997 w 444709"/>
                <a:gd name="connsiteY745" fmla="*/ 173101 h 259460"/>
                <a:gd name="connsiteX746" fmla="*/ 321469 w 444709"/>
                <a:gd name="connsiteY746" fmla="*/ 176530 h 259460"/>
                <a:gd name="connsiteX747" fmla="*/ 321214 w 444709"/>
                <a:gd name="connsiteY747" fmla="*/ 177292 h 259460"/>
                <a:gd name="connsiteX748" fmla="*/ 320196 w 444709"/>
                <a:gd name="connsiteY748" fmla="*/ 177546 h 259460"/>
                <a:gd name="connsiteX749" fmla="*/ 319050 w 444709"/>
                <a:gd name="connsiteY749" fmla="*/ 177292 h 259460"/>
                <a:gd name="connsiteX750" fmla="*/ 318031 w 444709"/>
                <a:gd name="connsiteY750" fmla="*/ 176530 h 259460"/>
                <a:gd name="connsiteX751" fmla="*/ 317649 w 444709"/>
                <a:gd name="connsiteY751" fmla="*/ 175641 h 259460"/>
                <a:gd name="connsiteX752" fmla="*/ 318795 w 444709"/>
                <a:gd name="connsiteY752" fmla="*/ 173228 h 259460"/>
                <a:gd name="connsiteX753" fmla="*/ 318668 w 444709"/>
                <a:gd name="connsiteY753" fmla="*/ 173228 h 259460"/>
                <a:gd name="connsiteX754" fmla="*/ 318031 w 444709"/>
                <a:gd name="connsiteY754" fmla="*/ 173736 h 259460"/>
                <a:gd name="connsiteX755" fmla="*/ 313321 w 444709"/>
                <a:gd name="connsiteY755" fmla="*/ 179959 h 259460"/>
                <a:gd name="connsiteX756" fmla="*/ 310520 w 444709"/>
                <a:gd name="connsiteY756" fmla="*/ 186436 h 259460"/>
                <a:gd name="connsiteX757" fmla="*/ 311029 w 444709"/>
                <a:gd name="connsiteY757" fmla="*/ 187071 h 259460"/>
                <a:gd name="connsiteX758" fmla="*/ 315994 w 444709"/>
                <a:gd name="connsiteY758" fmla="*/ 184531 h 259460"/>
                <a:gd name="connsiteX759" fmla="*/ 330126 w 444709"/>
                <a:gd name="connsiteY759" fmla="*/ 186182 h 259460"/>
                <a:gd name="connsiteX760" fmla="*/ 325797 w 444709"/>
                <a:gd name="connsiteY760" fmla="*/ 189103 h 259460"/>
                <a:gd name="connsiteX761" fmla="*/ 324270 w 444709"/>
                <a:gd name="connsiteY761" fmla="*/ 189484 h 259460"/>
                <a:gd name="connsiteX762" fmla="*/ 323124 w 444709"/>
                <a:gd name="connsiteY762" fmla="*/ 189103 h 259460"/>
                <a:gd name="connsiteX763" fmla="*/ 321341 w 444709"/>
                <a:gd name="connsiteY763" fmla="*/ 187579 h 259460"/>
                <a:gd name="connsiteX764" fmla="*/ 320578 w 444709"/>
                <a:gd name="connsiteY764" fmla="*/ 185674 h 259460"/>
                <a:gd name="connsiteX765" fmla="*/ 323378 w 444709"/>
                <a:gd name="connsiteY765" fmla="*/ 178943 h 259460"/>
                <a:gd name="connsiteX766" fmla="*/ 329490 w 444709"/>
                <a:gd name="connsiteY766" fmla="*/ 172720 h 259460"/>
                <a:gd name="connsiteX767" fmla="*/ 337256 w 444709"/>
                <a:gd name="connsiteY767" fmla="*/ 169291 h 259460"/>
                <a:gd name="connsiteX768" fmla="*/ 339929 w 444709"/>
                <a:gd name="connsiteY768" fmla="*/ 170434 h 259460"/>
                <a:gd name="connsiteX769" fmla="*/ 340311 w 444709"/>
                <a:gd name="connsiteY769" fmla="*/ 171323 h 259460"/>
                <a:gd name="connsiteX770" fmla="*/ 341075 w 444709"/>
                <a:gd name="connsiteY770" fmla="*/ 172085 h 259460"/>
                <a:gd name="connsiteX771" fmla="*/ 342348 w 444709"/>
                <a:gd name="connsiteY771" fmla="*/ 172974 h 259460"/>
                <a:gd name="connsiteX772" fmla="*/ 342221 w 444709"/>
                <a:gd name="connsiteY772" fmla="*/ 173355 h 259460"/>
                <a:gd name="connsiteX773" fmla="*/ 337001 w 444709"/>
                <a:gd name="connsiteY773" fmla="*/ 182118 h 259460"/>
                <a:gd name="connsiteX774" fmla="*/ 336110 w 444709"/>
                <a:gd name="connsiteY774" fmla="*/ 186309 h 259460"/>
                <a:gd name="connsiteX775" fmla="*/ 336619 w 444709"/>
                <a:gd name="connsiteY775" fmla="*/ 188595 h 259460"/>
                <a:gd name="connsiteX776" fmla="*/ 336874 w 444709"/>
                <a:gd name="connsiteY776" fmla="*/ 189103 h 259460"/>
                <a:gd name="connsiteX777" fmla="*/ 335983 w 444709"/>
                <a:gd name="connsiteY777" fmla="*/ 189738 h 259460"/>
                <a:gd name="connsiteX778" fmla="*/ 334837 w 444709"/>
                <a:gd name="connsiteY778" fmla="*/ 189865 h 259460"/>
                <a:gd name="connsiteX779" fmla="*/ 332800 w 444709"/>
                <a:gd name="connsiteY779" fmla="*/ 188976 h 259460"/>
                <a:gd name="connsiteX780" fmla="*/ 332418 w 444709"/>
                <a:gd name="connsiteY780" fmla="*/ 186309 h 259460"/>
                <a:gd name="connsiteX781" fmla="*/ 332672 w 444709"/>
                <a:gd name="connsiteY781" fmla="*/ 183896 h 259460"/>
                <a:gd name="connsiteX782" fmla="*/ 332672 w 444709"/>
                <a:gd name="connsiteY782" fmla="*/ 183896 h 259460"/>
                <a:gd name="connsiteX783" fmla="*/ 330253 w 444709"/>
                <a:gd name="connsiteY783" fmla="*/ 185928 h 259460"/>
                <a:gd name="connsiteX784" fmla="*/ 336110 w 444709"/>
                <a:gd name="connsiteY784" fmla="*/ 172720 h 259460"/>
                <a:gd name="connsiteX785" fmla="*/ 327325 w 444709"/>
                <a:gd name="connsiteY785" fmla="*/ 179705 h 259460"/>
                <a:gd name="connsiteX786" fmla="*/ 324015 w 444709"/>
                <a:gd name="connsiteY786" fmla="*/ 185547 h 259460"/>
                <a:gd name="connsiteX787" fmla="*/ 324270 w 444709"/>
                <a:gd name="connsiteY787" fmla="*/ 186436 h 259460"/>
                <a:gd name="connsiteX788" fmla="*/ 324906 w 444709"/>
                <a:gd name="connsiteY788" fmla="*/ 186182 h 259460"/>
                <a:gd name="connsiteX789" fmla="*/ 326179 w 444709"/>
                <a:gd name="connsiteY789" fmla="*/ 185166 h 259460"/>
                <a:gd name="connsiteX790" fmla="*/ 336492 w 444709"/>
                <a:gd name="connsiteY790" fmla="*/ 175006 h 259460"/>
                <a:gd name="connsiteX791" fmla="*/ 337765 w 444709"/>
                <a:gd name="connsiteY791" fmla="*/ 173482 h 259460"/>
                <a:gd name="connsiteX792" fmla="*/ 338020 w 444709"/>
                <a:gd name="connsiteY792" fmla="*/ 172847 h 259460"/>
                <a:gd name="connsiteX793" fmla="*/ 337638 w 444709"/>
                <a:gd name="connsiteY793" fmla="*/ 172085 h 259460"/>
                <a:gd name="connsiteX794" fmla="*/ 336237 w 444709"/>
                <a:gd name="connsiteY794" fmla="*/ 172720 h 259460"/>
                <a:gd name="connsiteX795" fmla="*/ 353297 w 444709"/>
                <a:gd name="connsiteY795" fmla="*/ 175768 h 259460"/>
                <a:gd name="connsiteX796" fmla="*/ 342985 w 444709"/>
                <a:gd name="connsiteY796" fmla="*/ 187706 h 259460"/>
                <a:gd name="connsiteX797" fmla="*/ 342094 w 444709"/>
                <a:gd name="connsiteY797" fmla="*/ 189230 h 259460"/>
                <a:gd name="connsiteX798" fmla="*/ 340693 w 444709"/>
                <a:gd name="connsiteY798" fmla="*/ 189738 h 259460"/>
                <a:gd name="connsiteX799" fmla="*/ 339420 w 444709"/>
                <a:gd name="connsiteY799" fmla="*/ 188976 h 259460"/>
                <a:gd name="connsiteX800" fmla="*/ 338784 w 444709"/>
                <a:gd name="connsiteY800" fmla="*/ 187325 h 259460"/>
                <a:gd name="connsiteX801" fmla="*/ 341203 w 444709"/>
                <a:gd name="connsiteY801" fmla="*/ 182880 h 259460"/>
                <a:gd name="connsiteX802" fmla="*/ 344513 w 444709"/>
                <a:gd name="connsiteY802" fmla="*/ 173736 h 259460"/>
                <a:gd name="connsiteX803" fmla="*/ 344767 w 444709"/>
                <a:gd name="connsiteY803" fmla="*/ 172720 h 259460"/>
                <a:gd name="connsiteX804" fmla="*/ 344513 w 444709"/>
                <a:gd name="connsiteY804" fmla="*/ 171704 h 259460"/>
                <a:gd name="connsiteX805" fmla="*/ 345022 w 444709"/>
                <a:gd name="connsiteY805" fmla="*/ 171069 h 259460"/>
                <a:gd name="connsiteX806" fmla="*/ 346422 w 444709"/>
                <a:gd name="connsiteY806" fmla="*/ 170688 h 259460"/>
                <a:gd name="connsiteX807" fmla="*/ 347568 w 444709"/>
                <a:gd name="connsiteY807" fmla="*/ 170688 h 259460"/>
                <a:gd name="connsiteX808" fmla="*/ 348077 w 444709"/>
                <a:gd name="connsiteY808" fmla="*/ 171069 h 259460"/>
                <a:gd name="connsiteX809" fmla="*/ 348459 w 444709"/>
                <a:gd name="connsiteY809" fmla="*/ 173101 h 259460"/>
                <a:gd name="connsiteX810" fmla="*/ 348205 w 444709"/>
                <a:gd name="connsiteY810" fmla="*/ 174498 h 259460"/>
                <a:gd name="connsiteX811" fmla="*/ 348077 w 444709"/>
                <a:gd name="connsiteY811" fmla="*/ 174879 h 259460"/>
                <a:gd name="connsiteX812" fmla="*/ 348077 w 444709"/>
                <a:gd name="connsiteY812" fmla="*/ 174879 h 259460"/>
                <a:gd name="connsiteX813" fmla="*/ 348332 w 444709"/>
                <a:gd name="connsiteY813" fmla="*/ 174752 h 259460"/>
                <a:gd name="connsiteX814" fmla="*/ 352788 w 444709"/>
                <a:gd name="connsiteY814" fmla="*/ 172085 h 259460"/>
                <a:gd name="connsiteX815" fmla="*/ 354189 w 444709"/>
                <a:gd name="connsiteY815" fmla="*/ 171704 h 259460"/>
                <a:gd name="connsiteX816" fmla="*/ 357371 w 444709"/>
                <a:gd name="connsiteY816" fmla="*/ 172847 h 259460"/>
                <a:gd name="connsiteX817" fmla="*/ 357626 w 444709"/>
                <a:gd name="connsiteY817" fmla="*/ 173609 h 259460"/>
                <a:gd name="connsiteX818" fmla="*/ 356989 w 444709"/>
                <a:gd name="connsiteY818" fmla="*/ 174879 h 259460"/>
                <a:gd name="connsiteX819" fmla="*/ 355589 w 444709"/>
                <a:gd name="connsiteY819" fmla="*/ 175387 h 259460"/>
                <a:gd name="connsiteX820" fmla="*/ 354061 w 444709"/>
                <a:gd name="connsiteY820" fmla="*/ 175006 h 259460"/>
                <a:gd name="connsiteX821" fmla="*/ 353170 w 444709"/>
                <a:gd name="connsiteY821" fmla="*/ 175387 h 259460"/>
                <a:gd name="connsiteX822" fmla="*/ 361318 w 444709"/>
                <a:gd name="connsiteY822" fmla="*/ 186055 h 259460"/>
                <a:gd name="connsiteX823" fmla="*/ 368448 w 444709"/>
                <a:gd name="connsiteY823" fmla="*/ 180721 h 259460"/>
                <a:gd name="connsiteX824" fmla="*/ 369721 w 444709"/>
                <a:gd name="connsiteY824" fmla="*/ 180467 h 259460"/>
                <a:gd name="connsiteX825" fmla="*/ 370739 w 444709"/>
                <a:gd name="connsiteY825" fmla="*/ 181229 h 259460"/>
                <a:gd name="connsiteX826" fmla="*/ 370739 w 444709"/>
                <a:gd name="connsiteY826" fmla="*/ 181864 h 259460"/>
                <a:gd name="connsiteX827" fmla="*/ 370485 w 444709"/>
                <a:gd name="connsiteY827" fmla="*/ 182499 h 259460"/>
                <a:gd name="connsiteX828" fmla="*/ 361318 w 444709"/>
                <a:gd name="connsiteY828" fmla="*/ 189738 h 259460"/>
                <a:gd name="connsiteX829" fmla="*/ 359536 w 444709"/>
                <a:gd name="connsiteY829" fmla="*/ 190119 h 259460"/>
                <a:gd name="connsiteX830" fmla="*/ 357626 w 444709"/>
                <a:gd name="connsiteY830" fmla="*/ 189865 h 259460"/>
                <a:gd name="connsiteX831" fmla="*/ 355207 w 444709"/>
                <a:gd name="connsiteY831" fmla="*/ 188722 h 259460"/>
                <a:gd name="connsiteX832" fmla="*/ 353297 w 444709"/>
                <a:gd name="connsiteY832" fmla="*/ 183261 h 259460"/>
                <a:gd name="connsiteX833" fmla="*/ 353679 w 444709"/>
                <a:gd name="connsiteY833" fmla="*/ 181356 h 259460"/>
                <a:gd name="connsiteX834" fmla="*/ 361191 w 444709"/>
                <a:gd name="connsiteY834" fmla="*/ 170180 h 259460"/>
                <a:gd name="connsiteX835" fmla="*/ 365901 w 444709"/>
                <a:gd name="connsiteY835" fmla="*/ 168275 h 259460"/>
                <a:gd name="connsiteX836" fmla="*/ 368575 w 444709"/>
                <a:gd name="connsiteY836" fmla="*/ 168783 h 259460"/>
                <a:gd name="connsiteX837" fmla="*/ 369594 w 444709"/>
                <a:gd name="connsiteY837" fmla="*/ 170815 h 259460"/>
                <a:gd name="connsiteX838" fmla="*/ 368448 w 444709"/>
                <a:gd name="connsiteY838" fmla="*/ 174244 h 259460"/>
                <a:gd name="connsiteX839" fmla="*/ 367047 w 444709"/>
                <a:gd name="connsiteY839" fmla="*/ 176149 h 259460"/>
                <a:gd name="connsiteX840" fmla="*/ 357626 w 444709"/>
                <a:gd name="connsiteY840" fmla="*/ 184785 h 259460"/>
                <a:gd name="connsiteX841" fmla="*/ 356989 w 444709"/>
                <a:gd name="connsiteY841" fmla="*/ 185547 h 259460"/>
                <a:gd name="connsiteX842" fmla="*/ 357753 w 444709"/>
                <a:gd name="connsiteY842" fmla="*/ 187071 h 259460"/>
                <a:gd name="connsiteX843" fmla="*/ 358645 w 444709"/>
                <a:gd name="connsiteY843" fmla="*/ 187452 h 259460"/>
                <a:gd name="connsiteX844" fmla="*/ 361318 w 444709"/>
                <a:gd name="connsiteY844" fmla="*/ 186309 h 259460"/>
                <a:gd name="connsiteX845" fmla="*/ 357753 w 444709"/>
                <a:gd name="connsiteY845" fmla="*/ 180340 h 259460"/>
                <a:gd name="connsiteX846" fmla="*/ 357753 w 444709"/>
                <a:gd name="connsiteY846" fmla="*/ 180340 h 259460"/>
                <a:gd name="connsiteX847" fmla="*/ 359026 w 444709"/>
                <a:gd name="connsiteY847" fmla="*/ 179324 h 259460"/>
                <a:gd name="connsiteX848" fmla="*/ 363483 w 444709"/>
                <a:gd name="connsiteY848" fmla="*/ 174625 h 259460"/>
                <a:gd name="connsiteX849" fmla="*/ 364501 w 444709"/>
                <a:gd name="connsiteY849" fmla="*/ 172974 h 259460"/>
                <a:gd name="connsiteX850" fmla="*/ 365392 w 444709"/>
                <a:gd name="connsiteY850" fmla="*/ 171196 h 259460"/>
                <a:gd name="connsiteX851" fmla="*/ 365138 w 444709"/>
                <a:gd name="connsiteY851" fmla="*/ 170942 h 259460"/>
                <a:gd name="connsiteX852" fmla="*/ 364246 w 444709"/>
                <a:gd name="connsiteY852" fmla="*/ 171450 h 259460"/>
                <a:gd name="connsiteX853" fmla="*/ 358390 w 444709"/>
                <a:gd name="connsiteY853" fmla="*/ 178435 h 259460"/>
                <a:gd name="connsiteX854" fmla="*/ 357499 w 444709"/>
                <a:gd name="connsiteY854" fmla="*/ 180213 h 25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444709" h="259460">
                  <a:moveTo>
                    <a:pt x="64039" y="152400"/>
                  </a:moveTo>
                  <a:cubicBezTo>
                    <a:pt x="58183" y="149098"/>
                    <a:pt x="53472" y="144526"/>
                    <a:pt x="50035" y="138811"/>
                  </a:cubicBezTo>
                  <a:cubicBezTo>
                    <a:pt x="46597" y="133096"/>
                    <a:pt x="44815" y="126873"/>
                    <a:pt x="44815" y="120015"/>
                  </a:cubicBezTo>
                  <a:cubicBezTo>
                    <a:pt x="44815" y="113157"/>
                    <a:pt x="46597" y="106934"/>
                    <a:pt x="50035" y="101219"/>
                  </a:cubicBezTo>
                  <a:cubicBezTo>
                    <a:pt x="53472" y="95504"/>
                    <a:pt x="58183" y="91059"/>
                    <a:pt x="64039" y="87630"/>
                  </a:cubicBezTo>
                  <a:cubicBezTo>
                    <a:pt x="69896" y="84328"/>
                    <a:pt x="76389" y="82677"/>
                    <a:pt x="83264" y="82677"/>
                  </a:cubicBezTo>
                  <a:cubicBezTo>
                    <a:pt x="88229" y="82677"/>
                    <a:pt x="93194" y="83693"/>
                    <a:pt x="98159" y="85598"/>
                  </a:cubicBezTo>
                  <a:cubicBezTo>
                    <a:pt x="102997" y="87503"/>
                    <a:pt x="107199" y="90424"/>
                    <a:pt x="110763" y="94361"/>
                  </a:cubicBezTo>
                  <a:lnTo>
                    <a:pt x="98287" y="107442"/>
                  </a:lnTo>
                  <a:cubicBezTo>
                    <a:pt x="94213" y="102997"/>
                    <a:pt x="89120" y="100711"/>
                    <a:pt x="82754" y="100711"/>
                  </a:cubicBezTo>
                  <a:cubicBezTo>
                    <a:pt x="79444" y="100711"/>
                    <a:pt x="76389" y="101473"/>
                    <a:pt x="73588" y="102997"/>
                  </a:cubicBezTo>
                  <a:cubicBezTo>
                    <a:pt x="70787" y="104521"/>
                    <a:pt x="68622" y="106680"/>
                    <a:pt x="66967" y="109601"/>
                  </a:cubicBezTo>
                  <a:cubicBezTo>
                    <a:pt x="65312" y="112522"/>
                    <a:pt x="64548" y="115951"/>
                    <a:pt x="64548" y="120015"/>
                  </a:cubicBezTo>
                  <a:cubicBezTo>
                    <a:pt x="64548" y="124079"/>
                    <a:pt x="65312" y="127762"/>
                    <a:pt x="66967" y="130683"/>
                  </a:cubicBezTo>
                  <a:cubicBezTo>
                    <a:pt x="68622" y="133604"/>
                    <a:pt x="70787" y="135763"/>
                    <a:pt x="73588" y="137160"/>
                  </a:cubicBezTo>
                  <a:cubicBezTo>
                    <a:pt x="76389" y="138684"/>
                    <a:pt x="79444" y="139319"/>
                    <a:pt x="82754" y="139319"/>
                  </a:cubicBezTo>
                  <a:cubicBezTo>
                    <a:pt x="86065" y="139319"/>
                    <a:pt x="88865" y="138684"/>
                    <a:pt x="91666" y="137541"/>
                  </a:cubicBezTo>
                  <a:cubicBezTo>
                    <a:pt x="94340" y="136398"/>
                    <a:pt x="96632" y="134747"/>
                    <a:pt x="98414" y="132461"/>
                  </a:cubicBezTo>
                  <a:lnTo>
                    <a:pt x="110891" y="145542"/>
                  </a:lnTo>
                  <a:cubicBezTo>
                    <a:pt x="107326" y="149479"/>
                    <a:pt x="103252" y="152400"/>
                    <a:pt x="98414" y="154305"/>
                  </a:cubicBezTo>
                  <a:cubicBezTo>
                    <a:pt x="93576" y="156210"/>
                    <a:pt x="88611" y="157226"/>
                    <a:pt x="83518" y="157226"/>
                  </a:cubicBezTo>
                  <a:cubicBezTo>
                    <a:pt x="76516" y="157226"/>
                    <a:pt x="70150" y="155575"/>
                    <a:pt x="64294" y="152146"/>
                  </a:cubicBezTo>
                  <a:close/>
                  <a:moveTo>
                    <a:pt x="135590" y="152400"/>
                  </a:moveTo>
                  <a:cubicBezTo>
                    <a:pt x="129606" y="149098"/>
                    <a:pt x="124895" y="144526"/>
                    <a:pt x="121331" y="138811"/>
                  </a:cubicBezTo>
                  <a:cubicBezTo>
                    <a:pt x="117893" y="133096"/>
                    <a:pt x="116111" y="126873"/>
                    <a:pt x="116111" y="120015"/>
                  </a:cubicBezTo>
                  <a:cubicBezTo>
                    <a:pt x="116111" y="113157"/>
                    <a:pt x="117893" y="106934"/>
                    <a:pt x="121331" y="101219"/>
                  </a:cubicBezTo>
                  <a:cubicBezTo>
                    <a:pt x="124768" y="95504"/>
                    <a:pt x="129606" y="91059"/>
                    <a:pt x="135590" y="87630"/>
                  </a:cubicBezTo>
                  <a:cubicBezTo>
                    <a:pt x="141574" y="84328"/>
                    <a:pt x="148067" y="82677"/>
                    <a:pt x="155196" y="82677"/>
                  </a:cubicBezTo>
                  <a:cubicBezTo>
                    <a:pt x="162326" y="82677"/>
                    <a:pt x="168819" y="84328"/>
                    <a:pt x="174803" y="87630"/>
                  </a:cubicBezTo>
                  <a:cubicBezTo>
                    <a:pt x="180786" y="90932"/>
                    <a:pt x="185497" y="95504"/>
                    <a:pt x="189062" y="101219"/>
                  </a:cubicBezTo>
                  <a:cubicBezTo>
                    <a:pt x="192627" y="106934"/>
                    <a:pt x="194282" y="113157"/>
                    <a:pt x="194282" y="120015"/>
                  </a:cubicBezTo>
                  <a:cubicBezTo>
                    <a:pt x="194282" y="126873"/>
                    <a:pt x="192499" y="132969"/>
                    <a:pt x="189062" y="138811"/>
                  </a:cubicBezTo>
                  <a:cubicBezTo>
                    <a:pt x="185497" y="144526"/>
                    <a:pt x="180786" y="149098"/>
                    <a:pt x="174803" y="152400"/>
                  </a:cubicBezTo>
                  <a:cubicBezTo>
                    <a:pt x="168819" y="155702"/>
                    <a:pt x="162326" y="157480"/>
                    <a:pt x="155196" y="157480"/>
                  </a:cubicBezTo>
                  <a:cubicBezTo>
                    <a:pt x="148067" y="157480"/>
                    <a:pt x="141574" y="155829"/>
                    <a:pt x="135590" y="152400"/>
                  </a:cubicBezTo>
                  <a:close/>
                  <a:moveTo>
                    <a:pt x="164999" y="136906"/>
                  </a:moveTo>
                  <a:cubicBezTo>
                    <a:pt x="167928" y="135255"/>
                    <a:pt x="170347" y="132969"/>
                    <a:pt x="172002" y="130048"/>
                  </a:cubicBezTo>
                  <a:cubicBezTo>
                    <a:pt x="173657" y="127127"/>
                    <a:pt x="174548" y="123825"/>
                    <a:pt x="174548" y="120015"/>
                  </a:cubicBezTo>
                  <a:cubicBezTo>
                    <a:pt x="174548" y="116205"/>
                    <a:pt x="173657" y="112903"/>
                    <a:pt x="172002" y="109982"/>
                  </a:cubicBezTo>
                  <a:cubicBezTo>
                    <a:pt x="170347" y="107061"/>
                    <a:pt x="167928" y="104775"/>
                    <a:pt x="164999" y="103124"/>
                  </a:cubicBezTo>
                  <a:cubicBezTo>
                    <a:pt x="162071" y="101473"/>
                    <a:pt x="158761" y="100711"/>
                    <a:pt x="155196" y="100711"/>
                  </a:cubicBezTo>
                  <a:cubicBezTo>
                    <a:pt x="151631" y="100711"/>
                    <a:pt x="148321" y="101473"/>
                    <a:pt x="145393" y="103124"/>
                  </a:cubicBezTo>
                  <a:cubicBezTo>
                    <a:pt x="142465" y="104775"/>
                    <a:pt x="140046" y="107061"/>
                    <a:pt x="138391" y="109982"/>
                  </a:cubicBezTo>
                  <a:cubicBezTo>
                    <a:pt x="136736" y="112903"/>
                    <a:pt x="135844" y="116205"/>
                    <a:pt x="135844" y="120015"/>
                  </a:cubicBezTo>
                  <a:cubicBezTo>
                    <a:pt x="135844" y="123825"/>
                    <a:pt x="136736" y="127127"/>
                    <a:pt x="138391" y="130048"/>
                  </a:cubicBezTo>
                  <a:cubicBezTo>
                    <a:pt x="140173" y="132969"/>
                    <a:pt x="142465" y="135255"/>
                    <a:pt x="145393" y="136906"/>
                  </a:cubicBezTo>
                  <a:cubicBezTo>
                    <a:pt x="148321" y="138557"/>
                    <a:pt x="151631" y="139446"/>
                    <a:pt x="155069" y="139446"/>
                  </a:cubicBezTo>
                  <a:cubicBezTo>
                    <a:pt x="158506" y="139446"/>
                    <a:pt x="161944" y="138684"/>
                    <a:pt x="164872" y="137033"/>
                  </a:cubicBezTo>
                  <a:close/>
                  <a:moveTo>
                    <a:pt x="219363" y="152400"/>
                  </a:moveTo>
                  <a:cubicBezTo>
                    <a:pt x="213506" y="149098"/>
                    <a:pt x="208796" y="144526"/>
                    <a:pt x="205358" y="138811"/>
                  </a:cubicBezTo>
                  <a:cubicBezTo>
                    <a:pt x="201921" y="133096"/>
                    <a:pt x="200138" y="126873"/>
                    <a:pt x="200138" y="120015"/>
                  </a:cubicBezTo>
                  <a:cubicBezTo>
                    <a:pt x="200138" y="113157"/>
                    <a:pt x="201921" y="106934"/>
                    <a:pt x="205358" y="101219"/>
                  </a:cubicBezTo>
                  <a:cubicBezTo>
                    <a:pt x="208796" y="95504"/>
                    <a:pt x="213506" y="91059"/>
                    <a:pt x="219363" y="87630"/>
                  </a:cubicBezTo>
                  <a:cubicBezTo>
                    <a:pt x="225219" y="84328"/>
                    <a:pt x="231712" y="82677"/>
                    <a:pt x="238587" y="82677"/>
                  </a:cubicBezTo>
                  <a:cubicBezTo>
                    <a:pt x="243552" y="82677"/>
                    <a:pt x="248518" y="83693"/>
                    <a:pt x="253483" y="85598"/>
                  </a:cubicBezTo>
                  <a:cubicBezTo>
                    <a:pt x="258321" y="87503"/>
                    <a:pt x="262522" y="90424"/>
                    <a:pt x="266087" y="94361"/>
                  </a:cubicBezTo>
                  <a:lnTo>
                    <a:pt x="253610" y="107442"/>
                  </a:lnTo>
                  <a:cubicBezTo>
                    <a:pt x="249536" y="102997"/>
                    <a:pt x="244444" y="100711"/>
                    <a:pt x="238078" y="100711"/>
                  </a:cubicBezTo>
                  <a:cubicBezTo>
                    <a:pt x="234768" y="100711"/>
                    <a:pt x="231712" y="101473"/>
                    <a:pt x="228911" y="102997"/>
                  </a:cubicBezTo>
                  <a:cubicBezTo>
                    <a:pt x="226110" y="104521"/>
                    <a:pt x="223946" y="106680"/>
                    <a:pt x="222291" y="109601"/>
                  </a:cubicBezTo>
                  <a:cubicBezTo>
                    <a:pt x="220636" y="112522"/>
                    <a:pt x="219872" y="115951"/>
                    <a:pt x="219872" y="120015"/>
                  </a:cubicBezTo>
                  <a:cubicBezTo>
                    <a:pt x="219872" y="124079"/>
                    <a:pt x="220636" y="127762"/>
                    <a:pt x="222291" y="130683"/>
                  </a:cubicBezTo>
                  <a:cubicBezTo>
                    <a:pt x="223946" y="133604"/>
                    <a:pt x="226110" y="135763"/>
                    <a:pt x="228911" y="137160"/>
                  </a:cubicBezTo>
                  <a:cubicBezTo>
                    <a:pt x="231712" y="138684"/>
                    <a:pt x="234768" y="139319"/>
                    <a:pt x="238078" y="139319"/>
                  </a:cubicBezTo>
                  <a:cubicBezTo>
                    <a:pt x="241388" y="139319"/>
                    <a:pt x="244189" y="138684"/>
                    <a:pt x="246990" y="137541"/>
                  </a:cubicBezTo>
                  <a:cubicBezTo>
                    <a:pt x="249663" y="136398"/>
                    <a:pt x="251955" y="134747"/>
                    <a:pt x="253738" y="132461"/>
                  </a:cubicBezTo>
                  <a:lnTo>
                    <a:pt x="266214" y="145542"/>
                  </a:lnTo>
                  <a:cubicBezTo>
                    <a:pt x="262650" y="149479"/>
                    <a:pt x="258575" y="152400"/>
                    <a:pt x="253738" y="154305"/>
                  </a:cubicBezTo>
                  <a:cubicBezTo>
                    <a:pt x="248900" y="156210"/>
                    <a:pt x="243934" y="157226"/>
                    <a:pt x="238842" y="157226"/>
                  </a:cubicBezTo>
                  <a:cubicBezTo>
                    <a:pt x="231839" y="157226"/>
                    <a:pt x="225474" y="155575"/>
                    <a:pt x="219617" y="152146"/>
                  </a:cubicBezTo>
                  <a:close/>
                  <a:moveTo>
                    <a:pt x="277163" y="84582"/>
                  </a:moveTo>
                  <a:lnTo>
                    <a:pt x="296897" y="84582"/>
                  </a:lnTo>
                  <a:lnTo>
                    <a:pt x="296897" y="155702"/>
                  </a:lnTo>
                  <a:lnTo>
                    <a:pt x="277163" y="155702"/>
                  </a:lnTo>
                  <a:lnTo>
                    <a:pt x="277163" y="84582"/>
                  </a:lnTo>
                  <a:close/>
                  <a:moveTo>
                    <a:pt x="345659" y="84582"/>
                  </a:moveTo>
                  <a:cubicBezTo>
                    <a:pt x="350751" y="84582"/>
                    <a:pt x="355334" y="85725"/>
                    <a:pt x="359408" y="87884"/>
                  </a:cubicBezTo>
                  <a:cubicBezTo>
                    <a:pt x="363483" y="90043"/>
                    <a:pt x="366538" y="93091"/>
                    <a:pt x="368830" y="96901"/>
                  </a:cubicBezTo>
                  <a:cubicBezTo>
                    <a:pt x="371121" y="100711"/>
                    <a:pt x="372267" y="105029"/>
                    <a:pt x="372267" y="109855"/>
                  </a:cubicBezTo>
                  <a:cubicBezTo>
                    <a:pt x="372267" y="114681"/>
                    <a:pt x="371121" y="118999"/>
                    <a:pt x="368957" y="122809"/>
                  </a:cubicBezTo>
                  <a:cubicBezTo>
                    <a:pt x="366665" y="126619"/>
                    <a:pt x="363610" y="129540"/>
                    <a:pt x="359790" y="131699"/>
                  </a:cubicBezTo>
                  <a:lnTo>
                    <a:pt x="374559" y="155702"/>
                  </a:lnTo>
                  <a:lnTo>
                    <a:pt x="352024" y="155702"/>
                  </a:lnTo>
                  <a:lnTo>
                    <a:pt x="340566" y="135001"/>
                  </a:lnTo>
                  <a:lnTo>
                    <a:pt x="329999" y="135001"/>
                  </a:lnTo>
                  <a:lnTo>
                    <a:pt x="329999" y="155702"/>
                  </a:lnTo>
                  <a:lnTo>
                    <a:pt x="310265" y="155702"/>
                  </a:lnTo>
                  <a:lnTo>
                    <a:pt x="310265" y="84582"/>
                  </a:lnTo>
                  <a:lnTo>
                    <a:pt x="345913" y="84582"/>
                  </a:lnTo>
                  <a:close/>
                  <a:moveTo>
                    <a:pt x="348714" y="117348"/>
                  </a:moveTo>
                  <a:cubicBezTo>
                    <a:pt x="349860" y="116586"/>
                    <a:pt x="350878" y="115570"/>
                    <a:pt x="351515" y="114173"/>
                  </a:cubicBezTo>
                  <a:cubicBezTo>
                    <a:pt x="352152" y="112903"/>
                    <a:pt x="352533" y="111379"/>
                    <a:pt x="352533" y="109728"/>
                  </a:cubicBezTo>
                  <a:cubicBezTo>
                    <a:pt x="352533" y="108077"/>
                    <a:pt x="352152" y="106807"/>
                    <a:pt x="351515" y="105410"/>
                  </a:cubicBezTo>
                  <a:cubicBezTo>
                    <a:pt x="350878" y="104013"/>
                    <a:pt x="349860" y="102997"/>
                    <a:pt x="348714" y="102108"/>
                  </a:cubicBezTo>
                  <a:cubicBezTo>
                    <a:pt x="347568" y="101346"/>
                    <a:pt x="346295" y="100838"/>
                    <a:pt x="344895" y="100838"/>
                  </a:cubicBezTo>
                  <a:lnTo>
                    <a:pt x="329871" y="100838"/>
                  </a:lnTo>
                  <a:lnTo>
                    <a:pt x="329871" y="118364"/>
                  </a:lnTo>
                  <a:lnTo>
                    <a:pt x="344895" y="118364"/>
                  </a:lnTo>
                  <a:cubicBezTo>
                    <a:pt x="346295" y="118364"/>
                    <a:pt x="347568" y="117983"/>
                    <a:pt x="348714" y="117221"/>
                  </a:cubicBezTo>
                  <a:close/>
                  <a:moveTo>
                    <a:pt x="285948" y="72009"/>
                  </a:moveTo>
                  <a:cubicBezTo>
                    <a:pt x="291677" y="72009"/>
                    <a:pt x="296261" y="67437"/>
                    <a:pt x="296261" y="61722"/>
                  </a:cubicBezTo>
                  <a:cubicBezTo>
                    <a:pt x="296261" y="56007"/>
                    <a:pt x="291677" y="51435"/>
                    <a:pt x="285948" y="51435"/>
                  </a:cubicBezTo>
                  <a:cubicBezTo>
                    <a:pt x="280219" y="51435"/>
                    <a:pt x="275636" y="56007"/>
                    <a:pt x="275636" y="61722"/>
                  </a:cubicBezTo>
                  <a:cubicBezTo>
                    <a:pt x="275636" y="67437"/>
                    <a:pt x="280219" y="72009"/>
                    <a:pt x="285948" y="72009"/>
                  </a:cubicBezTo>
                  <a:close/>
                  <a:moveTo>
                    <a:pt x="161689" y="217932"/>
                  </a:moveTo>
                  <a:cubicBezTo>
                    <a:pt x="167418" y="217932"/>
                    <a:pt x="172002" y="213360"/>
                    <a:pt x="172002" y="207645"/>
                  </a:cubicBezTo>
                  <a:cubicBezTo>
                    <a:pt x="172002" y="201930"/>
                    <a:pt x="167418" y="197358"/>
                    <a:pt x="161689" y="197358"/>
                  </a:cubicBezTo>
                  <a:cubicBezTo>
                    <a:pt x="155960" y="197358"/>
                    <a:pt x="151377" y="201930"/>
                    <a:pt x="151377" y="207645"/>
                  </a:cubicBezTo>
                  <a:cubicBezTo>
                    <a:pt x="151377" y="213360"/>
                    <a:pt x="155960" y="217932"/>
                    <a:pt x="161689" y="217932"/>
                  </a:cubicBezTo>
                  <a:close/>
                  <a:moveTo>
                    <a:pt x="310902" y="49911"/>
                  </a:moveTo>
                  <a:cubicBezTo>
                    <a:pt x="318923" y="49911"/>
                    <a:pt x="325543" y="43434"/>
                    <a:pt x="325543" y="35306"/>
                  </a:cubicBezTo>
                  <a:cubicBezTo>
                    <a:pt x="325543" y="27178"/>
                    <a:pt x="319050" y="20701"/>
                    <a:pt x="310902" y="20701"/>
                  </a:cubicBezTo>
                  <a:cubicBezTo>
                    <a:pt x="302754" y="20701"/>
                    <a:pt x="296261" y="27178"/>
                    <a:pt x="296261" y="35306"/>
                  </a:cubicBezTo>
                  <a:cubicBezTo>
                    <a:pt x="296261" y="43434"/>
                    <a:pt x="302754" y="49911"/>
                    <a:pt x="310902" y="49911"/>
                  </a:cubicBezTo>
                  <a:close/>
                  <a:moveTo>
                    <a:pt x="134317" y="244856"/>
                  </a:moveTo>
                  <a:cubicBezTo>
                    <a:pt x="142337" y="244856"/>
                    <a:pt x="148958" y="238379"/>
                    <a:pt x="148958" y="230251"/>
                  </a:cubicBezTo>
                  <a:cubicBezTo>
                    <a:pt x="148958" y="222123"/>
                    <a:pt x="142465" y="215646"/>
                    <a:pt x="134317" y="215646"/>
                  </a:cubicBezTo>
                  <a:cubicBezTo>
                    <a:pt x="126169" y="215646"/>
                    <a:pt x="119675" y="222123"/>
                    <a:pt x="119675" y="230251"/>
                  </a:cubicBezTo>
                  <a:cubicBezTo>
                    <a:pt x="119675" y="238379"/>
                    <a:pt x="126169" y="244856"/>
                    <a:pt x="134317" y="244856"/>
                  </a:cubicBezTo>
                  <a:close/>
                  <a:moveTo>
                    <a:pt x="358263" y="41656"/>
                  </a:moveTo>
                  <a:cubicBezTo>
                    <a:pt x="369848" y="41656"/>
                    <a:pt x="379142" y="32385"/>
                    <a:pt x="379142" y="20828"/>
                  </a:cubicBezTo>
                  <a:cubicBezTo>
                    <a:pt x="379142" y="9271"/>
                    <a:pt x="369848" y="0"/>
                    <a:pt x="358263" y="0"/>
                  </a:cubicBezTo>
                  <a:cubicBezTo>
                    <a:pt x="346677" y="0"/>
                    <a:pt x="337383" y="9271"/>
                    <a:pt x="337383" y="20828"/>
                  </a:cubicBezTo>
                  <a:cubicBezTo>
                    <a:pt x="337383" y="32385"/>
                    <a:pt x="346677" y="41656"/>
                    <a:pt x="358263" y="41656"/>
                  </a:cubicBezTo>
                  <a:close/>
                  <a:moveTo>
                    <a:pt x="85937" y="259461"/>
                  </a:moveTo>
                  <a:cubicBezTo>
                    <a:pt x="97523" y="259461"/>
                    <a:pt x="106817" y="250190"/>
                    <a:pt x="106817" y="238633"/>
                  </a:cubicBezTo>
                  <a:cubicBezTo>
                    <a:pt x="106817" y="227076"/>
                    <a:pt x="97523" y="217805"/>
                    <a:pt x="85937" y="217805"/>
                  </a:cubicBezTo>
                  <a:cubicBezTo>
                    <a:pt x="74352" y="217805"/>
                    <a:pt x="65058" y="227076"/>
                    <a:pt x="65058" y="238633"/>
                  </a:cubicBezTo>
                  <a:cubicBezTo>
                    <a:pt x="65058" y="250190"/>
                    <a:pt x="74352" y="259461"/>
                    <a:pt x="85937" y="259461"/>
                  </a:cubicBezTo>
                  <a:close/>
                  <a:moveTo>
                    <a:pt x="417209" y="56769"/>
                  </a:moveTo>
                  <a:cubicBezTo>
                    <a:pt x="432360" y="56769"/>
                    <a:pt x="444709" y="44450"/>
                    <a:pt x="444709" y="29337"/>
                  </a:cubicBezTo>
                  <a:cubicBezTo>
                    <a:pt x="444709" y="14224"/>
                    <a:pt x="432360" y="1905"/>
                    <a:pt x="417209" y="1905"/>
                  </a:cubicBezTo>
                  <a:cubicBezTo>
                    <a:pt x="402059" y="1905"/>
                    <a:pt x="389709" y="14224"/>
                    <a:pt x="389709" y="29337"/>
                  </a:cubicBezTo>
                  <a:cubicBezTo>
                    <a:pt x="389709" y="44450"/>
                    <a:pt x="402059" y="56769"/>
                    <a:pt x="417209" y="56769"/>
                  </a:cubicBezTo>
                  <a:close/>
                  <a:moveTo>
                    <a:pt x="27500" y="250063"/>
                  </a:moveTo>
                  <a:cubicBezTo>
                    <a:pt x="42650" y="250063"/>
                    <a:pt x="55000" y="237744"/>
                    <a:pt x="55000" y="222631"/>
                  </a:cubicBezTo>
                  <a:cubicBezTo>
                    <a:pt x="55000" y="207518"/>
                    <a:pt x="42650" y="195199"/>
                    <a:pt x="27500" y="195199"/>
                  </a:cubicBezTo>
                  <a:cubicBezTo>
                    <a:pt x="12349" y="195199"/>
                    <a:pt x="0" y="207518"/>
                    <a:pt x="0" y="222631"/>
                  </a:cubicBezTo>
                  <a:cubicBezTo>
                    <a:pt x="0" y="237744"/>
                    <a:pt x="12349" y="250063"/>
                    <a:pt x="27500" y="250063"/>
                  </a:cubicBezTo>
                  <a:close/>
                  <a:moveTo>
                    <a:pt x="71551" y="177165"/>
                  </a:moveTo>
                  <a:cubicBezTo>
                    <a:pt x="73078" y="177165"/>
                    <a:pt x="73842" y="177419"/>
                    <a:pt x="74224" y="177927"/>
                  </a:cubicBezTo>
                  <a:cubicBezTo>
                    <a:pt x="74352" y="178181"/>
                    <a:pt x="74479" y="178181"/>
                    <a:pt x="74479" y="178308"/>
                  </a:cubicBezTo>
                  <a:cubicBezTo>
                    <a:pt x="74479" y="178308"/>
                    <a:pt x="74479" y="178689"/>
                    <a:pt x="74224" y="178943"/>
                  </a:cubicBezTo>
                  <a:cubicBezTo>
                    <a:pt x="73715" y="179705"/>
                    <a:pt x="72951" y="179959"/>
                    <a:pt x="71041" y="180086"/>
                  </a:cubicBezTo>
                  <a:cubicBezTo>
                    <a:pt x="70278" y="180086"/>
                    <a:pt x="69768" y="180340"/>
                    <a:pt x="69641" y="180467"/>
                  </a:cubicBezTo>
                  <a:cubicBezTo>
                    <a:pt x="69259" y="180721"/>
                    <a:pt x="69259" y="180848"/>
                    <a:pt x="69132" y="181610"/>
                  </a:cubicBezTo>
                  <a:lnTo>
                    <a:pt x="68622" y="185420"/>
                  </a:lnTo>
                  <a:cubicBezTo>
                    <a:pt x="68622" y="185420"/>
                    <a:pt x="68622" y="186944"/>
                    <a:pt x="68495" y="188087"/>
                  </a:cubicBezTo>
                  <a:cubicBezTo>
                    <a:pt x="68495" y="188849"/>
                    <a:pt x="68495" y="189103"/>
                    <a:pt x="68495" y="189484"/>
                  </a:cubicBezTo>
                  <a:cubicBezTo>
                    <a:pt x="68495" y="191643"/>
                    <a:pt x="68877" y="192405"/>
                    <a:pt x="68877" y="192532"/>
                  </a:cubicBezTo>
                  <a:cubicBezTo>
                    <a:pt x="68877" y="192913"/>
                    <a:pt x="68750" y="193040"/>
                    <a:pt x="68113" y="193548"/>
                  </a:cubicBezTo>
                  <a:cubicBezTo>
                    <a:pt x="67986" y="193675"/>
                    <a:pt x="67731" y="193675"/>
                    <a:pt x="67349" y="193675"/>
                  </a:cubicBezTo>
                  <a:cubicBezTo>
                    <a:pt x="66203" y="193675"/>
                    <a:pt x="65440" y="193421"/>
                    <a:pt x="65058" y="192913"/>
                  </a:cubicBezTo>
                  <a:cubicBezTo>
                    <a:pt x="64676" y="192532"/>
                    <a:pt x="64676" y="191389"/>
                    <a:pt x="64676" y="189992"/>
                  </a:cubicBezTo>
                  <a:cubicBezTo>
                    <a:pt x="64676" y="188595"/>
                    <a:pt x="64676" y="187579"/>
                    <a:pt x="65185" y="184404"/>
                  </a:cubicBezTo>
                  <a:cubicBezTo>
                    <a:pt x="65440" y="182880"/>
                    <a:pt x="65440" y="182626"/>
                    <a:pt x="65440" y="182499"/>
                  </a:cubicBezTo>
                  <a:cubicBezTo>
                    <a:pt x="65440" y="182499"/>
                    <a:pt x="65440" y="182499"/>
                    <a:pt x="65440" y="182499"/>
                  </a:cubicBezTo>
                  <a:cubicBezTo>
                    <a:pt x="65440" y="182499"/>
                    <a:pt x="65312" y="182499"/>
                    <a:pt x="64421" y="182753"/>
                  </a:cubicBezTo>
                  <a:cubicBezTo>
                    <a:pt x="62257" y="183515"/>
                    <a:pt x="59456" y="184404"/>
                    <a:pt x="58183" y="184658"/>
                  </a:cubicBezTo>
                  <a:cubicBezTo>
                    <a:pt x="57673" y="184658"/>
                    <a:pt x="57673" y="184658"/>
                    <a:pt x="57419" y="185293"/>
                  </a:cubicBezTo>
                  <a:cubicBezTo>
                    <a:pt x="56655" y="186690"/>
                    <a:pt x="56528" y="188214"/>
                    <a:pt x="56528" y="189738"/>
                  </a:cubicBezTo>
                  <a:cubicBezTo>
                    <a:pt x="56528" y="190246"/>
                    <a:pt x="56528" y="190373"/>
                    <a:pt x="56528" y="190500"/>
                  </a:cubicBezTo>
                  <a:cubicBezTo>
                    <a:pt x="56528" y="190500"/>
                    <a:pt x="56528" y="190627"/>
                    <a:pt x="56273" y="190754"/>
                  </a:cubicBezTo>
                  <a:cubicBezTo>
                    <a:pt x="55891" y="191008"/>
                    <a:pt x="55382" y="191770"/>
                    <a:pt x="54363" y="191770"/>
                  </a:cubicBezTo>
                  <a:cubicBezTo>
                    <a:pt x="54236" y="191770"/>
                    <a:pt x="53727" y="191770"/>
                    <a:pt x="53217" y="191389"/>
                  </a:cubicBezTo>
                  <a:cubicBezTo>
                    <a:pt x="52581" y="190881"/>
                    <a:pt x="52326" y="190500"/>
                    <a:pt x="52326" y="189611"/>
                  </a:cubicBezTo>
                  <a:cubicBezTo>
                    <a:pt x="52326" y="187198"/>
                    <a:pt x="53090" y="185293"/>
                    <a:pt x="53090" y="185039"/>
                  </a:cubicBezTo>
                  <a:cubicBezTo>
                    <a:pt x="53090" y="185039"/>
                    <a:pt x="53090" y="184785"/>
                    <a:pt x="52835" y="184785"/>
                  </a:cubicBezTo>
                  <a:cubicBezTo>
                    <a:pt x="52072" y="184277"/>
                    <a:pt x="51690" y="184023"/>
                    <a:pt x="51690" y="183515"/>
                  </a:cubicBezTo>
                  <a:cubicBezTo>
                    <a:pt x="51690" y="183007"/>
                    <a:pt x="52199" y="181483"/>
                    <a:pt x="52454" y="181229"/>
                  </a:cubicBezTo>
                  <a:cubicBezTo>
                    <a:pt x="52454" y="181102"/>
                    <a:pt x="52835" y="180975"/>
                    <a:pt x="53217" y="180975"/>
                  </a:cubicBezTo>
                  <a:cubicBezTo>
                    <a:pt x="54363" y="180975"/>
                    <a:pt x="54363" y="181356"/>
                    <a:pt x="54618" y="181356"/>
                  </a:cubicBezTo>
                  <a:cubicBezTo>
                    <a:pt x="54618" y="181356"/>
                    <a:pt x="54745" y="181356"/>
                    <a:pt x="54872" y="181102"/>
                  </a:cubicBezTo>
                  <a:cubicBezTo>
                    <a:pt x="58310" y="175133"/>
                    <a:pt x="62002" y="169291"/>
                    <a:pt x="66840" y="162433"/>
                  </a:cubicBezTo>
                  <a:cubicBezTo>
                    <a:pt x="67477" y="161417"/>
                    <a:pt x="67604" y="161290"/>
                    <a:pt x="67859" y="161290"/>
                  </a:cubicBezTo>
                  <a:cubicBezTo>
                    <a:pt x="68113" y="161290"/>
                    <a:pt x="68622" y="161290"/>
                    <a:pt x="69004" y="161036"/>
                  </a:cubicBezTo>
                  <a:cubicBezTo>
                    <a:pt x="69386" y="160909"/>
                    <a:pt x="69896" y="160782"/>
                    <a:pt x="70659" y="160782"/>
                  </a:cubicBezTo>
                  <a:cubicBezTo>
                    <a:pt x="71551" y="160782"/>
                    <a:pt x="72187" y="161036"/>
                    <a:pt x="72315" y="161163"/>
                  </a:cubicBezTo>
                  <a:cubicBezTo>
                    <a:pt x="72315" y="161417"/>
                    <a:pt x="72569" y="161671"/>
                    <a:pt x="72569" y="161798"/>
                  </a:cubicBezTo>
                  <a:cubicBezTo>
                    <a:pt x="72569" y="162052"/>
                    <a:pt x="72187" y="163703"/>
                    <a:pt x="71933" y="164846"/>
                  </a:cubicBezTo>
                  <a:cubicBezTo>
                    <a:pt x="71678" y="165862"/>
                    <a:pt x="71678" y="166497"/>
                    <a:pt x="71551" y="167132"/>
                  </a:cubicBezTo>
                  <a:cubicBezTo>
                    <a:pt x="70787" y="170307"/>
                    <a:pt x="69896" y="177165"/>
                    <a:pt x="69896" y="177292"/>
                  </a:cubicBezTo>
                  <a:cubicBezTo>
                    <a:pt x="69896" y="177419"/>
                    <a:pt x="69896" y="177546"/>
                    <a:pt x="70023" y="177546"/>
                  </a:cubicBezTo>
                  <a:cubicBezTo>
                    <a:pt x="70150" y="177546"/>
                    <a:pt x="70787" y="177546"/>
                    <a:pt x="71678" y="177546"/>
                  </a:cubicBezTo>
                  <a:close/>
                  <a:moveTo>
                    <a:pt x="62639" y="179832"/>
                  </a:moveTo>
                  <a:cubicBezTo>
                    <a:pt x="63403" y="179451"/>
                    <a:pt x="64803" y="178943"/>
                    <a:pt x="65312" y="178816"/>
                  </a:cubicBezTo>
                  <a:cubicBezTo>
                    <a:pt x="65440" y="178816"/>
                    <a:pt x="65567" y="178689"/>
                    <a:pt x="65567" y="178435"/>
                  </a:cubicBezTo>
                  <a:cubicBezTo>
                    <a:pt x="66967" y="170815"/>
                    <a:pt x="67349" y="168529"/>
                    <a:pt x="67349" y="168148"/>
                  </a:cubicBezTo>
                  <a:cubicBezTo>
                    <a:pt x="67349" y="167894"/>
                    <a:pt x="67349" y="167767"/>
                    <a:pt x="67222" y="167767"/>
                  </a:cubicBezTo>
                  <a:cubicBezTo>
                    <a:pt x="67095" y="167767"/>
                    <a:pt x="66967" y="168021"/>
                    <a:pt x="66076" y="169545"/>
                  </a:cubicBezTo>
                  <a:cubicBezTo>
                    <a:pt x="63530" y="173482"/>
                    <a:pt x="61747" y="176530"/>
                    <a:pt x="59838" y="179705"/>
                  </a:cubicBezTo>
                  <a:cubicBezTo>
                    <a:pt x="59328" y="180594"/>
                    <a:pt x="59201" y="180721"/>
                    <a:pt x="59201" y="180721"/>
                  </a:cubicBezTo>
                  <a:cubicBezTo>
                    <a:pt x="59201" y="180721"/>
                    <a:pt x="59201" y="180721"/>
                    <a:pt x="59328" y="180721"/>
                  </a:cubicBezTo>
                  <a:cubicBezTo>
                    <a:pt x="59456" y="180721"/>
                    <a:pt x="61238" y="180213"/>
                    <a:pt x="62639" y="179705"/>
                  </a:cubicBezTo>
                  <a:close/>
                  <a:moveTo>
                    <a:pt x="77025" y="189230"/>
                  </a:moveTo>
                  <a:cubicBezTo>
                    <a:pt x="77025" y="189230"/>
                    <a:pt x="76516" y="189484"/>
                    <a:pt x="75497" y="189484"/>
                  </a:cubicBezTo>
                  <a:cubicBezTo>
                    <a:pt x="74988" y="189484"/>
                    <a:pt x="74352" y="189484"/>
                    <a:pt x="73588" y="188976"/>
                  </a:cubicBezTo>
                  <a:cubicBezTo>
                    <a:pt x="73078" y="188722"/>
                    <a:pt x="72569" y="188468"/>
                    <a:pt x="72569" y="188214"/>
                  </a:cubicBezTo>
                  <a:cubicBezTo>
                    <a:pt x="72315" y="187579"/>
                    <a:pt x="72187" y="187071"/>
                    <a:pt x="72187" y="186182"/>
                  </a:cubicBezTo>
                  <a:cubicBezTo>
                    <a:pt x="72187" y="185674"/>
                    <a:pt x="72187" y="184150"/>
                    <a:pt x="73842" y="181483"/>
                  </a:cubicBezTo>
                  <a:cubicBezTo>
                    <a:pt x="76007" y="177673"/>
                    <a:pt x="79317" y="174498"/>
                    <a:pt x="82627" y="172085"/>
                  </a:cubicBezTo>
                  <a:cubicBezTo>
                    <a:pt x="83264" y="171577"/>
                    <a:pt x="84409" y="171196"/>
                    <a:pt x="85810" y="171196"/>
                  </a:cubicBezTo>
                  <a:cubicBezTo>
                    <a:pt x="86192" y="171196"/>
                    <a:pt x="87083" y="171196"/>
                    <a:pt x="88102" y="171958"/>
                  </a:cubicBezTo>
                  <a:cubicBezTo>
                    <a:pt x="88356" y="171958"/>
                    <a:pt x="88356" y="172085"/>
                    <a:pt x="88483" y="172085"/>
                  </a:cubicBezTo>
                  <a:cubicBezTo>
                    <a:pt x="88611" y="172085"/>
                    <a:pt x="88738" y="172085"/>
                    <a:pt x="89120" y="171450"/>
                  </a:cubicBezTo>
                  <a:cubicBezTo>
                    <a:pt x="93067" y="166878"/>
                    <a:pt x="94977" y="162306"/>
                    <a:pt x="98669" y="157480"/>
                  </a:cubicBezTo>
                  <a:cubicBezTo>
                    <a:pt x="99051" y="156972"/>
                    <a:pt x="99051" y="156845"/>
                    <a:pt x="100069" y="156845"/>
                  </a:cubicBezTo>
                  <a:cubicBezTo>
                    <a:pt x="100451" y="156845"/>
                    <a:pt x="100833" y="156845"/>
                    <a:pt x="101470" y="157353"/>
                  </a:cubicBezTo>
                  <a:cubicBezTo>
                    <a:pt x="101724" y="157480"/>
                    <a:pt x="102106" y="157861"/>
                    <a:pt x="102106" y="158242"/>
                  </a:cubicBezTo>
                  <a:cubicBezTo>
                    <a:pt x="102106" y="159258"/>
                    <a:pt x="101470" y="160274"/>
                    <a:pt x="101088" y="160655"/>
                  </a:cubicBezTo>
                  <a:cubicBezTo>
                    <a:pt x="100833" y="160909"/>
                    <a:pt x="100451" y="161798"/>
                    <a:pt x="100069" y="162433"/>
                  </a:cubicBezTo>
                  <a:cubicBezTo>
                    <a:pt x="97523" y="166243"/>
                    <a:pt x="94340" y="170434"/>
                    <a:pt x="92685" y="174244"/>
                  </a:cubicBezTo>
                  <a:lnTo>
                    <a:pt x="91921" y="176022"/>
                  </a:lnTo>
                  <a:cubicBezTo>
                    <a:pt x="88102" y="185293"/>
                    <a:pt x="88102" y="187071"/>
                    <a:pt x="88102" y="188087"/>
                  </a:cubicBezTo>
                  <a:cubicBezTo>
                    <a:pt x="88102" y="189230"/>
                    <a:pt x="88229" y="189611"/>
                    <a:pt x="88229" y="189865"/>
                  </a:cubicBezTo>
                  <a:cubicBezTo>
                    <a:pt x="88229" y="189865"/>
                    <a:pt x="88229" y="189992"/>
                    <a:pt x="87974" y="190119"/>
                  </a:cubicBezTo>
                  <a:cubicBezTo>
                    <a:pt x="87720" y="190373"/>
                    <a:pt x="87592" y="190500"/>
                    <a:pt x="87338" y="190754"/>
                  </a:cubicBezTo>
                  <a:cubicBezTo>
                    <a:pt x="87210" y="190881"/>
                    <a:pt x="86828" y="191008"/>
                    <a:pt x="86319" y="191008"/>
                  </a:cubicBezTo>
                  <a:cubicBezTo>
                    <a:pt x="85937" y="191008"/>
                    <a:pt x="85301" y="191008"/>
                    <a:pt x="84919" y="190754"/>
                  </a:cubicBezTo>
                  <a:cubicBezTo>
                    <a:pt x="84409" y="190500"/>
                    <a:pt x="84282" y="190373"/>
                    <a:pt x="84282" y="189992"/>
                  </a:cubicBezTo>
                  <a:cubicBezTo>
                    <a:pt x="84282" y="189484"/>
                    <a:pt x="84282" y="189103"/>
                    <a:pt x="84282" y="188722"/>
                  </a:cubicBezTo>
                  <a:cubicBezTo>
                    <a:pt x="84282" y="186563"/>
                    <a:pt x="84537" y="185166"/>
                    <a:pt x="85683" y="181610"/>
                  </a:cubicBezTo>
                  <a:cubicBezTo>
                    <a:pt x="85937" y="180721"/>
                    <a:pt x="85937" y="180721"/>
                    <a:pt x="85937" y="180594"/>
                  </a:cubicBezTo>
                  <a:cubicBezTo>
                    <a:pt x="85937" y="180594"/>
                    <a:pt x="85937" y="180594"/>
                    <a:pt x="85937" y="180594"/>
                  </a:cubicBezTo>
                  <a:cubicBezTo>
                    <a:pt x="85937" y="180594"/>
                    <a:pt x="85937" y="180594"/>
                    <a:pt x="84919" y="181610"/>
                  </a:cubicBezTo>
                  <a:cubicBezTo>
                    <a:pt x="82372" y="184531"/>
                    <a:pt x="79826" y="187198"/>
                    <a:pt x="76898" y="189103"/>
                  </a:cubicBezTo>
                  <a:close/>
                  <a:moveTo>
                    <a:pt x="77280" y="185039"/>
                  </a:moveTo>
                  <a:cubicBezTo>
                    <a:pt x="79953" y="182753"/>
                    <a:pt x="82882" y="179451"/>
                    <a:pt x="85683" y="175641"/>
                  </a:cubicBezTo>
                  <a:cubicBezTo>
                    <a:pt x="86192" y="174879"/>
                    <a:pt x="86574" y="174752"/>
                    <a:pt x="86574" y="174117"/>
                  </a:cubicBezTo>
                  <a:cubicBezTo>
                    <a:pt x="86574" y="173990"/>
                    <a:pt x="86574" y="173736"/>
                    <a:pt x="86192" y="173736"/>
                  </a:cubicBezTo>
                  <a:cubicBezTo>
                    <a:pt x="85810" y="173736"/>
                    <a:pt x="85428" y="173863"/>
                    <a:pt x="84282" y="174752"/>
                  </a:cubicBezTo>
                  <a:cubicBezTo>
                    <a:pt x="80845" y="177038"/>
                    <a:pt x="77662" y="180848"/>
                    <a:pt x="76007" y="184531"/>
                  </a:cubicBezTo>
                  <a:cubicBezTo>
                    <a:pt x="75625" y="185293"/>
                    <a:pt x="75625" y="185547"/>
                    <a:pt x="75625" y="185928"/>
                  </a:cubicBezTo>
                  <a:cubicBezTo>
                    <a:pt x="75625" y="186055"/>
                    <a:pt x="75625" y="186182"/>
                    <a:pt x="75625" y="186182"/>
                  </a:cubicBezTo>
                  <a:cubicBezTo>
                    <a:pt x="75752" y="186182"/>
                    <a:pt x="76007" y="186182"/>
                    <a:pt x="77152" y="185039"/>
                  </a:cubicBezTo>
                  <a:close/>
                  <a:moveTo>
                    <a:pt x="107071" y="176530"/>
                  </a:moveTo>
                  <a:cubicBezTo>
                    <a:pt x="107071" y="176530"/>
                    <a:pt x="106817" y="176911"/>
                    <a:pt x="106435" y="177800"/>
                  </a:cubicBezTo>
                  <a:cubicBezTo>
                    <a:pt x="105162" y="181483"/>
                    <a:pt x="103125" y="184912"/>
                    <a:pt x="100578" y="187960"/>
                  </a:cubicBezTo>
                  <a:cubicBezTo>
                    <a:pt x="99942" y="188849"/>
                    <a:pt x="99433" y="189103"/>
                    <a:pt x="98923" y="189611"/>
                  </a:cubicBezTo>
                  <a:cubicBezTo>
                    <a:pt x="98414" y="190119"/>
                    <a:pt x="98032" y="190246"/>
                    <a:pt x="97141" y="190246"/>
                  </a:cubicBezTo>
                  <a:cubicBezTo>
                    <a:pt x="95740" y="190246"/>
                    <a:pt x="95868" y="189865"/>
                    <a:pt x="94977" y="189230"/>
                  </a:cubicBezTo>
                  <a:cubicBezTo>
                    <a:pt x="93703" y="188341"/>
                    <a:pt x="93576" y="187833"/>
                    <a:pt x="93576" y="187325"/>
                  </a:cubicBezTo>
                  <a:cubicBezTo>
                    <a:pt x="93576" y="186309"/>
                    <a:pt x="93576" y="185674"/>
                    <a:pt x="94085" y="184023"/>
                  </a:cubicBezTo>
                  <a:cubicBezTo>
                    <a:pt x="94213" y="183388"/>
                    <a:pt x="94213" y="183261"/>
                    <a:pt x="94977" y="180848"/>
                  </a:cubicBezTo>
                  <a:cubicBezTo>
                    <a:pt x="95995" y="177546"/>
                    <a:pt x="97141" y="174244"/>
                    <a:pt x="97777" y="170815"/>
                  </a:cubicBezTo>
                  <a:cubicBezTo>
                    <a:pt x="97777" y="170561"/>
                    <a:pt x="98032" y="170307"/>
                    <a:pt x="98287" y="170053"/>
                  </a:cubicBezTo>
                  <a:cubicBezTo>
                    <a:pt x="98414" y="169926"/>
                    <a:pt x="98796" y="169799"/>
                    <a:pt x="99178" y="169799"/>
                  </a:cubicBezTo>
                  <a:cubicBezTo>
                    <a:pt x="99942" y="169799"/>
                    <a:pt x="99942" y="169799"/>
                    <a:pt x="100324" y="169799"/>
                  </a:cubicBezTo>
                  <a:cubicBezTo>
                    <a:pt x="100833" y="169799"/>
                    <a:pt x="101088" y="169799"/>
                    <a:pt x="101470" y="170180"/>
                  </a:cubicBezTo>
                  <a:cubicBezTo>
                    <a:pt x="101470" y="170180"/>
                    <a:pt x="101597" y="170434"/>
                    <a:pt x="101597" y="170561"/>
                  </a:cubicBezTo>
                  <a:cubicBezTo>
                    <a:pt x="101597" y="172847"/>
                    <a:pt x="100706" y="173609"/>
                    <a:pt x="100069" y="175641"/>
                  </a:cubicBezTo>
                  <a:cubicBezTo>
                    <a:pt x="99051" y="178943"/>
                    <a:pt x="98159" y="182245"/>
                    <a:pt x="97268" y="185674"/>
                  </a:cubicBezTo>
                  <a:cubicBezTo>
                    <a:pt x="97014" y="186436"/>
                    <a:pt x="97014" y="186436"/>
                    <a:pt x="97014" y="186436"/>
                  </a:cubicBezTo>
                  <a:cubicBezTo>
                    <a:pt x="97014" y="186436"/>
                    <a:pt x="97014" y="186436"/>
                    <a:pt x="97014" y="186436"/>
                  </a:cubicBezTo>
                  <a:cubicBezTo>
                    <a:pt x="97014" y="186436"/>
                    <a:pt x="97141" y="186436"/>
                    <a:pt x="97395" y="186055"/>
                  </a:cubicBezTo>
                  <a:cubicBezTo>
                    <a:pt x="98923" y="184277"/>
                    <a:pt x="100706" y="181356"/>
                    <a:pt x="101979" y="178435"/>
                  </a:cubicBezTo>
                  <a:cubicBezTo>
                    <a:pt x="102361" y="177673"/>
                    <a:pt x="102361" y="177292"/>
                    <a:pt x="102743" y="176657"/>
                  </a:cubicBezTo>
                  <a:cubicBezTo>
                    <a:pt x="102870" y="176276"/>
                    <a:pt x="103252" y="175006"/>
                    <a:pt x="103252" y="174371"/>
                  </a:cubicBezTo>
                  <a:cubicBezTo>
                    <a:pt x="103252" y="173990"/>
                    <a:pt x="103252" y="173609"/>
                    <a:pt x="102870" y="173355"/>
                  </a:cubicBezTo>
                  <a:cubicBezTo>
                    <a:pt x="102615" y="173101"/>
                    <a:pt x="102361" y="172593"/>
                    <a:pt x="102361" y="172212"/>
                  </a:cubicBezTo>
                  <a:cubicBezTo>
                    <a:pt x="102361" y="171704"/>
                    <a:pt x="102870" y="171196"/>
                    <a:pt x="104016" y="171196"/>
                  </a:cubicBezTo>
                  <a:cubicBezTo>
                    <a:pt x="105416" y="171196"/>
                    <a:pt x="105926" y="171450"/>
                    <a:pt x="106308" y="172339"/>
                  </a:cubicBezTo>
                  <a:cubicBezTo>
                    <a:pt x="106562" y="172974"/>
                    <a:pt x="107199" y="173609"/>
                    <a:pt x="107708" y="173609"/>
                  </a:cubicBezTo>
                  <a:cubicBezTo>
                    <a:pt x="108217" y="173609"/>
                    <a:pt x="108854" y="173355"/>
                    <a:pt x="109872" y="172974"/>
                  </a:cubicBezTo>
                  <a:cubicBezTo>
                    <a:pt x="111527" y="172212"/>
                    <a:pt x="112164" y="172212"/>
                    <a:pt x="112801" y="172212"/>
                  </a:cubicBezTo>
                  <a:cubicBezTo>
                    <a:pt x="113182" y="172212"/>
                    <a:pt x="113946" y="172212"/>
                    <a:pt x="114965" y="172847"/>
                  </a:cubicBezTo>
                  <a:cubicBezTo>
                    <a:pt x="115347" y="173101"/>
                    <a:pt x="115347" y="173355"/>
                    <a:pt x="115347" y="173736"/>
                  </a:cubicBezTo>
                  <a:cubicBezTo>
                    <a:pt x="115347" y="173736"/>
                    <a:pt x="115220" y="173990"/>
                    <a:pt x="114965" y="174117"/>
                  </a:cubicBezTo>
                  <a:cubicBezTo>
                    <a:pt x="112801" y="175387"/>
                    <a:pt x="110763" y="175514"/>
                    <a:pt x="109872" y="176022"/>
                  </a:cubicBezTo>
                  <a:cubicBezTo>
                    <a:pt x="109236" y="176276"/>
                    <a:pt x="109108" y="176276"/>
                    <a:pt x="108472" y="176276"/>
                  </a:cubicBezTo>
                  <a:cubicBezTo>
                    <a:pt x="107453" y="176276"/>
                    <a:pt x="107326" y="176149"/>
                    <a:pt x="106944" y="176149"/>
                  </a:cubicBezTo>
                  <a:cubicBezTo>
                    <a:pt x="106944" y="176149"/>
                    <a:pt x="106817" y="176149"/>
                    <a:pt x="106689" y="176149"/>
                  </a:cubicBezTo>
                  <a:close/>
                  <a:moveTo>
                    <a:pt x="116875" y="186182"/>
                  </a:moveTo>
                  <a:cubicBezTo>
                    <a:pt x="115347" y="187579"/>
                    <a:pt x="114074" y="188595"/>
                    <a:pt x="112546" y="189103"/>
                  </a:cubicBezTo>
                  <a:cubicBezTo>
                    <a:pt x="111527" y="189484"/>
                    <a:pt x="111400" y="189484"/>
                    <a:pt x="111018" y="189484"/>
                  </a:cubicBezTo>
                  <a:cubicBezTo>
                    <a:pt x="110636" y="189484"/>
                    <a:pt x="110382" y="189484"/>
                    <a:pt x="109872" y="189103"/>
                  </a:cubicBezTo>
                  <a:cubicBezTo>
                    <a:pt x="109490" y="188849"/>
                    <a:pt x="108854" y="188341"/>
                    <a:pt x="108090" y="187579"/>
                  </a:cubicBezTo>
                  <a:cubicBezTo>
                    <a:pt x="107708" y="187198"/>
                    <a:pt x="107326" y="186563"/>
                    <a:pt x="107326" y="185674"/>
                  </a:cubicBezTo>
                  <a:cubicBezTo>
                    <a:pt x="107326" y="184785"/>
                    <a:pt x="107581" y="182372"/>
                    <a:pt x="110127" y="178943"/>
                  </a:cubicBezTo>
                  <a:cubicBezTo>
                    <a:pt x="112164" y="176149"/>
                    <a:pt x="114328" y="173990"/>
                    <a:pt x="116111" y="172720"/>
                  </a:cubicBezTo>
                  <a:cubicBezTo>
                    <a:pt x="117766" y="171450"/>
                    <a:pt x="121458" y="169291"/>
                    <a:pt x="123750" y="169291"/>
                  </a:cubicBezTo>
                  <a:cubicBezTo>
                    <a:pt x="124895" y="169291"/>
                    <a:pt x="125787" y="169799"/>
                    <a:pt x="126423" y="170434"/>
                  </a:cubicBezTo>
                  <a:cubicBezTo>
                    <a:pt x="126678" y="170688"/>
                    <a:pt x="126805" y="170942"/>
                    <a:pt x="126805" y="171323"/>
                  </a:cubicBezTo>
                  <a:cubicBezTo>
                    <a:pt x="126805" y="171577"/>
                    <a:pt x="127314" y="172085"/>
                    <a:pt x="127569" y="172085"/>
                  </a:cubicBezTo>
                  <a:cubicBezTo>
                    <a:pt x="128588" y="172085"/>
                    <a:pt x="128715" y="172720"/>
                    <a:pt x="128715" y="172974"/>
                  </a:cubicBezTo>
                  <a:cubicBezTo>
                    <a:pt x="128715" y="173101"/>
                    <a:pt x="128715" y="173228"/>
                    <a:pt x="128588" y="173355"/>
                  </a:cubicBezTo>
                  <a:cubicBezTo>
                    <a:pt x="126678" y="175768"/>
                    <a:pt x="124513" y="178943"/>
                    <a:pt x="123368" y="182118"/>
                  </a:cubicBezTo>
                  <a:cubicBezTo>
                    <a:pt x="122858" y="183515"/>
                    <a:pt x="122476" y="185166"/>
                    <a:pt x="122476" y="186309"/>
                  </a:cubicBezTo>
                  <a:cubicBezTo>
                    <a:pt x="122476" y="187198"/>
                    <a:pt x="122731" y="188214"/>
                    <a:pt x="122986" y="188595"/>
                  </a:cubicBezTo>
                  <a:cubicBezTo>
                    <a:pt x="123240" y="188976"/>
                    <a:pt x="123240" y="189103"/>
                    <a:pt x="123240" y="189103"/>
                  </a:cubicBezTo>
                  <a:cubicBezTo>
                    <a:pt x="123240" y="189103"/>
                    <a:pt x="123113" y="189611"/>
                    <a:pt x="122476" y="189738"/>
                  </a:cubicBezTo>
                  <a:cubicBezTo>
                    <a:pt x="122222" y="189738"/>
                    <a:pt x="121840" y="189865"/>
                    <a:pt x="121331" y="189865"/>
                  </a:cubicBezTo>
                  <a:cubicBezTo>
                    <a:pt x="120185" y="189865"/>
                    <a:pt x="119421" y="189484"/>
                    <a:pt x="119294" y="188976"/>
                  </a:cubicBezTo>
                  <a:cubicBezTo>
                    <a:pt x="119039" y="188087"/>
                    <a:pt x="118912" y="187198"/>
                    <a:pt x="118912" y="186309"/>
                  </a:cubicBezTo>
                  <a:cubicBezTo>
                    <a:pt x="118912" y="185039"/>
                    <a:pt x="119166" y="184023"/>
                    <a:pt x="119166" y="183896"/>
                  </a:cubicBezTo>
                  <a:cubicBezTo>
                    <a:pt x="119166" y="183896"/>
                    <a:pt x="119166" y="183896"/>
                    <a:pt x="119166" y="183896"/>
                  </a:cubicBezTo>
                  <a:cubicBezTo>
                    <a:pt x="119039" y="183896"/>
                    <a:pt x="117766" y="185039"/>
                    <a:pt x="116875" y="185928"/>
                  </a:cubicBezTo>
                  <a:close/>
                  <a:moveTo>
                    <a:pt x="122731" y="172720"/>
                  </a:moveTo>
                  <a:cubicBezTo>
                    <a:pt x="119294" y="174752"/>
                    <a:pt x="116238" y="177038"/>
                    <a:pt x="114074" y="179705"/>
                  </a:cubicBezTo>
                  <a:cubicBezTo>
                    <a:pt x="112291" y="181864"/>
                    <a:pt x="110763" y="184404"/>
                    <a:pt x="110763" y="185547"/>
                  </a:cubicBezTo>
                  <a:cubicBezTo>
                    <a:pt x="110763" y="186309"/>
                    <a:pt x="110891" y="186436"/>
                    <a:pt x="111018" y="186436"/>
                  </a:cubicBezTo>
                  <a:cubicBezTo>
                    <a:pt x="111273" y="186436"/>
                    <a:pt x="111400" y="186436"/>
                    <a:pt x="111655" y="186182"/>
                  </a:cubicBezTo>
                  <a:cubicBezTo>
                    <a:pt x="112037" y="185928"/>
                    <a:pt x="112419" y="185674"/>
                    <a:pt x="112928" y="185166"/>
                  </a:cubicBezTo>
                  <a:cubicBezTo>
                    <a:pt x="116747" y="181610"/>
                    <a:pt x="120694" y="178943"/>
                    <a:pt x="122986" y="175006"/>
                  </a:cubicBezTo>
                  <a:cubicBezTo>
                    <a:pt x="123368" y="174371"/>
                    <a:pt x="123750" y="173863"/>
                    <a:pt x="124259" y="173482"/>
                  </a:cubicBezTo>
                  <a:cubicBezTo>
                    <a:pt x="124259" y="173482"/>
                    <a:pt x="124513" y="173101"/>
                    <a:pt x="124513" y="172847"/>
                  </a:cubicBezTo>
                  <a:cubicBezTo>
                    <a:pt x="124513" y="172339"/>
                    <a:pt x="124259" y="172085"/>
                    <a:pt x="124131" y="172085"/>
                  </a:cubicBezTo>
                  <a:cubicBezTo>
                    <a:pt x="123877" y="172085"/>
                    <a:pt x="123622" y="172085"/>
                    <a:pt x="122731" y="172720"/>
                  </a:cubicBezTo>
                  <a:close/>
                  <a:moveTo>
                    <a:pt x="133044" y="187198"/>
                  </a:moveTo>
                  <a:cubicBezTo>
                    <a:pt x="132662" y="187833"/>
                    <a:pt x="132280" y="188214"/>
                    <a:pt x="132025" y="188341"/>
                  </a:cubicBezTo>
                  <a:cubicBezTo>
                    <a:pt x="131643" y="188595"/>
                    <a:pt x="131388" y="188849"/>
                    <a:pt x="131261" y="189103"/>
                  </a:cubicBezTo>
                  <a:cubicBezTo>
                    <a:pt x="130879" y="189484"/>
                    <a:pt x="130625" y="189738"/>
                    <a:pt x="129351" y="189738"/>
                  </a:cubicBezTo>
                  <a:cubicBezTo>
                    <a:pt x="128715" y="189738"/>
                    <a:pt x="128333" y="189738"/>
                    <a:pt x="127569" y="188849"/>
                  </a:cubicBezTo>
                  <a:cubicBezTo>
                    <a:pt x="126423" y="187960"/>
                    <a:pt x="126169" y="187579"/>
                    <a:pt x="126169" y="187071"/>
                  </a:cubicBezTo>
                  <a:cubicBezTo>
                    <a:pt x="126169" y="185801"/>
                    <a:pt x="126550" y="185039"/>
                    <a:pt x="126805" y="184023"/>
                  </a:cubicBezTo>
                  <a:cubicBezTo>
                    <a:pt x="126932" y="183261"/>
                    <a:pt x="127696" y="181610"/>
                    <a:pt x="128206" y="180467"/>
                  </a:cubicBezTo>
                  <a:lnTo>
                    <a:pt x="129224" y="178435"/>
                  </a:lnTo>
                  <a:cubicBezTo>
                    <a:pt x="130625" y="175641"/>
                    <a:pt x="131643" y="173609"/>
                    <a:pt x="133553" y="170815"/>
                  </a:cubicBezTo>
                  <a:cubicBezTo>
                    <a:pt x="133807" y="170434"/>
                    <a:pt x="133935" y="170180"/>
                    <a:pt x="134189" y="169926"/>
                  </a:cubicBezTo>
                  <a:cubicBezTo>
                    <a:pt x="134571" y="169545"/>
                    <a:pt x="134826" y="169418"/>
                    <a:pt x="135972" y="169418"/>
                  </a:cubicBezTo>
                  <a:cubicBezTo>
                    <a:pt x="137372" y="169418"/>
                    <a:pt x="137627" y="169672"/>
                    <a:pt x="137754" y="170053"/>
                  </a:cubicBezTo>
                  <a:cubicBezTo>
                    <a:pt x="137754" y="170307"/>
                    <a:pt x="137881" y="170561"/>
                    <a:pt x="137881" y="170688"/>
                  </a:cubicBezTo>
                  <a:cubicBezTo>
                    <a:pt x="137881" y="171450"/>
                    <a:pt x="137245" y="172339"/>
                    <a:pt x="136863" y="172847"/>
                  </a:cubicBezTo>
                  <a:cubicBezTo>
                    <a:pt x="136226" y="173355"/>
                    <a:pt x="135335" y="174625"/>
                    <a:pt x="134189" y="176530"/>
                  </a:cubicBezTo>
                  <a:cubicBezTo>
                    <a:pt x="133553" y="177546"/>
                    <a:pt x="132534" y="179578"/>
                    <a:pt x="130879" y="183007"/>
                  </a:cubicBezTo>
                  <a:cubicBezTo>
                    <a:pt x="130625" y="183388"/>
                    <a:pt x="130243" y="184785"/>
                    <a:pt x="130243" y="184912"/>
                  </a:cubicBezTo>
                  <a:cubicBezTo>
                    <a:pt x="130243" y="184912"/>
                    <a:pt x="130243" y="184912"/>
                    <a:pt x="130370" y="184912"/>
                  </a:cubicBezTo>
                  <a:cubicBezTo>
                    <a:pt x="130370" y="184912"/>
                    <a:pt x="130497" y="184912"/>
                    <a:pt x="131770" y="183261"/>
                  </a:cubicBezTo>
                  <a:cubicBezTo>
                    <a:pt x="136481" y="177292"/>
                    <a:pt x="138773" y="175768"/>
                    <a:pt x="139664" y="174117"/>
                  </a:cubicBezTo>
                  <a:cubicBezTo>
                    <a:pt x="140046" y="173482"/>
                    <a:pt x="140300" y="172974"/>
                    <a:pt x="140555" y="172720"/>
                  </a:cubicBezTo>
                  <a:cubicBezTo>
                    <a:pt x="140810" y="172466"/>
                    <a:pt x="141192" y="172339"/>
                    <a:pt x="141574" y="172339"/>
                  </a:cubicBezTo>
                  <a:cubicBezTo>
                    <a:pt x="142465" y="172339"/>
                    <a:pt x="142592" y="172720"/>
                    <a:pt x="143229" y="172847"/>
                  </a:cubicBezTo>
                  <a:cubicBezTo>
                    <a:pt x="143865" y="172847"/>
                    <a:pt x="143993" y="173355"/>
                    <a:pt x="143993" y="173990"/>
                  </a:cubicBezTo>
                  <a:cubicBezTo>
                    <a:pt x="143993" y="173990"/>
                    <a:pt x="143738" y="174625"/>
                    <a:pt x="143611" y="175006"/>
                  </a:cubicBezTo>
                  <a:cubicBezTo>
                    <a:pt x="142083" y="177419"/>
                    <a:pt x="141192" y="179070"/>
                    <a:pt x="140428" y="181102"/>
                  </a:cubicBezTo>
                  <a:cubicBezTo>
                    <a:pt x="140173" y="181737"/>
                    <a:pt x="139664" y="184531"/>
                    <a:pt x="139664" y="184785"/>
                  </a:cubicBezTo>
                  <a:cubicBezTo>
                    <a:pt x="139664" y="185547"/>
                    <a:pt x="139791" y="185801"/>
                    <a:pt x="139918" y="186563"/>
                  </a:cubicBezTo>
                  <a:cubicBezTo>
                    <a:pt x="139918" y="187325"/>
                    <a:pt x="140937" y="187833"/>
                    <a:pt x="141192" y="188087"/>
                  </a:cubicBezTo>
                  <a:cubicBezTo>
                    <a:pt x="141574" y="188341"/>
                    <a:pt x="141701" y="188595"/>
                    <a:pt x="141701" y="189103"/>
                  </a:cubicBezTo>
                  <a:cubicBezTo>
                    <a:pt x="141701" y="189103"/>
                    <a:pt x="141701" y="189484"/>
                    <a:pt x="141446" y="189738"/>
                  </a:cubicBezTo>
                  <a:cubicBezTo>
                    <a:pt x="141064" y="190119"/>
                    <a:pt x="140937" y="190119"/>
                    <a:pt x="140300" y="190119"/>
                  </a:cubicBezTo>
                  <a:cubicBezTo>
                    <a:pt x="139027" y="190119"/>
                    <a:pt x="138136" y="189738"/>
                    <a:pt x="138009" y="189484"/>
                  </a:cubicBezTo>
                  <a:cubicBezTo>
                    <a:pt x="137627" y="188976"/>
                    <a:pt x="137118" y="188722"/>
                    <a:pt x="136608" y="187960"/>
                  </a:cubicBezTo>
                  <a:cubicBezTo>
                    <a:pt x="136354" y="187452"/>
                    <a:pt x="136099" y="186817"/>
                    <a:pt x="136099" y="186055"/>
                  </a:cubicBezTo>
                  <a:cubicBezTo>
                    <a:pt x="136099" y="185547"/>
                    <a:pt x="136099" y="184658"/>
                    <a:pt x="136226" y="184150"/>
                  </a:cubicBezTo>
                  <a:cubicBezTo>
                    <a:pt x="136226" y="183896"/>
                    <a:pt x="136226" y="183642"/>
                    <a:pt x="136226" y="183642"/>
                  </a:cubicBezTo>
                  <a:cubicBezTo>
                    <a:pt x="136226" y="183642"/>
                    <a:pt x="136226" y="183515"/>
                    <a:pt x="136099" y="183515"/>
                  </a:cubicBezTo>
                  <a:cubicBezTo>
                    <a:pt x="136099" y="183515"/>
                    <a:pt x="136099" y="183515"/>
                    <a:pt x="135590" y="184023"/>
                  </a:cubicBezTo>
                  <a:cubicBezTo>
                    <a:pt x="134699" y="185166"/>
                    <a:pt x="133553" y="186690"/>
                    <a:pt x="133171" y="187198"/>
                  </a:cubicBezTo>
                  <a:close/>
                  <a:moveTo>
                    <a:pt x="152395" y="184404"/>
                  </a:moveTo>
                  <a:cubicBezTo>
                    <a:pt x="152395" y="184404"/>
                    <a:pt x="154050" y="183261"/>
                    <a:pt x="155069" y="182499"/>
                  </a:cubicBezTo>
                  <a:cubicBezTo>
                    <a:pt x="155833" y="181991"/>
                    <a:pt x="156597" y="181483"/>
                    <a:pt x="157615" y="181483"/>
                  </a:cubicBezTo>
                  <a:cubicBezTo>
                    <a:pt x="157997" y="181483"/>
                    <a:pt x="158379" y="181483"/>
                    <a:pt x="158888" y="181991"/>
                  </a:cubicBezTo>
                  <a:cubicBezTo>
                    <a:pt x="159016" y="182245"/>
                    <a:pt x="159270" y="182499"/>
                    <a:pt x="159270" y="182626"/>
                  </a:cubicBezTo>
                  <a:cubicBezTo>
                    <a:pt x="159270" y="182753"/>
                    <a:pt x="159143" y="182880"/>
                    <a:pt x="159143" y="183007"/>
                  </a:cubicBezTo>
                  <a:cubicBezTo>
                    <a:pt x="159143" y="183261"/>
                    <a:pt x="159143" y="183388"/>
                    <a:pt x="158761" y="183515"/>
                  </a:cubicBezTo>
                  <a:cubicBezTo>
                    <a:pt x="158124" y="183769"/>
                    <a:pt x="156724" y="184658"/>
                    <a:pt x="154560" y="186436"/>
                  </a:cubicBezTo>
                  <a:cubicBezTo>
                    <a:pt x="152013" y="188468"/>
                    <a:pt x="150231" y="189738"/>
                    <a:pt x="147939" y="189738"/>
                  </a:cubicBezTo>
                  <a:cubicBezTo>
                    <a:pt x="145393" y="189738"/>
                    <a:pt x="144120" y="188214"/>
                    <a:pt x="143865" y="187706"/>
                  </a:cubicBezTo>
                  <a:cubicBezTo>
                    <a:pt x="143611" y="187071"/>
                    <a:pt x="143483" y="186563"/>
                    <a:pt x="143483" y="186055"/>
                  </a:cubicBezTo>
                  <a:cubicBezTo>
                    <a:pt x="143483" y="185039"/>
                    <a:pt x="143993" y="184023"/>
                    <a:pt x="144374" y="182499"/>
                  </a:cubicBezTo>
                  <a:cubicBezTo>
                    <a:pt x="144502" y="181991"/>
                    <a:pt x="145011" y="180975"/>
                    <a:pt x="145393" y="180213"/>
                  </a:cubicBezTo>
                  <a:cubicBezTo>
                    <a:pt x="147685" y="176149"/>
                    <a:pt x="150613" y="171577"/>
                    <a:pt x="153923" y="169926"/>
                  </a:cubicBezTo>
                  <a:cubicBezTo>
                    <a:pt x="154305" y="169799"/>
                    <a:pt x="154432" y="169672"/>
                    <a:pt x="154942" y="169672"/>
                  </a:cubicBezTo>
                  <a:cubicBezTo>
                    <a:pt x="156724" y="169672"/>
                    <a:pt x="158252" y="170434"/>
                    <a:pt x="159143" y="171450"/>
                  </a:cubicBezTo>
                  <a:cubicBezTo>
                    <a:pt x="159270" y="171577"/>
                    <a:pt x="159270" y="171704"/>
                    <a:pt x="159270" y="171831"/>
                  </a:cubicBezTo>
                  <a:cubicBezTo>
                    <a:pt x="159270" y="171958"/>
                    <a:pt x="159270" y="172085"/>
                    <a:pt x="159270" y="172339"/>
                  </a:cubicBezTo>
                  <a:cubicBezTo>
                    <a:pt x="159270" y="172593"/>
                    <a:pt x="159270" y="172593"/>
                    <a:pt x="159270" y="172720"/>
                  </a:cubicBezTo>
                  <a:cubicBezTo>
                    <a:pt x="159270" y="172847"/>
                    <a:pt x="159270" y="172720"/>
                    <a:pt x="159270" y="173101"/>
                  </a:cubicBezTo>
                  <a:cubicBezTo>
                    <a:pt x="159016" y="173736"/>
                    <a:pt x="157997" y="175260"/>
                    <a:pt x="157743" y="176530"/>
                  </a:cubicBezTo>
                  <a:cubicBezTo>
                    <a:pt x="157743" y="176911"/>
                    <a:pt x="157743" y="177165"/>
                    <a:pt x="157488" y="177292"/>
                  </a:cubicBezTo>
                  <a:cubicBezTo>
                    <a:pt x="157233" y="177546"/>
                    <a:pt x="157106" y="177546"/>
                    <a:pt x="156469" y="177546"/>
                  </a:cubicBezTo>
                  <a:cubicBezTo>
                    <a:pt x="156087" y="177546"/>
                    <a:pt x="155705" y="177546"/>
                    <a:pt x="155324" y="177292"/>
                  </a:cubicBezTo>
                  <a:lnTo>
                    <a:pt x="154305" y="176530"/>
                  </a:lnTo>
                  <a:cubicBezTo>
                    <a:pt x="154305" y="176530"/>
                    <a:pt x="153923" y="175895"/>
                    <a:pt x="153923" y="175641"/>
                  </a:cubicBezTo>
                  <a:cubicBezTo>
                    <a:pt x="153923" y="174879"/>
                    <a:pt x="155069" y="173609"/>
                    <a:pt x="155069" y="173228"/>
                  </a:cubicBezTo>
                  <a:cubicBezTo>
                    <a:pt x="155069" y="173228"/>
                    <a:pt x="155069" y="173228"/>
                    <a:pt x="154942" y="173228"/>
                  </a:cubicBezTo>
                  <a:cubicBezTo>
                    <a:pt x="154814" y="173228"/>
                    <a:pt x="154942" y="173228"/>
                    <a:pt x="154305" y="173736"/>
                  </a:cubicBezTo>
                  <a:cubicBezTo>
                    <a:pt x="153032" y="175133"/>
                    <a:pt x="150995" y="177800"/>
                    <a:pt x="149722" y="179959"/>
                  </a:cubicBezTo>
                  <a:cubicBezTo>
                    <a:pt x="148576" y="181737"/>
                    <a:pt x="147048" y="185166"/>
                    <a:pt x="147048" y="186436"/>
                  </a:cubicBezTo>
                  <a:cubicBezTo>
                    <a:pt x="147048" y="186436"/>
                    <a:pt x="147048" y="187071"/>
                    <a:pt x="147557" y="187071"/>
                  </a:cubicBezTo>
                  <a:cubicBezTo>
                    <a:pt x="148703" y="187071"/>
                    <a:pt x="150358" y="186055"/>
                    <a:pt x="152523" y="184531"/>
                  </a:cubicBezTo>
                  <a:close/>
                  <a:moveTo>
                    <a:pt x="164236" y="185420"/>
                  </a:moveTo>
                  <a:cubicBezTo>
                    <a:pt x="165254" y="184658"/>
                    <a:pt x="165636" y="184404"/>
                    <a:pt x="166400" y="184404"/>
                  </a:cubicBezTo>
                  <a:cubicBezTo>
                    <a:pt x="167546" y="184404"/>
                    <a:pt x="167928" y="184658"/>
                    <a:pt x="167928" y="185166"/>
                  </a:cubicBezTo>
                  <a:cubicBezTo>
                    <a:pt x="167928" y="185674"/>
                    <a:pt x="167546" y="186055"/>
                    <a:pt x="167164" y="186309"/>
                  </a:cubicBezTo>
                  <a:lnTo>
                    <a:pt x="165381" y="187960"/>
                  </a:lnTo>
                  <a:cubicBezTo>
                    <a:pt x="164490" y="188722"/>
                    <a:pt x="163090" y="189992"/>
                    <a:pt x="160925" y="189992"/>
                  </a:cubicBezTo>
                  <a:cubicBezTo>
                    <a:pt x="159016" y="189992"/>
                    <a:pt x="157870" y="187579"/>
                    <a:pt x="157870" y="186182"/>
                  </a:cubicBezTo>
                  <a:cubicBezTo>
                    <a:pt x="157870" y="183896"/>
                    <a:pt x="158506" y="182372"/>
                    <a:pt x="158761" y="181610"/>
                  </a:cubicBezTo>
                  <a:cubicBezTo>
                    <a:pt x="159143" y="180848"/>
                    <a:pt x="159398" y="180086"/>
                    <a:pt x="159525" y="179578"/>
                  </a:cubicBezTo>
                  <a:cubicBezTo>
                    <a:pt x="160925" y="176530"/>
                    <a:pt x="162199" y="173609"/>
                    <a:pt x="163981" y="170434"/>
                  </a:cubicBezTo>
                  <a:cubicBezTo>
                    <a:pt x="164363" y="169545"/>
                    <a:pt x="165127" y="169291"/>
                    <a:pt x="166400" y="169291"/>
                  </a:cubicBezTo>
                  <a:cubicBezTo>
                    <a:pt x="166782" y="169291"/>
                    <a:pt x="167546" y="169291"/>
                    <a:pt x="167928" y="169672"/>
                  </a:cubicBezTo>
                  <a:cubicBezTo>
                    <a:pt x="168055" y="169672"/>
                    <a:pt x="168182" y="169926"/>
                    <a:pt x="168182" y="170180"/>
                  </a:cubicBezTo>
                  <a:cubicBezTo>
                    <a:pt x="168182" y="172466"/>
                    <a:pt x="166400" y="173609"/>
                    <a:pt x="165381" y="175641"/>
                  </a:cubicBezTo>
                  <a:cubicBezTo>
                    <a:pt x="164617" y="177165"/>
                    <a:pt x="163344" y="179959"/>
                    <a:pt x="162708" y="181483"/>
                  </a:cubicBezTo>
                  <a:cubicBezTo>
                    <a:pt x="161689" y="183896"/>
                    <a:pt x="161435" y="185420"/>
                    <a:pt x="161435" y="186055"/>
                  </a:cubicBezTo>
                  <a:cubicBezTo>
                    <a:pt x="161435" y="186690"/>
                    <a:pt x="161689" y="186817"/>
                    <a:pt x="161817" y="186817"/>
                  </a:cubicBezTo>
                  <a:cubicBezTo>
                    <a:pt x="162199" y="186817"/>
                    <a:pt x="162835" y="186563"/>
                    <a:pt x="164236" y="185547"/>
                  </a:cubicBezTo>
                  <a:close/>
                  <a:moveTo>
                    <a:pt x="172638" y="162941"/>
                  </a:moveTo>
                  <a:lnTo>
                    <a:pt x="171620" y="164084"/>
                  </a:lnTo>
                  <a:cubicBezTo>
                    <a:pt x="171620" y="164084"/>
                    <a:pt x="170601" y="165100"/>
                    <a:pt x="169837" y="165100"/>
                  </a:cubicBezTo>
                  <a:cubicBezTo>
                    <a:pt x="168437" y="165100"/>
                    <a:pt x="167546" y="164973"/>
                    <a:pt x="167546" y="163322"/>
                  </a:cubicBezTo>
                  <a:cubicBezTo>
                    <a:pt x="167546" y="161036"/>
                    <a:pt x="168564" y="160401"/>
                    <a:pt x="170474" y="160401"/>
                  </a:cubicBezTo>
                  <a:cubicBezTo>
                    <a:pt x="172002" y="160401"/>
                    <a:pt x="172766" y="160782"/>
                    <a:pt x="172766" y="162052"/>
                  </a:cubicBezTo>
                  <a:cubicBezTo>
                    <a:pt x="172766" y="162560"/>
                    <a:pt x="172638" y="162941"/>
                    <a:pt x="172511" y="163195"/>
                  </a:cubicBezTo>
                  <a:close/>
                  <a:moveTo>
                    <a:pt x="173148" y="187198"/>
                  </a:moveTo>
                  <a:cubicBezTo>
                    <a:pt x="172766" y="187833"/>
                    <a:pt x="172384" y="188214"/>
                    <a:pt x="172129" y="188341"/>
                  </a:cubicBezTo>
                  <a:cubicBezTo>
                    <a:pt x="171747" y="188595"/>
                    <a:pt x="171492" y="188849"/>
                    <a:pt x="171365" y="189103"/>
                  </a:cubicBezTo>
                  <a:cubicBezTo>
                    <a:pt x="170983" y="189484"/>
                    <a:pt x="170729" y="189738"/>
                    <a:pt x="169455" y="189738"/>
                  </a:cubicBezTo>
                  <a:cubicBezTo>
                    <a:pt x="168819" y="189738"/>
                    <a:pt x="168437" y="189738"/>
                    <a:pt x="167673" y="188849"/>
                  </a:cubicBezTo>
                  <a:cubicBezTo>
                    <a:pt x="166527" y="187960"/>
                    <a:pt x="166273" y="187579"/>
                    <a:pt x="166273" y="187071"/>
                  </a:cubicBezTo>
                  <a:cubicBezTo>
                    <a:pt x="166273" y="185801"/>
                    <a:pt x="166654" y="185039"/>
                    <a:pt x="166909" y="184023"/>
                  </a:cubicBezTo>
                  <a:cubicBezTo>
                    <a:pt x="167036" y="183261"/>
                    <a:pt x="167800" y="181610"/>
                    <a:pt x="168310" y="180467"/>
                  </a:cubicBezTo>
                  <a:lnTo>
                    <a:pt x="169328" y="178435"/>
                  </a:lnTo>
                  <a:cubicBezTo>
                    <a:pt x="170729" y="175641"/>
                    <a:pt x="171747" y="173609"/>
                    <a:pt x="173657" y="170815"/>
                  </a:cubicBezTo>
                  <a:cubicBezTo>
                    <a:pt x="173911" y="170434"/>
                    <a:pt x="174039" y="170180"/>
                    <a:pt x="174293" y="169926"/>
                  </a:cubicBezTo>
                  <a:cubicBezTo>
                    <a:pt x="174675" y="169545"/>
                    <a:pt x="174930" y="169418"/>
                    <a:pt x="176076" y="169418"/>
                  </a:cubicBezTo>
                  <a:cubicBezTo>
                    <a:pt x="177476" y="169418"/>
                    <a:pt x="177731" y="169672"/>
                    <a:pt x="177858" y="170053"/>
                  </a:cubicBezTo>
                  <a:cubicBezTo>
                    <a:pt x="177858" y="170307"/>
                    <a:pt x="177986" y="170561"/>
                    <a:pt x="177986" y="170688"/>
                  </a:cubicBezTo>
                  <a:cubicBezTo>
                    <a:pt x="177986" y="171450"/>
                    <a:pt x="177349" y="172339"/>
                    <a:pt x="176967" y="172847"/>
                  </a:cubicBezTo>
                  <a:cubicBezTo>
                    <a:pt x="176330" y="173355"/>
                    <a:pt x="175439" y="174625"/>
                    <a:pt x="174293" y="176530"/>
                  </a:cubicBezTo>
                  <a:cubicBezTo>
                    <a:pt x="173657" y="177546"/>
                    <a:pt x="172638" y="179578"/>
                    <a:pt x="170983" y="183007"/>
                  </a:cubicBezTo>
                  <a:cubicBezTo>
                    <a:pt x="170729" y="183388"/>
                    <a:pt x="170347" y="184785"/>
                    <a:pt x="170347" y="184912"/>
                  </a:cubicBezTo>
                  <a:cubicBezTo>
                    <a:pt x="170347" y="184912"/>
                    <a:pt x="170347" y="184912"/>
                    <a:pt x="170474" y="184912"/>
                  </a:cubicBezTo>
                  <a:cubicBezTo>
                    <a:pt x="170474" y="184912"/>
                    <a:pt x="170729" y="184912"/>
                    <a:pt x="171874" y="183261"/>
                  </a:cubicBezTo>
                  <a:cubicBezTo>
                    <a:pt x="176585" y="177292"/>
                    <a:pt x="178877" y="175768"/>
                    <a:pt x="179768" y="174117"/>
                  </a:cubicBezTo>
                  <a:cubicBezTo>
                    <a:pt x="180150" y="173482"/>
                    <a:pt x="180404" y="172974"/>
                    <a:pt x="180659" y="172720"/>
                  </a:cubicBezTo>
                  <a:cubicBezTo>
                    <a:pt x="180914" y="172466"/>
                    <a:pt x="181296" y="172339"/>
                    <a:pt x="181678" y="172339"/>
                  </a:cubicBezTo>
                  <a:cubicBezTo>
                    <a:pt x="182569" y="172339"/>
                    <a:pt x="182696" y="172720"/>
                    <a:pt x="183333" y="172847"/>
                  </a:cubicBezTo>
                  <a:cubicBezTo>
                    <a:pt x="183969" y="172847"/>
                    <a:pt x="184097" y="173355"/>
                    <a:pt x="184097" y="173990"/>
                  </a:cubicBezTo>
                  <a:cubicBezTo>
                    <a:pt x="184097" y="173990"/>
                    <a:pt x="183842" y="174625"/>
                    <a:pt x="183715" y="175006"/>
                  </a:cubicBezTo>
                  <a:cubicBezTo>
                    <a:pt x="182187" y="177419"/>
                    <a:pt x="181296" y="179070"/>
                    <a:pt x="180532" y="181102"/>
                  </a:cubicBezTo>
                  <a:cubicBezTo>
                    <a:pt x="180277" y="181737"/>
                    <a:pt x="179768" y="184531"/>
                    <a:pt x="179768" y="184785"/>
                  </a:cubicBezTo>
                  <a:cubicBezTo>
                    <a:pt x="179768" y="185547"/>
                    <a:pt x="179895" y="185801"/>
                    <a:pt x="180023" y="186563"/>
                  </a:cubicBezTo>
                  <a:cubicBezTo>
                    <a:pt x="180023" y="187325"/>
                    <a:pt x="181041" y="187833"/>
                    <a:pt x="181296" y="188087"/>
                  </a:cubicBezTo>
                  <a:cubicBezTo>
                    <a:pt x="181678" y="188341"/>
                    <a:pt x="181805" y="188595"/>
                    <a:pt x="181805" y="189103"/>
                  </a:cubicBezTo>
                  <a:cubicBezTo>
                    <a:pt x="181805" y="189103"/>
                    <a:pt x="181805" y="189484"/>
                    <a:pt x="181550" y="189738"/>
                  </a:cubicBezTo>
                  <a:cubicBezTo>
                    <a:pt x="181168" y="190119"/>
                    <a:pt x="181041" y="190119"/>
                    <a:pt x="180404" y="190119"/>
                  </a:cubicBezTo>
                  <a:cubicBezTo>
                    <a:pt x="179131" y="190119"/>
                    <a:pt x="178240" y="189738"/>
                    <a:pt x="178113" y="189484"/>
                  </a:cubicBezTo>
                  <a:cubicBezTo>
                    <a:pt x="177731" y="188976"/>
                    <a:pt x="177222" y="188722"/>
                    <a:pt x="176712" y="187960"/>
                  </a:cubicBezTo>
                  <a:cubicBezTo>
                    <a:pt x="176458" y="187452"/>
                    <a:pt x="176203" y="186817"/>
                    <a:pt x="176203" y="186055"/>
                  </a:cubicBezTo>
                  <a:cubicBezTo>
                    <a:pt x="176203" y="185547"/>
                    <a:pt x="176203" y="184658"/>
                    <a:pt x="176330" y="184150"/>
                  </a:cubicBezTo>
                  <a:cubicBezTo>
                    <a:pt x="176330" y="183896"/>
                    <a:pt x="176330" y="183642"/>
                    <a:pt x="176330" y="183642"/>
                  </a:cubicBezTo>
                  <a:cubicBezTo>
                    <a:pt x="176330" y="183642"/>
                    <a:pt x="176330" y="183515"/>
                    <a:pt x="176203" y="183515"/>
                  </a:cubicBezTo>
                  <a:cubicBezTo>
                    <a:pt x="176203" y="183515"/>
                    <a:pt x="176203" y="183515"/>
                    <a:pt x="175694" y="184023"/>
                  </a:cubicBezTo>
                  <a:cubicBezTo>
                    <a:pt x="174803" y="185166"/>
                    <a:pt x="173657" y="186690"/>
                    <a:pt x="173275" y="187198"/>
                  </a:cubicBezTo>
                  <a:close/>
                  <a:moveTo>
                    <a:pt x="200902" y="180340"/>
                  </a:moveTo>
                  <a:cubicBezTo>
                    <a:pt x="200902" y="180340"/>
                    <a:pt x="201793" y="179959"/>
                    <a:pt x="202303" y="179959"/>
                  </a:cubicBezTo>
                  <a:cubicBezTo>
                    <a:pt x="203703" y="179959"/>
                    <a:pt x="203703" y="180594"/>
                    <a:pt x="203703" y="180848"/>
                  </a:cubicBezTo>
                  <a:cubicBezTo>
                    <a:pt x="203703" y="180975"/>
                    <a:pt x="203703" y="181483"/>
                    <a:pt x="203321" y="181864"/>
                  </a:cubicBezTo>
                  <a:cubicBezTo>
                    <a:pt x="195809" y="187579"/>
                    <a:pt x="191863" y="191262"/>
                    <a:pt x="189571" y="196342"/>
                  </a:cubicBezTo>
                  <a:cubicBezTo>
                    <a:pt x="188043" y="199771"/>
                    <a:pt x="186388" y="203200"/>
                    <a:pt x="185752" y="204216"/>
                  </a:cubicBezTo>
                  <a:cubicBezTo>
                    <a:pt x="184860" y="205867"/>
                    <a:pt x="184351" y="205994"/>
                    <a:pt x="182441" y="205994"/>
                  </a:cubicBezTo>
                  <a:cubicBezTo>
                    <a:pt x="181805" y="205994"/>
                    <a:pt x="180150" y="205994"/>
                    <a:pt x="180150" y="204343"/>
                  </a:cubicBezTo>
                  <a:cubicBezTo>
                    <a:pt x="180150" y="202692"/>
                    <a:pt x="181550" y="200660"/>
                    <a:pt x="183205" y="198247"/>
                  </a:cubicBezTo>
                  <a:cubicBezTo>
                    <a:pt x="184860" y="195834"/>
                    <a:pt x="185752" y="194818"/>
                    <a:pt x="186897" y="193294"/>
                  </a:cubicBezTo>
                  <a:cubicBezTo>
                    <a:pt x="187916" y="191897"/>
                    <a:pt x="188807" y="190119"/>
                    <a:pt x="190590" y="186690"/>
                  </a:cubicBezTo>
                  <a:cubicBezTo>
                    <a:pt x="190972" y="186055"/>
                    <a:pt x="190972" y="185801"/>
                    <a:pt x="190972" y="185674"/>
                  </a:cubicBezTo>
                  <a:cubicBezTo>
                    <a:pt x="190972" y="185547"/>
                    <a:pt x="190972" y="185674"/>
                    <a:pt x="190972" y="185674"/>
                  </a:cubicBezTo>
                  <a:cubicBezTo>
                    <a:pt x="190972" y="185674"/>
                    <a:pt x="190590" y="185970"/>
                    <a:pt x="189826" y="186563"/>
                  </a:cubicBezTo>
                  <a:cubicBezTo>
                    <a:pt x="189062" y="187198"/>
                    <a:pt x="188043" y="187833"/>
                    <a:pt x="186643" y="187833"/>
                  </a:cubicBezTo>
                  <a:cubicBezTo>
                    <a:pt x="186006" y="187833"/>
                    <a:pt x="185497" y="187833"/>
                    <a:pt x="185115" y="187579"/>
                  </a:cubicBezTo>
                  <a:cubicBezTo>
                    <a:pt x="184351" y="187198"/>
                    <a:pt x="183587" y="186436"/>
                    <a:pt x="182951" y="185674"/>
                  </a:cubicBezTo>
                  <a:cubicBezTo>
                    <a:pt x="182696" y="185420"/>
                    <a:pt x="182696" y="185420"/>
                    <a:pt x="182696" y="184531"/>
                  </a:cubicBezTo>
                  <a:cubicBezTo>
                    <a:pt x="182696" y="183642"/>
                    <a:pt x="182951" y="182753"/>
                    <a:pt x="183333" y="181991"/>
                  </a:cubicBezTo>
                  <a:cubicBezTo>
                    <a:pt x="183587" y="181356"/>
                    <a:pt x="183842" y="181102"/>
                    <a:pt x="184097" y="180467"/>
                  </a:cubicBezTo>
                  <a:cubicBezTo>
                    <a:pt x="184606" y="179324"/>
                    <a:pt x="187279" y="176149"/>
                    <a:pt x="188298" y="175006"/>
                  </a:cubicBezTo>
                  <a:cubicBezTo>
                    <a:pt x="190462" y="172593"/>
                    <a:pt x="192372" y="171323"/>
                    <a:pt x="193772" y="170561"/>
                  </a:cubicBezTo>
                  <a:cubicBezTo>
                    <a:pt x="194536" y="170180"/>
                    <a:pt x="195682" y="169672"/>
                    <a:pt x="196446" y="169672"/>
                  </a:cubicBezTo>
                  <a:cubicBezTo>
                    <a:pt x="198610" y="169672"/>
                    <a:pt x="200138" y="170434"/>
                    <a:pt x="200647" y="171450"/>
                  </a:cubicBezTo>
                  <a:cubicBezTo>
                    <a:pt x="200902" y="171958"/>
                    <a:pt x="200902" y="172212"/>
                    <a:pt x="200902" y="172466"/>
                  </a:cubicBezTo>
                  <a:cubicBezTo>
                    <a:pt x="200902" y="173355"/>
                    <a:pt x="200902" y="173863"/>
                    <a:pt x="200138" y="175006"/>
                  </a:cubicBezTo>
                  <a:cubicBezTo>
                    <a:pt x="197592" y="179197"/>
                    <a:pt x="196319" y="181737"/>
                    <a:pt x="195555" y="183261"/>
                  </a:cubicBezTo>
                  <a:cubicBezTo>
                    <a:pt x="195428" y="183642"/>
                    <a:pt x="195046" y="184277"/>
                    <a:pt x="195046" y="184404"/>
                  </a:cubicBezTo>
                  <a:cubicBezTo>
                    <a:pt x="195046" y="184531"/>
                    <a:pt x="195046" y="184404"/>
                    <a:pt x="195046" y="184404"/>
                  </a:cubicBezTo>
                  <a:cubicBezTo>
                    <a:pt x="195046" y="184404"/>
                    <a:pt x="195173" y="184404"/>
                    <a:pt x="195682" y="183896"/>
                  </a:cubicBezTo>
                  <a:cubicBezTo>
                    <a:pt x="197337" y="182626"/>
                    <a:pt x="198992" y="181356"/>
                    <a:pt x="200775" y="180340"/>
                  </a:cubicBezTo>
                  <a:close/>
                  <a:moveTo>
                    <a:pt x="195300" y="173101"/>
                  </a:moveTo>
                  <a:cubicBezTo>
                    <a:pt x="194409" y="173736"/>
                    <a:pt x="194282" y="173736"/>
                    <a:pt x="193518" y="174371"/>
                  </a:cubicBezTo>
                  <a:cubicBezTo>
                    <a:pt x="191226" y="176403"/>
                    <a:pt x="188043" y="180340"/>
                    <a:pt x="187025" y="182372"/>
                  </a:cubicBezTo>
                  <a:cubicBezTo>
                    <a:pt x="186516" y="183388"/>
                    <a:pt x="186388" y="183642"/>
                    <a:pt x="186388" y="183896"/>
                  </a:cubicBezTo>
                  <a:cubicBezTo>
                    <a:pt x="186388" y="183896"/>
                    <a:pt x="186388" y="184150"/>
                    <a:pt x="186516" y="184150"/>
                  </a:cubicBezTo>
                  <a:cubicBezTo>
                    <a:pt x="186643" y="184150"/>
                    <a:pt x="186770" y="184150"/>
                    <a:pt x="187916" y="183261"/>
                  </a:cubicBezTo>
                  <a:cubicBezTo>
                    <a:pt x="191226" y="180721"/>
                    <a:pt x="194664" y="176784"/>
                    <a:pt x="197210" y="173228"/>
                  </a:cubicBezTo>
                  <a:cubicBezTo>
                    <a:pt x="197210" y="173228"/>
                    <a:pt x="197252" y="173143"/>
                    <a:pt x="197337" y="172974"/>
                  </a:cubicBezTo>
                  <a:cubicBezTo>
                    <a:pt x="197337" y="172974"/>
                    <a:pt x="197337" y="172974"/>
                    <a:pt x="197337" y="172720"/>
                  </a:cubicBezTo>
                  <a:cubicBezTo>
                    <a:pt x="197337" y="172720"/>
                    <a:pt x="197210" y="172339"/>
                    <a:pt x="196701" y="172339"/>
                  </a:cubicBezTo>
                  <a:cubicBezTo>
                    <a:pt x="196446" y="172339"/>
                    <a:pt x="196319" y="172339"/>
                    <a:pt x="195300" y="173101"/>
                  </a:cubicBezTo>
                  <a:close/>
                  <a:moveTo>
                    <a:pt x="231967" y="174244"/>
                  </a:moveTo>
                  <a:cubicBezTo>
                    <a:pt x="233495" y="173736"/>
                    <a:pt x="233749" y="173736"/>
                    <a:pt x="234258" y="173736"/>
                  </a:cubicBezTo>
                  <a:cubicBezTo>
                    <a:pt x="235659" y="173736"/>
                    <a:pt x="235786" y="174117"/>
                    <a:pt x="236295" y="174117"/>
                  </a:cubicBezTo>
                  <a:cubicBezTo>
                    <a:pt x="236932" y="174117"/>
                    <a:pt x="237441" y="175006"/>
                    <a:pt x="237441" y="175133"/>
                  </a:cubicBezTo>
                  <a:cubicBezTo>
                    <a:pt x="237441" y="175387"/>
                    <a:pt x="237696" y="175387"/>
                    <a:pt x="237696" y="176149"/>
                  </a:cubicBezTo>
                  <a:cubicBezTo>
                    <a:pt x="237696" y="176784"/>
                    <a:pt x="237696" y="176784"/>
                    <a:pt x="237059" y="176784"/>
                  </a:cubicBezTo>
                  <a:cubicBezTo>
                    <a:pt x="236041" y="176784"/>
                    <a:pt x="234386" y="177038"/>
                    <a:pt x="233749" y="177165"/>
                  </a:cubicBezTo>
                  <a:cubicBezTo>
                    <a:pt x="232476" y="177419"/>
                    <a:pt x="231076" y="177800"/>
                    <a:pt x="230439" y="177927"/>
                  </a:cubicBezTo>
                  <a:cubicBezTo>
                    <a:pt x="230057" y="177927"/>
                    <a:pt x="229930" y="178054"/>
                    <a:pt x="229802" y="178308"/>
                  </a:cubicBezTo>
                  <a:cubicBezTo>
                    <a:pt x="228911" y="179578"/>
                    <a:pt x="228529" y="181229"/>
                    <a:pt x="227893" y="182753"/>
                  </a:cubicBezTo>
                  <a:cubicBezTo>
                    <a:pt x="226874" y="185547"/>
                    <a:pt x="226365" y="188468"/>
                    <a:pt x="225856" y="191135"/>
                  </a:cubicBezTo>
                  <a:cubicBezTo>
                    <a:pt x="225856" y="191389"/>
                    <a:pt x="225601" y="191770"/>
                    <a:pt x="224583" y="191770"/>
                  </a:cubicBezTo>
                  <a:cubicBezTo>
                    <a:pt x="223946" y="191770"/>
                    <a:pt x="223564" y="191770"/>
                    <a:pt x="222673" y="191389"/>
                  </a:cubicBezTo>
                  <a:cubicBezTo>
                    <a:pt x="222164" y="191262"/>
                    <a:pt x="222036" y="189992"/>
                    <a:pt x="222036" y="189738"/>
                  </a:cubicBezTo>
                  <a:cubicBezTo>
                    <a:pt x="222036" y="189357"/>
                    <a:pt x="222036" y="188595"/>
                    <a:pt x="222291" y="188087"/>
                  </a:cubicBezTo>
                  <a:cubicBezTo>
                    <a:pt x="223182" y="185674"/>
                    <a:pt x="223819" y="182626"/>
                    <a:pt x="224710" y="180467"/>
                  </a:cubicBezTo>
                  <a:cubicBezTo>
                    <a:pt x="224710" y="180213"/>
                    <a:pt x="224964" y="179578"/>
                    <a:pt x="224964" y="179451"/>
                  </a:cubicBezTo>
                  <a:cubicBezTo>
                    <a:pt x="224964" y="179451"/>
                    <a:pt x="224964" y="179197"/>
                    <a:pt x="224837" y="179197"/>
                  </a:cubicBezTo>
                  <a:cubicBezTo>
                    <a:pt x="224837" y="179197"/>
                    <a:pt x="224710" y="179197"/>
                    <a:pt x="224201" y="179197"/>
                  </a:cubicBezTo>
                  <a:cubicBezTo>
                    <a:pt x="222927" y="179451"/>
                    <a:pt x="220254" y="179959"/>
                    <a:pt x="219745" y="180086"/>
                  </a:cubicBezTo>
                  <a:cubicBezTo>
                    <a:pt x="219745" y="180086"/>
                    <a:pt x="219448" y="180425"/>
                    <a:pt x="218853" y="181102"/>
                  </a:cubicBezTo>
                  <a:cubicBezTo>
                    <a:pt x="218089" y="182753"/>
                    <a:pt x="217580" y="185420"/>
                    <a:pt x="217326" y="185928"/>
                  </a:cubicBezTo>
                  <a:cubicBezTo>
                    <a:pt x="217326" y="186055"/>
                    <a:pt x="217071" y="186563"/>
                    <a:pt x="217071" y="187452"/>
                  </a:cubicBezTo>
                  <a:cubicBezTo>
                    <a:pt x="217071" y="187960"/>
                    <a:pt x="217071" y="188468"/>
                    <a:pt x="217071" y="188722"/>
                  </a:cubicBezTo>
                  <a:cubicBezTo>
                    <a:pt x="217071" y="188976"/>
                    <a:pt x="217071" y="189484"/>
                    <a:pt x="216816" y="189738"/>
                  </a:cubicBezTo>
                  <a:cubicBezTo>
                    <a:pt x="216562" y="189992"/>
                    <a:pt x="216307" y="189992"/>
                    <a:pt x="215798" y="189992"/>
                  </a:cubicBezTo>
                  <a:cubicBezTo>
                    <a:pt x="214779" y="189992"/>
                    <a:pt x="214652" y="189992"/>
                    <a:pt x="214397" y="189738"/>
                  </a:cubicBezTo>
                  <a:cubicBezTo>
                    <a:pt x="214143" y="189484"/>
                    <a:pt x="213506" y="189357"/>
                    <a:pt x="213379" y="189103"/>
                  </a:cubicBezTo>
                  <a:cubicBezTo>
                    <a:pt x="213252" y="188976"/>
                    <a:pt x="213124" y="188722"/>
                    <a:pt x="212997" y="188722"/>
                  </a:cubicBezTo>
                  <a:cubicBezTo>
                    <a:pt x="212742" y="188722"/>
                    <a:pt x="212742" y="188595"/>
                    <a:pt x="212742" y="188341"/>
                  </a:cubicBezTo>
                  <a:cubicBezTo>
                    <a:pt x="212742" y="188214"/>
                    <a:pt x="212870" y="187198"/>
                    <a:pt x="212997" y="186817"/>
                  </a:cubicBezTo>
                  <a:cubicBezTo>
                    <a:pt x="212997" y="186690"/>
                    <a:pt x="213124" y="186309"/>
                    <a:pt x="213252" y="186055"/>
                  </a:cubicBezTo>
                  <a:cubicBezTo>
                    <a:pt x="213506" y="185039"/>
                    <a:pt x="214270" y="182245"/>
                    <a:pt x="214270" y="181991"/>
                  </a:cubicBezTo>
                  <a:cubicBezTo>
                    <a:pt x="214270" y="181864"/>
                    <a:pt x="214270" y="181864"/>
                    <a:pt x="214143" y="181864"/>
                  </a:cubicBezTo>
                  <a:cubicBezTo>
                    <a:pt x="214015" y="181864"/>
                    <a:pt x="213252" y="181864"/>
                    <a:pt x="212615" y="181864"/>
                  </a:cubicBezTo>
                  <a:cubicBezTo>
                    <a:pt x="211215" y="181864"/>
                    <a:pt x="210323" y="181610"/>
                    <a:pt x="209814" y="180848"/>
                  </a:cubicBezTo>
                  <a:cubicBezTo>
                    <a:pt x="209559" y="180594"/>
                    <a:pt x="209559" y="179197"/>
                    <a:pt x="209559" y="179070"/>
                  </a:cubicBezTo>
                  <a:cubicBezTo>
                    <a:pt x="209559" y="178689"/>
                    <a:pt x="209687" y="178435"/>
                    <a:pt x="210578" y="178435"/>
                  </a:cubicBezTo>
                  <a:cubicBezTo>
                    <a:pt x="211342" y="178435"/>
                    <a:pt x="211851" y="178816"/>
                    <a:pt x="212360" y="178816"/>
                  </a:cubicBezTo>
                  <a:cubicBezTo>
                    <a:pt x="212870" y="178816"/>
                    <a:pt x="214652" y="178435"/>
                    <a:pt x="215416" y="178308"/>
                  </a:cubicBezTo>
                  <a:cubicBezTo>
                    <a:pt x="215671" y="178308"/>
                    <a:pt x="215671" y="178308"/>
                    <a:pt x="215798" y="177927"/>
                  </a:cubicBezTo>
                  <a:cubicBezTo>
                    <a:pt x="216562" y="176403"/>
                    <a:pt x="217071" y="174625"/>
                    <a:pt x="217708" y="173101"/>
                  </a:cubicBezTo>
                  <a:cubicBezTo>
                    <a:pt x="219490" y="169418"/>
                    <a:pt x="221654" y="164973"/>
                    <a:pt x="223564" y="161925"/>
                  </a:cubicBezTo>
                  <a:cubicBezTo>
                    <a:pt x="224073" y="161163"/>
                    <a:pt x="224201" y="161163"/>
                    <a:pt x="225219" y="161163"/>
                  </a:cubicBezTo>
                  <a:cubicBezTo>
                    <a:pt x="225983" y="161163"/>
                    <a:pt x="226238" y="161544"/>
                    <a:pt x="227002" y="161798"/>
                  </a:cubicBezTo>
                  <a:cubicBezTo>
                    <a:pt x="227511" y="161925"/>
                    <a:pt x="227638" y="162306"/>
                    <a:pt x="227638" y="162560"/>
                  </a:cubicBezTo>
                  <a:cubicBezTo>
                    <a:pt x="227638" y="162814"/>
                    <a:pt x="227638" y="163068"/>
                    <a:pt x="227383" y="163322"/>
                  </a:cubicBezTo>
                  <a:cubicBezTo>
                    <a:pt x="224710" y="167005"/>
                    <a:pt x="223691" y="170942"/>
                    <a:pt x="220890" y="175768"/>
                  </a:cubicBezTo>
                  <a:cubicBezTo>
                    <a:pt x="220508" y="176530"/>
                    <a:pt x="220508" y="176784"/>
                    <a:pt x="220508" y="176911"/>
                  </a:cubicBezTo>
                  <a:cubicBezTo>
                    <a:pt x="220508" y="176911"/>
                    <a:pt x="220508" y="177038"/>
                    <a:pt x="220636" y="177038"/>
                  </a:cubicBezTo>
                  <a:cubicBezTo>
                    <a:pt x="220636" y="177038"/>
                    <a:pt x="220636" y="177038"/>
                    <a:pt x="221272" y="177038"/>
                  </a:cubicBezTo>
                  <a:cubicBezTo>
                    <a:pt x="222291" y="176784"/>
                    <a:pt x="224073" y="176403"/>
                    <a:pt x="225601" y="176022"/>
                  </a:cubicBezTo>
                  <a:cubicBezTo>
                    <a:pt x="226238" y="175895"/>
                    <a:pt x="226238" y="175768"/>
                    <a:pt x="226492" y="175387"/>
                  </a:cubicBezTo>
                  <a:cubicBezTo>
                    <a:pt x="228020" y="172466"/>
                    <a:pt x="229039" y="169799"/>
                    <a:pt x="230184" y="166751"/>
                  </a:cubicBezTo>
                  <a:cubicBezTo>
                    <a:pt x="230439" y="165989"/>
                    <a:pt x="230566" y="165862"/>
                    <a:pt x="230566" y="165608"/>
                  </a:cubicBezTo>
                  <a:cubicBezTo>
                    <a:pt x="230566" y="165354"/>
                    <a:pt x="230821" y="165227"/>
                    <a:pt x="230948" y="165100"/>
                  </a:cubicBezTo>
                  <a:cubicBezTo>
                    <a:pt x="231203" y="164719"/>
                    <a:pt x="231457" y="164719"/>
                    <a:pt x="232221" y="164719"/>
                  </a:cubicBezTo>
                  <a:cubicBezTo>
                    <a:pt x="232985" y="164719"/>
                    <a:pt x="233240" y="164719"/>
                    <a:pt x="233622" y="164719"/>
                  </a:cubicBezTo>
                  <a:cubicBezTo>
                    <a:pt x="234131" y="164719"/>
                    <a:pt x="234386" y="164719"/>
                    <a:pt x="234640" y="164973"/>
                  </a:cubicBezTo>
                  <a:cubicBezTo>
                    <a:pt x="234895" y="165100"/>
                    <a:pt x="234895" y="165354"/>
                    <a:pt x="234895" y="165735"/>
                  </a:cubicBezTo>
                  <a:cubicBezTo>
                    <a:pt x="234895" y="166243"/>
                    <a:pt x="234640" y="167005"/>
                    <a:pt x="234386" y="167767"/>
                  </a:cubicBezTo>
                  <a:cubicBezTo>
                    <a:pt x="233495" y="169926"/>
                    <a:pt x="232349" y="171831"/>
                    <a:pt x="231457" y="173863"/>
                  </a:cubicBezTo>
                  <a:cubicBezTo>
                    <a:pt x="231330" y="174244"/>
                    <a:pt x="231203" y="174371"/>
                    <a:pt x="231203" y="174371"/>
                  </a:cubicBezTo>
                  <a:cubicBezTo>
                    <a:pt x="231203" y="174371"/>
                    <a:pt x="231203" y="174371"/>
                    <a:pt x="231457" y="174371"/>
                  </a:cubicBezTo>
                  <a:cubicBezTo>
                    <a:pt x="231457" y="174371"/>
                    <a:pt x="231712" y="174371"/>
                    <a:pt x="232094" y="174244"/>
                  </a:cubicBezTo>
                  <a:close/>
                  <a:moveTo>
                    <a:pt x="243680" y="186055"/>
                  </a:moveTo>
                  <a:cubicBezTo>
                    <a:pt x="246481" y="184658"/>
                    <a:pt x="248263" y="182372"/>
                    <a:pt x="250809" y="180721"/>
                  </a:cubicBezTo>
                  <a:cubicBezTo>
                    <a:pt x="251191" y="180467"/>
                    <a:pt x="251573" y="180467"/>
                    <a:pt x="252082" y="180467"/>
                  </a:cubicBezTo>
                  <a:cubicBezTo>
                    <a:pt x="252974" y="180467"/>
                    <a:pt x="253101" y="180975"/>
                    <a:pt x="253101" y="181229"/>
                  </a:cubicBezTo>
                  <a:cubicBezTo>
                    <a:pt x="253101" y="181483"/>
                    <a:pt x="253101" y="181737"/>
                    <a:pt x="253101" y="181864"/>
                  </a:cubicBezTo>
                  <a:cubicBezTo>
                    <a:pt x="253101" y="181991"/>
                    <a:pt x="253101" y="182245"/>
                    <a:pt x="252846" y="182499"/>
                  </a:cubicBezTo>
                  <a:cubicBezTo>
                    <a:pt x="250937" y="184150"/>
                    <a:pt x="250045" y="186182"/>
                    <a:pt x="243680" y="189738"/>
                  </a:cubicBezTo>
                  <a:cubicBezTo>
                    <a:pt x="242916" y="190119"/>
                    <a:pt x="242661" y="190119"/>
                    <a:pt x="241897" y="190119"/>
                  </a:cubicBezTo>
                  <a:cubicBezTo>
                    <a:pt x="241388" y="190119"/>
                    <a:pt x="240624" y="190119"/>
                    <a:pt x="239988" y="189865"/>
                  </a:cubicBezTo>
                  <a:cubicBezTo>
                    <a:pt x="239096" y="189484"/>
                    <a:pt x="237823" y="188849"/>
                    <a:pt x="237569" y="188722"/>
                  </a:cubicBezTo>
                  <a:cubicBezTo>
                    <a:pt x="236932" y="188214"/>
                    <a:pt x="235659" y="187198"/>
                    <a:pt x="235659" y="183261"/>
                  </a:cubicBezTo>
                  <a:cubicBezTo>
                    <a:pt x="235659" y="182499"/>
                    <a:pt x="235659" y="182372"/>
                    <a:pt x="236041" y="181356"/>
                  </a:cubicBezTo>
                  <a:cubicBezTo>
                    <a:pt x="237441" y="177165"/>
                    <a:pt x="240370" y="173482"/>
                    <a:pt x="243552" y="170180"/>
                  </a:cubicBezTo>
                  <a:cubicBezTo>
                    <a:pt x="244316" y="169418"/>
                    <a:pt x="245844" y="168275"/>
                    <a:pt x="248263" y="168275"/>
                  </a:cubicBezTo>
                  <a:cubicBezTo>
                    <a:pt x="249536" y="168275"/>
                    <a:pt x="250300" y="168529"/>
                    <a:pt x="250937" y="168783"/>
                  </a:cubicBezTo>
                  <a:cubicBezTo>
                    <a:pt x="251319" y="168910"/>
                    <a:pt x="251955" y="169672"/>
                    <a:pt x="251955" y="170815"/>
                  </a:cubicBezTo>
                  <a:cubicBezTo>
                    <a:pt x="251955" y="171577"/>
                    <a:pt x="251955" y="172466"/>
                    <a:pt x="250809" y="174244"/>
                  </a:cubicBezTo>
                  <a:cubicBezTo>
                    <a:pt x="250173" y="175387"/>
                    <a:pt x="249918" y="175641"/>
                    <a:pt x="249409" y="176149"/>
                  </a:cubicBezTo>
                  <a:cubicBezTo>
                    <a:pt x="245844" y="180086"/>
                    <a:pt x="243298" y="182753"/>
                    <a:pt x="239988" y="184785"/>
                  </a:cubicBezTo>
                  <a:cubicBezTo>
                    <a:pt x="239478" y="185039"/>
                    <a:pt x="239351" y="185166"/>
                    <a:pt x="239351" y="185547"/>
                  </a:cubicBezTo>
                  <a:cubicBezTo>
                    <a:pt x="239351" y="186182"/>
                    <a:pt x="239860" y="186817"/>
                    <a:pt x="240115" y="187071"/>
                  </a:cubicBezTo>
                  <a:cubicBezTo>
                    <a:pt x="240497" y="187325"/>
                    <a:pt x="240751" y="187452"/>
                    <a:pt x="241006" y="187452"/>
                  </a:cubicBezTo>
                  <a:cubicBezTo>
                    <a:pt x="241261" y="187452"/>
                    <a:pt x="241515" y="187452"/>
                    <a:pt x="243680" y="186309"/>
                  </a:cubicBezTo>
                  <a:close/>
                  <a:moveTo>
                    <a:pt x="240115" y="180340"/>
                  </a:moveTo>
                  <a:cubicBezTo>
                    <a:pt x="240115" y="180340"/>
                    <a:pt x="240115" y="180340"/>
                    <a:pt x="240115" y="180340"/>
                  </a:cubicBezTo>
                  <a:cubicBezTo>
                    <a:pt x="240115" y="180340"/>
                    <a:pt x="240242" y="180340"/>
                    <a:pt x="241388" y="179324"/>
                  </a:cubicBezTo>
                  <a:cubicBezTo>
                    <a:pt x="243043" y="177927"/>
                    <a:pt x="244571" y="176149"/>
                    <a:pt x="245844" y="174625"/>
                  </a:cubicBezTo>
                  <a:cubicBezTo>
                    <a:pt x="246481" y="173990"/>
                    <a:pt x="246608" y="173482"/>
                    <a:pt x="246863" y="172974"/>
                  </a:cubicBezTo>
                  <a:cubicBezTo>
                    <a:pt x="247244" y="172339"/>
                    <a:pt x="247754" y="171704"/>
                    <a:pt x="247754" y="171196"/>
                  </a:cubicBezTo>
                  <a:cubicBezTo>
                    <a:pt x="247754" y="171069"/>
                    <a:pt x="247754" y="170942"/>
                    <a:pt x="247499" y="170942"/>
                  </a:cubicBezTo>
                  <a:cubicBezTo>
                    <a:pt x="247244" y="170942"/>
                    <a:pt x="246863" y="171323"/>
                    <a:pt x="246608" y="171450"/>
                  </a:cubicBezTo>
                  <a:cubicBezTo>
                    <a:pt x="244698" y="173101"/>
                    <a:pt x="242025" y="176149"/>
                    <a:pt x="240751" y="178435"/>
                  </a:cubicBezTo>
                  <a:cubicBezTo>
                    <a:pt x="240115" y="179578"/>
                    <a:pt x="239860" y="180213"/>
                    <a:pt x="239860" y="180213"/>
                  </a:cubicBezTo>
                  <a:close/>
                  <a:moveTo>
                    <a:pt x="258830" y="186182"/>
                  </a:moveTo>
                  <a:cubicBezTo>
                    <a:pt x="257302" y="187579"/>
                    <a:pt x="255902" y="188595"/>
                    <a:pt x="254501" y="189103"/>
                  </a:cubicBezTo>
                  <a:cubicBezTo>
                    <a:pt x="253483" y="189484"/>
                    <a:pt x="253356" y="189484"/>
                    <a:pt x="252974" y="189484"/>
                  </a:cubicBezTo>
                  <a:cubicBezTo>
                    <a:pt x="252592" y="189484"/>
                    <a:pt x="252337" y="189484"/>
                    <a:pt x="251828" y="189103"/>
                  </a:cubicBezTo>
                  <a:cubicBezTo>
                    <a:pt x="251446" y="188849"/>
                    <a:pt x="250809" y="188341"/>
                    <a:pt x="250045" y="187579"/>
                  </a:cubicBezTo>
                  <a:cubicBezTo>
                    <a:pt x="249663" y="187198"/>
                    <a:pt x="249282" y="186563"/>
                    <a:pt x="249282" y="185674"/>
                  </a:cubicBezTo>
                  <a:cubicBezTo>
                    <a:pt x="249282" y="184785"/>
                    <a:pt x="249536" y="182372"/>
                    <a:pt x="252082" y="178943"/>
                  </a:cubicBezTo>
                  <a:cubicBezTo>
                    <a:pt x="254119" y="176149"/>
                    <a:pt x="256411" y="173990"/>
                    <a:pt x="258194" y="172720"/>
                  </a:cubicBezTo>
                  <a:cubicBezTo>
                    <a:pt x="259849" y="171450"/>
                    <a:pt x="263668" y="169291"/>
                    <a:pt x="265960" y="169291"/>
                  </a:cubicBezTo>
                  <a:cubicBezTo>
                    <a:pt x="267233" y="169291"/>
                    <a:pt x="267997" y="169799"/>
                    <a:pt x="268633" y="170434"/>
                  </a:cubicBezTo>
                  <a:cubicBezTo>
                    <a:pt x="268888" y="170688"/>
                    <a:pt x="269015" y="170942"/>
                    <a:pt x="269015" y="171323"/>
                  </a:cubicBezTo>
                  <a:cubicBezTo>
                    <a:pt x="269015" y="171577"/>
                    <a:pt x="269525" y="172085"/>
                    <a:pt x="269779" y="172085"/>
                  </a:cubicBezTo>
                  <a:cubicBezTo>
                    <a:pt x="270798" y="172085"/>
                    <a:pt x="271052" y="172720"/>
                    <a:pt x="271052" y="172974"/>
                  </a:cubicBezTo>
                  <a:cubicBezTo>
                    <a:pt x="271052" y="173101"/>
                    <a:pt x="271052" y="173228"/>
                    <a:pt x="270925" y="173355"/>
                  </a:cubicBezTo>
                  <a:cubicBezTo>
                    <a:pt x="269015" y="175768"/>
                    <a:pt x="266724" y="178943"/>
                    <a:pt x="265705" y="182118"/>
                  </a:cubicBezTo>
                  <a:cubicBezTo>
                    <a:pt x="265196" y="183515"/>
                    <a:pt x="264814" y="185166"/>
                    <a:pt x="264814" y="186309"/>
                  </a:cubicBezTo>
                  <a:cubicBezTo>
                    <a:pt x="264814" y="187198"/>
                    <a:pt x="265068" y="188214"/>
                    <a:pt x="265323" y="188595"/>
                  </a:cubicBezTo>
                  <a:cubicBezTo>
                    <a:pt x="265578" y="188976"/>
                    <a:pt x="265578" y="189103"/>
                    <a:pt x="265578" y="189103"/>
                  </a:cubicBezTo>
                  <a:cubicBezTo>
                    <a:pt x="265578" y="189103"/>
                    <a:pt x="265450" y="189611"/>
                    <a:pt x="264687" y="189738"/>
                  </a:cubicBezTo>
                  <a:cubicBezTo>
                    <a:pt x="264432" y="189738"/>
                    <a:pt x="264050" y="189865"/>
                    <a:pt x="263541" y="189865"/>
                  </a:cubicBezTo>
                  <a:cubicBezTo>
                    <a:pt x="262395" y="189865"/>
                    <a:pt x="261631" y="189484"/>
                    <a:pt x="261504" y="188976"/>
                  </a:cubicBezTo>
                  <a:cubicBezTo>
                    <a:pt x="261249" y="188087"/>
                    <a:pt x="261122" y="187198"/>
                    <a:pt x="261122" y="186309"/>
                  </a:cubicBezTo>
                  <a:cubicBezTo>
                    <a:pt x="261122" y="185039"/>
                    <a:pt x="261376" y="184023"/>
                    <a:pt x="261376" y="183896"/>
                  </a:cubicBezTo>
                  <a:cubicBezTo>
                    <a:pt x="261376" y="183896"/>
                    <a:pt x="261376" y="183896"/>
                    <a:pt x="261376" y="183896"/>
                  </a:cubicBezTo>
                  <a:cubicBezTo>
                    <a:pt x="261249" y="183896"/>
                    <a:pt x="259976" y="185039"/>
                    <a:pt x="258957" y="185928"/>
                  </a:cubicBezTo>
                  <a:close/>
                  <a:moveTo>
                    <a:pt x="264814" y="172720"/>
                  </a:moveTo>
                  <a:cubicBezTo>
                    <a:pt x="261249" y="174752"/>
                    <a:pt x="258194" y="177038"/>
                    <a:pt x="256029" y="179705"/>
                  </a:cubicBezTo>
                  <a:cubicBezTo>
                    <a:pt x="254247" y="181864"/>
                    <a:pt x="252719" y="184404"/>
                    <a:pt x="252719" y="185547"/>
                  </a:cubicBezTo>
                  <a:cubicBezTo>
                    <a:pt x="252719" y="186309"/>
                    <a:pt x="252846" y="186436"/>
                    <a:pt x="252974" y="186436"/>
                  </a:cubicBezTo>
                  <a:cubicBezTo>
                    <a:pt x="253228" y="186436"/>
                    <a:pt x="253356" y="186436"/>
                    <a:pt x="253610" y="186182"/>
                  </a:cubicBezTo>
                  <a:cubicBezTo>
                    <a:pt x="253992" y="185928"/>
                    <a:pt x="254374" y="185674"/>
                    <a:pt x="254883" y="185166"/>
                  </a:cubicBezTo>
                  <a:cubicBezTo>
                    <a:pt x="258830" y="181610"/>
                    <a:pt x="262777" y="178943"/>
                    <a:pt x="265196" y="175006"/>
                  </a:cubicBezTo>
                  <a:cubicBezTo>
                    <a:pt x="265578" y="174371"/>
                    <a:pt x="265960" y="173863"/>
                    <a:pt x="266469" y="173482"/>
                  </a:cubicBezTo>
                  <a:cubicBezTo>
                    <a:pt x="266469" y="173482"/>
                    <a:pt x="266724" y="173101"/>
                    <a:pt x="266724" y="172847"/>
                  </a:cubicBezTo>
                  <a:cubicBezTo>
                    <a:pt x="266724" y="172339"/>
                    <a:pt x="266469" y="172085"/>
                    <a:pt x="266342" y="172085"/>
                  </a:cubicBezTo>
                  <a:cubicBezTo>
                    <a:pt x="266087" y="172085"/>
                    <a:pt x="265832" y="172085"/>
                    <a:pt x="264941" y="172720"/>
                  </a:cubicBezTo>
                  <a:close/>
                  <a:moveTo>
                    <a:pt x="272962" y="187452"/>
                  </a:moveTo>
                  <a:cubicBezTo>
                    <a:pt x="272962" y="187452"/>
                    <a:pt x="273217" y="187452"/>
                    <a:pt x="273599" y="187071"/>
                  </a:cubicBezTo>
                  <a:cubicBezTo>
                    <a:pt x="274362" y="186436"/>
                    <a:pt x="275254" y="185547"/>
                    <a:pt x="276145" y="184658"/>
                  </a:cubicBezTo>
                  <a:cubicBezTo>
                    <a:pt x="277163" y="183642"/>
                    <a:pt x="278055" y="182753"/>
                    <a:pt x="279455" y="182753"/>
                  </a:cubicBezTo>
                  <a:cubicBezTo>
                    <a:pt x="280092" y="182753"/>
                    <a:pt x="280219" y="182753"/>
                    <a:pt x="280601" y="183007"/>
                  </a:cubicBezTo>
                  <a:cubicBezTo>
                    <a:pt x="280855" y="183134"/>
                    <a:pt x="281110" y="183388"/>
                    <a:pt x="281110" y="183769"/>
                  </a:cubicBezTo>
                  <a:cubicBezTo>
                    <a:pt x="281110" y="184277"/>
                    <a:pt x="280601" y="184404"/>
                    <a:pt x="280219" y="184912"/>
                  </a:cubicBezTo>
                  <a:cubicBezTo>
                    <a:pt x="278946" y="186182"/>
                    <a:pt x="277800" y="187833"/>
                    <a:pt x="277036" y="188468"/>
                  </a:cubicBezTo>
                  <a:cubicBezTo>
                    <a:pt x="275890" y="189484"/>
                    <a:pt x="274744" y="190373"/>
                    <a:pt x="272707" y="190373"/>
                  </a:cubicBezTo>
                  <a:cubicBezTo>
                    <a:pt x="272198" y="190373"/>
                    <a:pt x="271689" y="190373"/>
                    <a:pt x="270543" y="189611"/>
                  </a:cubicBezTo>
                  <a:cubicBezTo>
                    <a:pt x="270034" y="189357"/>
                    <a:pt x="269525" y="188976"/>
                    <a:pt x="269143" y="188214"/>
                  </a:cubicBezTo>
                  <a:cubicBezTo>
                    <a:pt x="268888" y="187833"/>
                    <a:pt x="268761" y="187198"/>
                    <a:pt x="268761" y="186436"/>
                  </a:cubicBezTo>
                  <a:cubicBezTo>
                    <a:pt x="268761" y="185674"/>
                    <a:pt x="268761" y="185166"/>
                    <a:pt x="269143" y="184023"/>
                  </a:cubicBezTo>
                  <a:cubicBezTo>
                    <a:pt x="269525" y="182753"/>
                    <a:pt x="269779" y="182245"/>
                    <a:pt x="270925" y="179705"/>
                  </a:cubicBezTo>
                  <a:cubicBezTo>
                    <a:pt x="272962" y="175006"/>
                    <a:pt x="277036" y="168402"/>
                    <a:pt x="280346" y="162941"/>
                  </a:cubicBezTo>
                  <a:cubicBezTo>
                    <a:pt x="280728" y="162306"/>
                    <a:pt x="280983" y="161544"/>
                    <a:pt x="281365" y="160782"/>
                  </a:cubicBezTo>
                  <a:cubicBezTo>
                    <a:pt x="281747" y="160020"/>
                    <a:pt x="282001" y="159639"/>
                    <a:pt x="283274" y="159512"/>
                  </a:cubicBezTo>
                  <a:cubicBezTo>
                    <a:pt x="283656" y="159512"/>
                    <a:pt x="283911" y="159512"/>
                    <a:pt x="284675" y="159512"/>
                  </a:cubicBezTo>
                  <a:cubicBezTo>
                    <a:pt x="285057" y="159512"/>
                    <a:pt x="285693" y="159512"/>
                    <a:pt x="286075" y="160020"/>
                  </a:cubicBezTo>
                  <a:cubicBezTo>
                    <a:pt x="286075" y="160147"/>
                    <a:pt x="286330" y="160528"/>
                    <a:pt x="286330" y="161036"/>
                  </a:cubicBezTo>
                  <a:cubicBezTo>
                    <a:pt x="286330" y="161925"/>
                    <a:pt x="286075" y="162306"/>
                    <a:pt x="285439" y="163322"/>
                  </a:cubicBezTo>
                  <a:cubicBezTo>
                    <a:pt x="281492" y="169164"/>
                    <a:pt x="277163" y="174498"/>
                    <a:pt x="274490" y="180721"/>
                  </a:cubicBezTo>
                  <a:cubicBezTo>
                    <a:pt x="273853" y="181991"/>
                    <a:pt x="273599" y="182753"/>
                    <a:pt x="273217" y="183769"/>
                  </a:cubicBezTo>
                  <a:cubicBezTo>
                    <a:pt x="272835" y="184912"/>
                    <a:pt x="272580" y="186309"/>
                    <a:pt x="272580" y="186690"/>
                  </a:cubicBezTo>
                  <a:cubicBezTo>
                    <a:pt x="272580" y="187579"/>
                    <a:pt x="272962" y="187833"/>
                    <a:pt x="273089" y="187833"/>
                  </a:cubicBezTo>
                  <a:close/>
                  <a:moveTo>
                    <a:pt x="288494" y="174498"/>
                  </a:moveTo>
                  <a:cubicBezTo>
                    <a:pt x="288494" y="174498"/>
                    <a:pt x="288876" y="174498"/>
                    <a:pt x="289895" y="174117"/>
                  </a:cubicBezTo>
                  <a:cubicBezTo>
                    <a:pt x="291423" y="173609"/>
                    <a:pt x="292950" y="172974"/>
                    <a:pt x="293969" y="172339"/>
                  </a:cubicBezTo>
                  <a:cubicBezTo>
                    <a:pt x="294351" y="172085"/>
                    <a:pt x="294351" y="172085"/>
                    <a:pt x="294860" y="172085"/>
                  </a:cubicBezTo>
                  <a:cubicBezTo>
                    <a:pt x="295751" y="172085"/>
                    <a:pt x="297024" y="172593"/>
                    <a:pt x="297024" y="173228"/>
                  </a:cubicBezTo>
                  <a:cubicBezTo>
                    <a:pt x="297024" y="173736"/>
                    <a:pt x="296388" y="174371"/>
                    <a:pt x="295624" y="174752"/>
                  </a:cubicBezTo>
                  <a:cubicBezTo>
                    <a:pt x="294605" y="175260"/>
                    <a:pt x="294605" y="175260"/>
                    <a:pt x="293842" y="175641"/>
                  </a:cubicBezTo>
                  <a:cubicBezTo>
                    <a:pt x="291932" y="176403"/>
                    <a:pt x="288494" y="177165"/>
                    <a:pt x="287730" y="177419"/>
                  </a:cubicBezTo>
                  <a:cubicBezTo>
                    <a:pt x="287476" y="177419"/>
                    <a:pt x="287221" y="177800"/>
                    <a:pt x="286967" y="178054"/>
                  </a:cubicBezTo>
                  <a:cubicBezTo>
                    <a:pt x="286967" y="178054"/>
                    <a:pt x="286712" y="178562"/>
                    <a:pt x="286075" y="180086"/>
                  </a:cubicBezTo>
                  <a:cubicBezTo>
                    <a:pt x="285948" y="180467"/>
                    <a:pt x="285566" y="181229"/>
                    <a:pt x="285566" y="181356"/>
                  </a:cubicBezTo>
                  <a:cubicBezTo>
                    <a:pt x="285311" y="182626"/>
                    <a:pt x="283656" y="186309"/>
                    <a:pt x="283274" y="188341"/>
                  </a:cubicBezTo>
                  <a:cubicBezTo>
                    <a:pt x="283147" y="188976"/>
                    <a:pt x="282765" y="189738"/>
                    <a:pt x="282256" y="189992"/>
                  </a:cubicBezTo>
                  <a:cubicBezTo>
                    <a:pt x="282001" y="189992"/>
                    <a:pt x="281492" y="189992"/>
                    <a:pt x="281237" y="189992"/>
                  </a:cubicBezTo>
                  <a:cubicBezTo>
                    <a:pt x="280983" y="189992"/>
                    <a:pt x="279964" y="189992"/>
                    <a:pt x="279455" y="189484"/>
                  </a:cubicBezTo>
                  <a:cubicBezTo>
                    <a:pt x="279200" y="189230"/>
                    <a:pt x="279073" y="188849"/>
                    <a:pt x="279073" y="188468"/>
                  </a:cubicBezTo>
                  <a:cubicBezTo>
                    <a:pt x="279073" y="188341"/>
                    <a:pt x="279073" y="187833"/>
                    <a:pt x="279328" y="187198"/>
                  </a:cubicBezTo>
                  <a:cubicBezTo>
                    <a:pt x="280601" y="184150"/>
                    <a:pt x="281365" y="180975"/>
                    <a:pt x="282893" y="177673"/>
                  </a:cubicBezTo>
                  <a:cubicBezTo>
                    <a:pt x="283147" y="177165"/>
                    <a:pt x="283147" y="177038"/>
                    <a:pt x="283147" y="176911"/>
                  </a:cubicBezTo>
                  <a:cubicBezTo>
                    <a:pt x="283147" y="176784"/>
                    <a:pt x="283147" y="176657"/>
                    <a:pt x="282893" y="176657"/>
                  </a:cubicBezTo>
                  <a:cubicBezTo>
                    <a:pt x="281619" y="175895"/>
                    <a:pt x="281365" y="174879"/>
                    <a:pt x="280855" y="174244"/>
                  </a:cubicBezTo>
                  <a:cubicBezTo>
                    <a:pt x="280601" y="173990"/>
                    <a:pt x="280601" y="173863"/>
                    <a:pt x="280601" y="173609"/>
                  </a:cubicBezTo>
                  <a:cubicBezTo>
                    <a:pt x="280601" y="173482"/>
                    <a:pt x="280601" y="173355"/>
                    <a:pt x="280983" y="173101"/>
                  </a:cubicBezTo>
                  <a:cubicBezTo>
                    <a:pt x="281492" y="172847"/>
                    <a:pt x="281747" y="172720"/>
                    <a:pt x="282383" y="172720"/>
                  </a:cubicBezTo>
                  <a:cubicBezTo>
                    <a:pt x="282765" y="172720"/>
                    <a:pt x="283020" y="172720"/>
                    <a:pt x="283402" y="172720"/>
                  </a:cubicBezTo>
                  <a:cubicBezTo>
                    <a:pt x="283784" y="172720"/>
                    <a:pt x="284548" y="173228"/>
                    <a:pt x="284802" y="173228"/>
                  </a:cubicBezTo>
                  <a:cubicBezTo>
                    <a:pt x="285057" y="173228"/>
                    <a:pt x="285184" y="172974"/>
                    <a:pt x="285184" y="172720"/>
                  </a:cubicBezTo>
                  <a:cubicBezTo>
                    <a:pt x="285184" y="172593"/>
                    <a:pt x="285821" y="170942"/>
                    <a:pt x="285948" y="170815"/>
                  </a:cubicBezTo>
                  <a:cubicBezTo>
                    <a:pt x="287094" y="168275"/>
                    <a:pt x="288494" y="165100"/>
                    <a:pt x="289895" y="162052"/>
                  </a:cubicBezTo>
                  <a:cubicBezTo>
                    <a:pt x="290149" y="161544"/>
                    <a:pt x="290277" y="161417"/>
                    <a:pt x="290659" y="161417"/>
                  </a:cubicBezTo>
                  <a:cubicBezTo>
                    <a:pt x="291041" y="161417"/>
                    <a:pt x="291295" y="161163"/>
                    <a:pt x="291932" y="161163"/>
                  </a:cubicBezTo>
                  <a:cubicBezTo>
                    <a:pt x="292823" y="161163"/>
                    <a:pt x="294223" y="161544"/>
                    <a:pt x="294223" y="161925"/>
                  </a:cubicBezTo>
                  <a:cubicBezTo>
                    <a:pt x="294223" y="161925"/>
                    <a:pt x="294223" y="162560"/>
                    <a:pt x="293587" y="163957"/>
                  </a:cubicBezTo>
                  <a:cubicBezTo>
                    <a:pt x="292568" y="166497"/>
                    <a:pt x="291041" y="168910"/>
                    <a:pt x="289768" y="171196"/>
                  </a:cubicBezTo>
                  <a:cubicBezTo>
                    <a:pt x="289386" y="171831"/>
                    <a:pt x="288749" y="173482"/>
                    <a:pt x="288749" y="173609"/>
                  </a:cubicBezTo>
                  <a:cubicBezTo>
                    <a:pt x="288749" y="173736"/>
                    <a:pt x="288749" y="173609"/>
                    <a:pt x="289004" y="173609"/>
                  </a:cubicBezTo>
                  <a:close/>
                  <a:moveTo>
                    <a:pt x="305936" y="170307"/>
                  </a:moveTo>
                  <a:cubicBezTo>
                    <a:pt x="305936" y="170307"/>
                    <a:pt x="306828" y="170307"/>
                    <a:pt x="307719" y="170561"/>
                  </a:cubicBezTo>
                  <a:cubicBezTo>
                    <a:pt x="308101" y="170561"/>
                    <a:pt x="308355" y="171069"/>
                    <a:pt x="308355" y="171450"/>
                  </a:cubicBezTo>
                  <a:cubicBezTo>
                    <a:pt x="308355" y="172466"/>
                    <a:pt x="307846" y="173355"/>
                    <a:pt x="306955" y="174752"/>
                  </a:cubicBezTo>
                  <a:cubicBezTo>
                    <a:pt x="306064" y="176149"/>
                    <a:pt x="305936" y="176784"/>
                    <a:pt x="305682" y="177292"/>
                  </a:cubicBezTo>
                  <a:cubicBezTo>
                    <a:pt x="304663" y="179324"/>
                    <a:pt x="303645" y="182118"/>
                    <a:pt x="303136" y="184658"/>
                  </a:cubicBezTo>
                  <a:cubicBezTo>
                    <a:pt x="303008" y="185420"/>
                    <a:pt x="302881" y="185801"/>
                    <a:pt x="302881" y="187198"/>
                  </a:cubicBezTo>
                  <a:cubicBezTo>
                    <a:pt x="302881" y="188341"/>
                    <a:pt x="303136" y="188595"/>
                    <a:pt x="303645" y="188976"/>
                  </a:cubicBezTo>
                  <a:cubicBezTo>
                    <a:pt x="303899" y="189103"/>
                    <a:pt x="304409" y="189230"/>
                    <a:pt x="304663" y="189230"/>
                  </a:cubicBezTo>
                  <a:cubicBezTo>
                    <a:pt x="304791" y="189230"/>
                    <a:pt x="304918" y="189484"/>
                    <a:pt x="304918" y="189484"/>
                  </a:cubicBezTo>
                  <a:cubicBezTo>
                    <a:pt x="304918" y="189611"/>
                    <a:pt x="304918" y="189865"/>
                    <a:pt x="304663" y="190119"/>
                  </a:cubicBezTo>
                  <a:cubicBezTo>
                    <a:pt x="304409" y="190373"/>
                    <a:pt x="304027" y="190627"/>
                    <a:pt x="303263" y="190881"/>
                  </a:cubicBezTo>
                  <a:cubicBezTo>
                    <a:pt x="303008" y="190881"/>
                    <a:pt x="302499" y="190881"/>
                    <a:pt x="302117" y="190881"/>
                  </a:cubicBezTo>
                  <a:cubicBezTo>
                    <a:pt x="301862" y="190881"/>
                    <a:pt x="301353" y="190881"/>
                    <a:pt x="300717" y="190627"/>
                  </a:cubicBezTo>
                  <a:cubicBezTo>
                    <a:pt x="299571" y="190119"/>
                    <a:pt x="298807" y="189230"/>
                    <a:pt x="298807" y="187325"/>
                  </a:cubicBezTo>
                  <a:cubicBezTo>
                    <a:pt x="298807" y="186817"/>
                    <a:pt x="298807" y="185674"/>
                    <a:pt x="299698" y="183007"/>
                  </a:cubicBezTo>
                  <a:cubicBezTo>
                    <a:pt x="300080" y="181864"/>
                    <a:pt x="300717" y="180213"/>
                    <a:pt x="301098" y="179197"/>
                  </a:cubicBezTo>
                  <a:cubicBezTo>
                    <a:pt x="301226" y="178816"/>
                    <a:pt x="301353" y="178689"/>
                    <a:pt x="301353" y="178689"/>
                  </a:cubicBezTo>
                  <a:cubicBezTo>
                    <a:pt x="301353" y="178689"/>
                    <a:pt x="301353" y="178689"/>
                    <a:pt x="301353" y="178689"/>
                  </a:cubicBezTo>
                  <a:cubicBezTo>
                    <a:pt x="301353" y="178689"/>
                    <a:pt x="301226" y="178689"/>
                    <a:pt x="299316" y="181356"/>
                  </a:cubicBezTo>
                  <a:cubicBezTo>
                    <a:pt x="297406" y="183896"/>
                    <a:pt x="295369" y="186817"/>
                    <a:pt x="293714" y="188722"/>
                  </a:cubicBezTo>
                  <a:cubicBezTo>
                    <a:pt x="293332" y="189103"/>
                    <a:pt x="292950" y="189357"/>
                    <a:pt x="292696" y="189484"/>
                  </a:cubicBezTo>
                  <a:cubicBezTo>
                    <a:pt x="292441" y="189484"/>
                    <a:pt x="291550" y="189738"/>
                    <a:pt x="291041" y="189738"/>
                  </a:cubicBezTo>
                  <a:cubicBezTo>
                    <a:pt x="290786" y="189738"/>
                    <a:pt x="290786" y="189738"/>
                    <a:pt x="290404" y="189738"/>
                  </a:cubicBezTo>
                  <a:cubicBezTo>
                    <a:pt x="289640" y="189484"/>
                    <a:pt x="289004" y="189103"/>
                    <a:pt x="288876" y="188595"/>
                  </a:cubicBezTo>
                  <a:cubicBezTo>
                    <a:pt x="288876" y="188595"/>
                    <a:pt x="288876" y="188468"/>
                    <a:pt x="288876" y="188214"/>
                  </a:cubicBezTo>
                  <a:cubicBezTo>
                    <a:pt x="288876" y="188214"/>
                    <a:pt x="289131" y="187706"/>
                    <a:pt x="289513" y="186563"/>
                  </a:cubicBezTo>
                  <a:cubicBezTo>
                    <a:pt x="291423" y="180340"/>
                    <a:pt x="294860" y="174879"/>
                    <a:pt x="297788" y="169037"/>
                  </a:cubicBezTo>
                  <a:cubicBezTo>
                    <a:pt x="298170" y="168402"/>
                    <a:pt x="298425" y="167894"/>
                    <a:pt x="298934" y="167005"/>
                  </a:cubicBezTo>
                  <a:cubicBezTo>
                    <a:pt x="300844" y="163830"/>
                    <a:pt x="302881" y="160528"/>
                    <a:pt x="304536" y="157353"/>
                  </a:cubicBezTo>
                  <a:cubicBezTo>
                    <a:pt x="304918" y="156591"/>
                    <a:pt x="305554" y="156591"/>
                    <a:pt x="306064" y="156591"/>
                  </a:cubicBezTo>
                  <a:cubicBezTo>
                    <a:pt x="306573" y="156591"/>
                    <a:pt x="307464" y="156591"/>
                    <a:pt x="307973" y="156972"/>
                  </a:cubicBezTo>
                  <a:cubicBezTo>
                    <a:pt x="308483" y="157353"/>
                    <a:pt x="308737" y="157734"/>
                    <a:pt x="308737" y="158115"/>
                  </a:cubicBezTo>
                  <a:cubicBezTo>
                    <a:pt x="308737" y="159385"/>
                    <a:pt x="307846" y="160020"/>
                    <a:pt x="306700" y="161544"/>
                  </a:cubicBezTo>
                  <a:cubicBezTo>
                    <a:pt x="306446" y="161925"/>
                    <a:pt x="306064" y="162306"/>
                    <a:pt x="305809" y="162687"/>
                  </a:cubicBezTo>
                  <a:cubicBezTo>
                    <a:pt x="303008" y="166243"/>
                    <a:pt x="300080" y="172085"/>
                    <a:pt x="297406" y="177419"/>
                  </a:cubicBezTo>
                  <a:cubicBezTo>
                    <a:pt x="295751" y="180848"/>
                    <a:pt x="295624" y="180975"/>
                    <a:pt x="295624" y="180975"/>
                  </a:cubicBezTo>
                  <a:cubicBezTo>
                    <a:pt x="295624" y="180975"/>
                    <a:pt x="295624" y="180975"/>
                    <a:pt x="295624" y="180975"/>
                  </a:cubicBezTo>
                  <a:cubicBezTo>
                    <a:pt x="295624" y="180975"/>
                    <a:pt x="295751" y="180975"/>
                    <a:pt x="296006" y="180467"/>
                  </a:cubicBezTo>
                  <a:cubicBezTo>
                    <a:pt x="296388" y="179832"/>
                    <a:pt x="299061" y="176530"/>
                    <a:pt x="303517" y="171704"/>
                  </a:cubicBezTo>
                  <a:cubicBezTo>
                    <a:pt x="304409" y="170815"/>
                    <a:pt x="304791" y="170561"/>
                    <a:pt x="305936" y="170561"/>
                  </a:cubicBezTo>
                  <a:close/>
                  <a:moveTo>
                    <a:pt x="315867" y="184404"/>
                  </a:moveTo>
                  <a:cubicBezTo>
                    <a:pt x="315867" y="184404"/>
                    <a:pt x="317522" y="183261"/>
                    <a:pt x="318541" y="182499"/>
                  </a:cubicBezTo>
                  <a:cubicBezTo>
                    <a:pt x="319432" y="181991"/>
                    <a:pt x="320196" y="181483"/>
                    <a:pt x="321214" y="181483"/>
                  </a:cubicBezTo>
                  <a:cubicBezTo>
                    <a:pt x="321596" y="181483"/>
                    <a:pt x="321978" y="181483"/>
                    <a:pt x="322487" y="181991"/>
                  </a:cubicBezTo>
                  <a:cubicBezTo>
                    <a:pt x="322742" y="182245"/>
                    <a:pt x="322869" y="182499"/>
                    <a:pt x="322869" y="182626"/>
                  </a:cubicBezTo>
                  <a:cubicBezTo>
                    <a:pt x="322869" y="182753"/>
                    <a:pt x="322742" y="182880"/>
                    <a:pt x="322742" y="183007"/>
                  </a:cubicBezTo>
                  <a:cubicBezTo>
                    <a:pt x="322742" y="183261"/>
                    <a:pt x="322742" y="183388"/>
                    <a:pt x="322360" y="183515"/>
                  </a:cubicBezTo>
                  <a:cubicBezTo>
                    <a:pt x="321723" y="183769"/>
                    <a:pt x="320323" y="184658"/>
                    <a:pt x="318159" y="186436"/>
                  </a:cubicBezTo>
                  <a:cubicBezTo>
                    <a:pt x="315612" y="188468"/>
                    <a:pt x="313703" y="189738"/>
                    <a:pt x="311538" y="189738"/>
                  </a:cubicBezTo>
                  <a:cubicBezTo>
                    <a:pt x="308992" y="189738"/>
                    <a:pt x="307591" y="188214"/>
                    <a:pt x="307337" y="187706"/>
                  </a:cubicBezTo>
                  <a:cubicBezTo>
                    <a:pt x="307082" y="187071"/>
                    <a:pt x="306955" y="186563"/>
                    <a:pt x="306955" y="186055"/>
                  </a:cubicBezTo>
                  <a:cubicBezTo>
                    <a:pt x="306955" y="185039"/>
                    <a:pt x="307464" y="184023"/>
                    <a:pt x="307846" y="182499"/>
                  </a:cubicBezTo>
                  <a:cubicBezTo>
                    <a:pt x="307973" y="181991"/>
                    <a:pt x="308483" y="180975"/>
                    <a:pt x="308865" y="180213"/>
                  </a:cubicBezTo>
                  <a:cubicBezTo>
                    <a:pt x="311284" y="176149"/>
                    <a:pt x="314212" y="171577"/>
                    <a:pt x="317522" y="169926"/>
                  </a:cubicBezTo>
                  <a:cubicBezTo>
                    <a:pt x="317904" y="169799"/>
                    <a:pt x="318031" y="169672"/>
                    <a:pt x="318541" y="169672"/>
                  </a:cubicBezTo>
                  <a:cubicBezTo>
                    <a:pt x="320450" y="169672"/>
                    <a:pt x="321978" y="170434"/>
                    <a:pt x="322869" y="171450"/>
                  </a:cubicBezTo>
                  <a:cubicBezTo>
                    <a:pt x="322997" y="171577"/>
                    <a:pt x="322997" y="171704"/>
                    <a:pt x="322997" y="171831"/>
                  </a:cubicBezTo>
                  <a:cubicBezTo>
                    <a:pt x="322997" y="171958"/>
                    <a:pt x="322997" y="172085"/>
                    <a:pt x="322997" y="172339"/>
                  </a:cubicBezTo>
                  <a:cubicBezTo>
                    <a:pt x="322997" y="172593"/>
                    <a:pt x="322997" y="172593"/>
                    <a:pt x="322997" y="172720"/>
                  </a:cubicBezTo>
                  <a:cubicBezTo>
                    <a:pt x="322997" y="172847"/>
                    <a:pt x="322997" y="172720"/>
                    <a:pt x="322997" y="173101"/>
                  </a:cubicBezTo>
                  <a:cubicBezTo>
                    <a:pt x="322742" y="173736"/>
                    <a:pt x="321723" y="175260"/>
                    <a:pt x="321469" y="176530"/>
                  </a:cubicBezTo>
                  <a:cubicBezTo>
                    <a:pt x="321469" y="176911"/>
                    <a:pt x="321469" y="177165"/>
                    <a:pt x="321214" y="177292"/>
                  </a:cubicBezTo>
                  <a:cubicBezTo>
                    <a:pt x="320960" y="177546"/>
                    <a:pt x="320832" y="177546"/>
                    <a:pt x="320196" y="177546"/>
                  </a:cubicBezTo>
                  <a:cubicBezTo>
                    <a:pt x="319814" y="177546"/>
                    <a:pt x="319304" y="177546"/>
                    <a:pt x="319050" y="177292"/>
                  </a:cubicBezTo>
                  <a:lnTo>
                    <a:pt x="318031" y="176530"/>
                  </a:lnTo>
                  <a:cubicBezTo>
                    <a:pt x="318031" y="176530"/>
                    <a:pt x="317649" y="175895"/>
                    <a:pt x="317649" y="175641"/>
                  </a:cubicBezTo>
                  <a:cubicBezTo>
                    <a:pt x="317649" y="174879"/>
                    <a:pt x="318795" y="173609"/>
                    <a:pt x="318795" y="173228"/>
                  </a:cubicBezTo>
                  <a:cubicBezTo>
                    <a:pt x="318795" y="173228"/>
                    <a:pt x="318795" y="173228"/>
                    <a:pt x="318668" y="173228"/>
                  </a:cubicBezTo>
                  <a:cubicBezTo>
                    <a:pt x="318541" y="173228"/>
                    <a:pt x="318668" y="173228"/>
                    <a:pt x="318031" y="173736"/>
                  </a:cubicBezTo>
                  <a:cubicBezTo>
                    <a:pt x="316758" y="175133"/>
                    <a:pt x="314594" y="177800"/>
                    <a:pt x="313321" y="179959"/>
                  </a:cubicBezTo>
                  <a:cubicBezTo>
                    <a:pt x="312175" y="181737"/>
                    <a:pt x="310520" y="185166"/>
                    <a:pt x="310520" y="186436"/>
                  </a:cubicBezTo>
                  <a:cubicBezTo>
                    <a:pt x="310520" y="186436"/>
                    <a:pt x="310520" y="187071"/>
                    <a:pt x="311029" y="187071"/>
                  </a:cubicBezTo>
                  <a:cubicBezTo>
                    <a:pt x="312175" y="187071"/>
                    <a:pt x="313957" y="186055"/>
                    <a:pt x="315994" y="184531"/>
                  </a:cubicBezTo>
                  <a:close/>
                  <a:moveTo>
                    <a:pt x="330126" y="186182"/>
                  </a:moveTo>
                  <a:cubicBezTo>
                    <a:pt x="328598" y="187579"/>
                    <a:pt x="327198" y="188595"/>
                    <a:pt x="325797" y="189103"/>
                  </a:cubicBezTo>
                  <a:cubicBezTo>
                    <a:pt x="324779" y="189484"/>
                    <a:pt x="324652" y="189484"/>
                    <a:pt x="324270" y="189484"/>
                  </a:cubicBezTo>
                  <a:cubicBezTo>
                    <a:pt x="323888" y="189484"/>
                    <a:pt x="323633" y="189484"/>
                    <a:pt x="323124" y="189103"/>
                  </a:cubicBezTo>
                  <a:cubicBezTo>
                    <a:pt x="322742" y="188849"/>
                    <a:pt x="322105" y="188341"/>
                    <a:pt x="321341" y="187579"/>
                  </a:cubicBezTo>
                  <a:cubicBezTo>
                    <a:pt x="320960" y="187198"/>
                    <a:pt x="320578" y="186563"/>
                    <a:pt x="320578" y="185674"/>
                  </a:cubicBezTo>
                  <a:cubicBezTo>
                    <a:pt x="320578" y="184785"/>
                    <a:pt x="320832" y="182372"/>
                    <a:pt x="323378" y="178943"/>
                  </a:cubicBezTo>
                  <a:cubicBezTo>
                    <a:pt x="325416" y="176149"/>
                    <a:pt x="327707" y="173990"/>
                    <a:pt x="329490" y="172720"/>
                  </a:cubicBezTo>
                  <a:cubicBezTo>
                    <a:pt x="331145" y="171450"/>
                    <a:pt x="334964" y="169291"/>
                    <a:pt x="337256" y="169291"/>
                  </a:cubicBezTo>
                  <a:cubicBezTo>
                    <a:pt x="338529" y="169291"/>
                    <a:pt x="339293" y="169799"/>
                    <a:pt x="339929" y="170434"/>
                  </a:cubicBezTo>
                  <a:cubicBezTo>
                    <a:pt x="340184" y="170688"/>
                    <a:pt x="340311" y="170942"/>
                    <a:pt x="340311" y="171323"/>
                  </a:cubicBezTo>
                  <a:cubicBezTo>
                    <a:pt x="340311" y="171577"/>
                    <a:pt x="340821" y="172085"/>
                    <a:pt x="341075" y="172085"/>
                  </a:cubicBezTo>
                  <a:cubicBezTo>
                    <a:pt x="342094" y="172085"/>
                    <a:pt x="342348" y="172720"/>
                    <a:pt x="342348" y="172974"/>
                  </a:cubicBezTo>
                  <a:cubicBezTo>
                    <a:pt x="342348" y="173101"/>
                    <a:pt x="342348" y="173228"/>
                    <a:pt x="342221" y="173355"/>
                  </a:cubicBezTo>
                  <a:cubicBezTo>
                    <a:pt x="340311" y="175768"/>
                    <a:pt x="338020" y="178943"/>
                    <a:pt x="337001" y="182118"/>
                  </a:cubicBezTo>
                  <a:cubicBezTo>
                    <a:pt x="336492" y="183515"/>
                    <a:pt x="336110" y="185166"/>
                    <a:pt x="336110" y="186309"/>
                  </a:cubicBezTo>
                  <a:cubicBezTo>
                    <a:pt x="336110" y="187198"/>
                    <a:pt x="336365" y="188214"/>
                    <a:pt x="336619" y="188595"/>
                  </a:cubicBezTo>
                  <a:cubicBezTo>
                    <a:pt x="336874" y="188976"/>
                    <a:pt x="336874" y="189103"/>
                    <a:pt x="336874" y="189103"/>
                  </a:cubicBezTo>
                  <a:cubicBezTo>
                    <a:pt x="336874" y="189103"/>
                    <a:pt x="336746" y="189611"/>
                    <a:pt x="335983" y="189738"/>
                  </a:cubicBezTo>
                  <a:cubicBezTo>
                    <a:pt x="335728" y="189738"/>
                    <a:pt x="335346" y="189865"/>
                    <a:pt x="334837" y="189865"/>
                  </a:cubicBezTo>
                  <a:cubicBezTo>
                    <a:pt x="333691" y="189865"/>
                    <a:pt x="332927" y="189484"/>
                    <a:pt x="332800" y="188976"/>
                  </a:cubicBezTo>
                  <a:cubicBezTo>
                    <a:pt x="332545" y="188087"/>
                    <a:pt x="332418" y="187198"/>
                    <a:pt x="332418" y="186309"/>
                  </a:cubicBezTo>
                  <a:cubicBezTo>
                    <a:pt x="332418" y="185039"/>
                    <a:pt x="332672" y="184023"/>
                    <a:pt x="332672" y="183896"/>
                  </a:cubicBezTo>
                  <a:cubicBezTo>
                    <a:pt x="332672" y="183896"/>
                    <a:pt x="332672" y="183896"/>
                    <a:pt x="332672" y="183896"/>
                  </a:cubicBezTo>
                  <a:cubicBezTo>
                    <a:pt x="332545" y="183896"/>
                    <a:pt x="331272" y="185039"/>
                    <a:pt x="330253" y="185928"/>
                  </a:cubicBezTo>
                  <a:close/>
                  <a:moveTo>
                    <a:pt x="336110" y="172720"/>
                  </a:moveTo>
                  <a:cubicBezTo>
                    <a:pt x="332545" y="174752"/>
                    <a:pt x="329490" y="177038"/>
                    <a:pt x="327325" y="179705"/>
                  </a:cubicBezTo>
                  <a:cubicBezTo>
                    <a:pt x="325543" y="181864"/>
                    <a:pt x="324015" y="184404"/>
                    <a:pt x="324015" y="185547"/>
                  </a:cubicBezTo>
                  <a:cubicBezTo>
                    <a:pt x="324015" y="186309"/>
                    <a:pt x="324142" y="186436"/>
                    <a:pt x="324270" y="186436"/>
                  </a:cubicBezTo>
                  <a:cubicBezTo>
                    <a:pt x="324524" y="186436"/>
                    <a:pt x="324652" y="186436"/>
                    <a:pt x="324906" y="186182"/>
                  </a:cubicBezTo>
                  <a:cubicBezTo>
                    <a:pt x="325288" y="185928"/>
                    <a:pt x="325670" y="185674"/>
                    <a:pt x="326179" y="185166"/>
                  </a:cubicBezTo>
                  <a:cubicBezTo>
                    <a:pt x="330126" y="181610"/>
                    <a:pt x="334073" y="178943"/>
                    <a:pt x="336492" y="175006"/>
                  </a:cubicBezTo>
                  <a:cubicBezTo>
                    <a:pt x="336874" y="174371"/>
                    <a:pt x="337256" y="173863"/>
                    <a:pt x="337765" y="173482"/>
                  </a:cubicBezTo>
                  <a:cubicBezTo>
                    <a:pt x="337765" y="173482"/>
                    <a:pt x="338020" y="173101"/>
                    <a:pt x="338020" y="172847"/>
                  </a:cubicBezTo>
                  <a:cubicBezTo>
                    <a:pt x="338020" y="172339"/>
                    <a:pt x="337765" y="172085"/>
                    <a:pt x="337638" y="172085"/>
                  </a:cubicBezTo>
                  <a:cubicBezTo>
                    <a:pt x="337383" y="172085"/>
                    <a:pt x="337128" y="172085"/>
                    <a:pt x="336237" y="172720"/>
                  </a:cubicBezTo>
                  <a:close/>
                  <a:moveTo>
                    <a:pt x="353297" y="175768"/>
                  </a:moveTo>
                  <a:cubicBezTo>
                    <a:pt x="348841" y="178181"/>
                    <a:pt x="344767" y="181610"/>
                    <a:pt x="342985" y="187706"/>
                  </a:cubicBezTo>
                  <a:cubicBezTo>
                    <a:pt x="342730" y="188341"/>
                    <a:pt x="342348" y="188976"/>
                    <a:pt x="342094" y="189230"/>
                  </a:cubicBezTo>
                  <a:cubicBezTo>
                    <a:pt x="341712" y="189738"/>
                    <a:pt x="341457" y="189738"/>
                    <a:pt x="340693" y="189738"/>
                  </a:cubicBezTo>
                  <a:cubicBezTo>
                    <a:pt x="339929" y="189738"/>
                    <a:pt x="339547" y="189230"/>
                    <a:pt x="339420" y="188976"/>
                  </a:cubicBezTo>
                  <a:cubicBezTo>
                    <a:pt x="339165" y="188468"/>
                    <a:pt x="338784" y="188087"/>
                    <a:pt x="338784" y="187325"/>
                  </a:cubicBezTo>
                  <a:cubicBezTo>
                    <a:pt x="338784" y="186055"/>
                    <a:pt x="340439" y="184785"/>
                    <a:pt x="341203" y="182880"/>
                  </a:cubicBezTo>
                  <a:cubicBezTo>
                    <a:pt x="342476" y="179832"/>
                    <a:pt x="343749" y="176911"/>
                    <a:pt x="344513" y="173736"/>
                  </a:cubicBezTo>
                  <a:cubicBezTo>
                    <a:pt x="344767" y="172974"/>
                    <a:pt x="344767" y="172847"/>
                    <a:pt x="344767" y="172720"/>
                  </a:cubicBezTo>
                  <a:cubicBezTo>
                    <a:pt x="344767" y="172212"/>
                    <a:pt x="344513" y="172212"/>
                    <a:pt x="344513" y="171704"/>
                  </a:cubicBezTo>
                  <a:cubicBezTo>
                    <a:pt x="344513" y="171704"/>
                    <a:pt x="344767" y="171323"/>
                    <a:pt x="345022" y="171069"/>
                  </a:cubicBezTo>
                  <a:cubicBezTo>
                    <a:pt x="345277" y="170815"/>
                    <a:pt x="345659" y="170688"/>
                    <a:pt x="346422" y="170688"/>
                  </a:cubicBezTo>
                  <a:cubicBezTo>
                    <a:pt x="347059" y="170688"/>
                    <a:pt x="347441" y="170688"/>
                    <a:pt x="347568" y="170688"/>
                  </a:cubicBezTo>
                  <a:cubicBezTo>
                    <a:pt x="347823" y="170688"/>
                    <a:pt x="347950" y="170815"/>
                    <a:pt x="348077" y="171069"/>
                  </a:cubicBezTo>
                  <a:cubicBezTo>
                    <a:pt x="348459" y="171831"/>
                    <a:pt x="348459" y="172339"/>
                    <a:pt x="348459" y="173101"/>
                  </a:cubicBezTo>
                  <a:cubicBezTo>
                    <a:pt x="348459" y="173609"/>
                    <a:pt x="348459" y="174117"/>
                    <a:pt x="348205" y="174498"/>
                  </a:cubicBezTo>
                  <a:cubicBezTo>
                    <a:pt x="348205" y="174498"/>
                    <a:pt x="348162" y="174625"/>
                    <a:pt x="348077" y="174879"/>
                  </a:cubicBezTo>
                  <a:cubicBezTo>
                    <a:pt x="348077" y="174879"/>
                    <a:pt x="348077" y="174879"/>
                    <a:pt x="348077" y="174879"/>
                  </a:cubicBezTo>
                  <a:cubicBezTo>
                    <a:pt x="348077" y="174879"/>
                    <a:pt x="348077" y="174879"/>
                    <a:pt x="348332" y="174752"/>
                  </a:cubicBezTo>
                  <a:cubicBezTo>
                    <a:pt x="348841" y="174371"/>
                    <a:pt x="351133" y="172720"/>
                    <a:pt x="352788" y="172085"/>
                  </a:cubicBezTo>
                  <a:cubicBezTo>
                    <a:pt x="353382" y="171831"/>
                    <a:pt x="353849" y="171704"/>
                    <a:pt x="354189" y="171704"/>
                  </a:cubicBezTo>
                  <a:cubicBezTo>
                    <a:pt x="355844" y="171704"/>
                    <a:pt x="356735" y="172085"/>
                    <a:pt x="357371" y="172847"/>
                  </a:cubicBezTo>
                  <a:cubicBezTo>
                    <a:pt x="357499" y="173101"/>
                    <a:pt x="357626" y="173355"/>
                    <a:pt x="357626" y="173609"/>
                  </a:cubicBezTo>
                  <a:cubicBezTo>
                    <a:pt x="357626" y="174244"/>
                    <a:pt x="357371" y="174625"/>
                    <a:pt x="356989" y="174879"/>
                  </a:cubicBezTo>
                  <a:cubicBezTo>
                    <a:pt x="356480" y="175387"/>
                    <a:pt x="356098" y="175387"/>
                    <a:pt x="355589" y="175387"/>
                  </a:cubicBezTo>
                  <a:cubicBezTo>
                    <a:pt x="354825" y="175387"/>
                    <a:pt x="354316" y="175006"/>
                    <a:pt x="354061" y="175006"/>
                  </a:cubicBezTo>
                  <a:cubicBezTo>
                    <a:pt x="353934" y="175006"/>
                    <a:pt x="353807" y="175006"/>
                    <a:pt x="353170" y="175387"/>
                  </a:cubicBezTo>
                  <a:close/>
                  <a:moveTo>
                    <a:pt x="361318" y="186055"/>
                  </a:moveTo>
                  <a:cubicBezTo>
                    <a:pt x="364119" y="184658"/>
                    <a:pt x="365901" y="182372"/>
                    <a:pt x="368448" y="180721"/>
                  </a:cubicBezTo>
                  <a:cubicBezTo>
                    <a:pt x="368830" y="180467"/>
                    <a:pt x="369212" y="180467"/>
                    <a:pt x="369721" y="180467"/>
                  </a:cubicBezTo>
                  <a:cubicBezTo>
                    <a:pt x="370612" y="180467"/>
                    <a:pt x="370739" y="180975"/>
                    <a:pt x="370739" y="181229"/>
                  </a:cubicBezTo>
                  <a:cubicBezTo>
                    <a:pt x="370739" y="181483"/>
                    <a:pt x="370739" y="181737"/>
                    <a:pt x="370739" y="181864"/>
                  </a:cubicBezTo>
                  <a:cubicBezTo>
                    <a:pt x="370739" y="181991"/>
                    <a:pt x="370739" y="182245"/>
                    <a:pt x="370485" y="182499"/>
                  </a:cubicBezTo>
                  <a:cubicBezTo>
                    <a:pt x="368575" y="184150"/>
                    <a:pt x="367684" y="186182"/>
                    <a:pt x="361318" y="189738"/>
                  </a:cubicBezTo>
                  <a:cubicBezTo>
                    <a:pt x="360554" y="190119"/>
                    <a:pt x="360300" y="190119"/>
                    <a:pt x="359536" y="190119"/>
                  </a:cubicBezTo>
                  <a:cubicBezTo>
                    <a:pt x="359026" y="190119"/>
                    <a:pt x="358263" y="190119"/>
                    <a:pt x="357626" y="189865"/>
                  </a:cubicBezTo>
                  <a:cubicBezTo>
                    <a:pt x="356735" y="189484"/>
                    <a:pt x="355462" y="188849"/>
                    <a:pt x="355207" y="188722"/>
                  </a:cubicBezTo>
                  <a:cubicBezTo>
                    <a:pt x="354571" y="188214"/>
                    <a:pt x="353297" y="187198"/>
                    <a:pt x="353297" y="183261"/>
                  </a:cubicBezTo>
                  <a:cubicBezTo>
                    <a:pt x="353297" y="182499"/>
                    <a:pt x="353297" y="182372"/>
                    <a:pt x="353679" y="181356"/>
                  </a:cubicBezTo>
                  <a:cubicBezTo>
                    <a:pt x="355080" y="177165"/>
                    <a:pt x="358008" y="173482"/>
                    <a:pt x="361191" y="170180"/>
                  </a:cubicBezTo>
                  <a:cubicBezTo>
                    <a:pt x="361955" y="169418"/>
                    <a:pt x="363483" y="168275"/>
                    <a:pt x="365901" y="168275"/>
                  </a:cubicBezTo>
                  <a:cubicBezTo>
                    <a:pt x="367175" y="168275"/>
                    <a:pt x="367939" y="168529"/>
                    <a:pt x="368575" y="168783"/>
                  </a:cubicBezTo>
                  <a:cubicBezTo>
                    <a:pt x="368957" y="168910"/>
                    <a:pt x="369594" y="169672"/>
                    <a:pt x="369594" y="170815"/>
                  </a:cubicBezTo>
                  <a:cubicBezTo>
                    <a:pt x="369594" y="171577"/>
                    <a:pt x="369594" y="172466"/>
                    <a:pt x="368448" y="174244"/>
                  </a:cubicBezTo>
                  <a:cubicBezTo>
                    <a:pt x="367811" y="175387"/>
                    <a:pt x="367557" y="175641"/>
                    <a:pt x="367047" y="176149"/>
                  </a:cubicBezTo>
                  <a:cubicBezTo>
                    <a:pt x="363483" y="180086"/>
                    <a:pt x="360936" y="182753"/>
                    <a:pt x="357626" y="184785"/>
                  </a:cubicBezTo>
                  <a:cubicBezTo>
                    <a:pt x="357117" y="185039"/>
                    <a:pt x="356989" y="185166"/>
                    <a:pt x="356989" y="185547"/>
                  </a:cubicBezTo>
                  <a:cubicBezTo>
                    <a:pt x="356989" y="186182"/>
                    <a:pt x="357499" y="186817"/>
                    <a:pt x="357753" y="187071"/>
                  </a:cubicBezTo>
                  <a:cubicBezTo>
                    <a:pt x="358135" y="187325"/>
                    <a:pt x="358390" y="187452"/>
                    <a:pt x="358645" y="187452"/>
                  </a:cubicBezTo>
                  <a:cubicBezTo>
                    <a:pt x="358899" y="187452"/>
                    <a:pt x="359154" y="187452"/>
                    <a:pt x="361318" y="186309"/>
                  </a:cubicBezTo>
                  <a:close/>
                  <a:moveTo>
                    <a:pt x="357753" y="180340"/>
                  </a:moveTo>
                  <a:cubicBezTo>
                    <a:pt x="357753" y="180340"/>
                    <a:pt x="357753" y="180340"/>
                    <a:pt x="357753" y="180340"/>
                  </a:cubicBezTo>
                  <a:cubicBezTo>
                    <a:pt x="357753" y="180340"/>
                    <a:pt x="357881" y="180340"/>
                    <a:pt x="359026" y="179324"/>
                  </a:cubicBezTo>
                  <a:cubicBezTo>
                    <a:pt x="360682" y="177927"/>
                    <a:pt x="362209" y="176149"/>
                    <a:pt x="363483" y="174625"/>
                  </a:cubicBezTo>
                  <a:cubicBezTo>
                    <a:pt x="364119" y="173990"/>
                    <a:pt x="364246" y="173482"/>
                    <a:pt x="364501" y="172974"/>
                  </a:cubicBezTo>
                  <a:cubicBezTo>
                    <a:pt x="364883" y="172339"/>
                    <a:pt x="365392" y="171704"/>
                    <a:pt x="365392" y="171196"/>
                  </a:cubicBezTo>
                  <a:cubicBezTo>
                    <a:pt x="365392" y="171069"/>
                    <a:pt x="365392" y="170942"/>
                    <a:pt x="365138" y="170942"/>
                  </a:cubicBezTo>
                  <a:cubicBezTo>
                    <a:pt x="364883" y="170942"/>
                    <a:pt x="364501" y="171323"/>
                    <a:pt x="364246" y="171450"/>
                  </a:cubicBezTo>
                  <a:cubicBezTo>
                    <a:pt x="362337" y="173101"/>
                    <a:pt x="359663" y="176149"/>
                    <a:pt x="358390" y="178435"/>
                  </a:cubicBezTo>
                  <a:cubicBezTo>
                    <a:pt x="357753" y="179578"/>
                    <a:pt x="357499" y="180213"/>
                    <a:pt x="357499" y="180213"/>
                  </a:cubicBezTo>
                  <a:close/>
                </a:path>
              </a:pathLst>
            </a:custGeom>
            <a:solidFill>
              <a:srgbClr val="FFFFFF"/>
            </a:solidFill>
            <a:ln w="0" cap="flat">
              <a:noFill/>
              <a:prstDash val="solid"/>
              <a:miter/>
            </a:ln>
          </p:spPr>
          <p:txBody>
            <a:bodyPr rtlCol="0" anchor="ctr"/>
            <a:lstStyle/>
            <a:p>
              <a:endParaRPr lang="en-AD" sz="2400"/>
            </a:p>
          </p:txBody>
        </p:sp>
        <p:grpSp>
          <p:nvGrpSpPr>
            <p:cNvPr id="98" name="Group 97">
              <a:extLst>
                <a:ext uri="{FF2B5EF4-FFF2-40B4-BE49-F238E27FC236}">
                  <a16:creationId xmlns:a16="http://schemas.microsoft.com/office/drawing/2014/main" id="{7C713503-A19C-D80F-ADB9-20EFA6324F02}"/>
                </a:ext>
              </a:extLst>
            </p:cNvPr>
            <p:cNvGrpSpPr/>
            <p:nvPr userDrawn="1"/>
          </p:nvGrpSpPr>
          <p:grpSpPr>
            <a:xfrm>
              <a:off x="2917660" y="3995128"/>
              <a:ext cx="497543" cy="342213"/>
              <a:chOff x="1390414" y="4541317"/>
              <a:chExt cx="497543" cy="342213"/>
            </a:xfrm>
          </p:grpSpPr>
          <p:sp>
            <p:nvSpPr>
              <p:cNvPr id="99" name="Freeform 98">
                <a:extLst>
                  <a:ext uri="{FF2B5EF4-FFF2-40B4-BE49-F238E27FC236}">
                    <a16:creationId xmlns:a16="http://schemas.microsoft.com/office/drawing/2014/main" id="{899BBCC0-285C-7C13-D781-3506E403FE08}"/>
                  </a:ext>
                </a:extLst>
              </p:cNvPr>
              <p:cNvSpPr/>
              <p:nvPr/>
            </p:nvSpPr>
            <p:spPr>
              <a:xfrm>
                <a:off x="1390414" y="4734686"/>
                <a:ext cx="56527" cy="86995"/>
              </a:xfrm>
              <a:custGeom>
                <a:avLst/>
                <a:gdLst>
                  <a:gd name="connsiteX0" fmla="*/ 45960 w 56527"/>
                  <a:gd name="connsiteY0" fmla="*/ 86868 h 86995"/>
                  <a:gd name="connsiteX1" fmla="*/ 0 w 56527"/>
                  <a:gd name="connsiteY1" fmla="*/ 86868 h 86995"/>
                  <a:gd name="connsiteX2" fmla="*/ 12222 w 56527"/>
                  <a:gd name="connsiteY2" fmla="*/ 0 h 86995"/>
                  <a:gd name="connsiteX3" fmla="*/ 56528 w 56527"/>
                  <a:gd name="connsiteY3" fmla="*/ 0 h 86995"/>
                  <a:gd name="connsiteX4" fmla="*/ 55382 w 56527"/>
                  <a:gd name="connsiteY4" fmla="*/ 8763 h 86995"/>
                  <a:gd name="connsiteX5" fmla="*/ 21898 w 56527"/>
                  <a:gd name="connsiteY5" fmla="*/ 8763 h 86995"/>
                  <a:gd name="connsiteX6" fmla="*/ 17824 w 56527"/>
                  <a:gd name="connsiteY6" fmla="*/ 37846 h 86995"/>
                  <a:gd name="connsiteX7" fmla="*/ 41632 w 56527"/>
                  <a:gd name="connsiteY7" fmla="*/ 37846 h 86995"/>
                  <a:gd name="connsiteX8" fmla="*/ 40359 w 56527"/>
                  <a:gd name="connsiteY8" fmla="*/ 46609 h 86995"/>
                  <a:gd name="connsiteX9" fmla="*/ 16551 w 56527"/>
                  <a:gd name="connsiteY9" fmla="*/ 46609 h 86995"/>
                  <a:gd name="connsiteX10" fmla="*/ 12095 w 56527"/>
                  <a:gd name="connsiteY10" fmla="*/ 78232 h 86995"/>
                  <a:gd name="connsiteX11" fmla="*/ 47234 w 56527"/>
                  <a:gd name="connsiteY11" fmla="*/ 78232 h 86995"/>
                  <a:gd name="connsiteX12" fmla="*/ 45960 w 56527"/>
                  <a:gd name="connsiteY12" fmla="*/ 8699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527" h="86995">
                    <a:moveTo>
                      <a:pt x="45960" y="86868"/>
                    </a:moveTo>
                    <a:lnTo>
                      <a:pt x="0" y="86868"/>
                    </a:lnTo>
                    <a:lnTo>
                      <a:pt x="12222" y="0"/>
                    </a:lnTo>
                    <a:lnTo>
                      <a:pt x="56528" y="0"/>
                    </a:lnTo>
                    <a:lnTo>
                      <a:pt x="55382" y="8763"/>
                    </a:lnTo>
                    <a:lnTo>
                      <a:pt x="21898" y="8763"/>
                    </a:lnTo>
                    <a:lnTo>
                      <a:pt x="17824" y="37846"/>
                    </a:lnTo>
                    <a:lnTo>
                      <a:pt x="41632" y="37846"/>
                    </a:lnTo>
                    <a:lnTo>
                      <a:pt x="40359" y="46609"/>
                    </a:lnTo>
                    <a:lnTo>
                      <a:pt x="16551" y="46609"/>
                    </a:lnTo>
                    <a:lnTo>
                      <a:pt x="12095" y="78232"/>
                    </a:lnTo>
                    <a:lnTo>
                      <a:pt x="47234" y="78232"/>
                    </a:lnTo>
                    <a:lnTo>
                      <a:pt x="45960" y="86995"/>
                    </a:lnTo>
                    <a:close/>
                  </a:path>
                </a:pathLst>
              </a:custGeom>
              <a:solidFill>
                <a:srgbClr val="FFFFFF"/>
              </a:solidFill>
              <a:ln w="0" cap="flat">
                <a:noFill/>
                <a:prstDash val="solid"/>
                <a:miter/>
              </a:ln>
            </p:spPr>
            <p:txBody>
              <a:bodyPr rtlCol="0" anchor="ctr"/>
              <a:lstStyle/>
              <a:p>
                <a:endParaRPr lang="en-AD" sz="2400"/>
              </a:p>
            </p:txBody>
          </p:sp>
          <p:sp>
            <p:nvSpPr>
              <p:cNvPr id="100" name="Freeform 99">
                <a:extLst>
                  <a:ext uri="{FF2B5EF4-FFF2-40B4-BE49-F238E27FC236}">
                    <a16:creationId xmlns:a16="http://schemas.microsoft.com/office/drawing/2014/main" id="{6DE26E78-8C17-107B-B558-775FD944D9EB}"/>
                  </a:ext>
                </a:extLst>
              </p:cNvPr>
              <p:cNvSpPr/>
              <p:nvPr/>
            </p:nvSpPr>
            <p:spPr>
              <a:xfrm>
                <a:off x="1446382" y="4765547"/>
                <a:ext cx="48938" cy="57404"/>
              </a:xfrm>
              <a:custGeom>
                <a:avLst/>
                <a:gdLst>
                  <a:gd name="connsiteX0" fmla="*/ 16856 w 48938"/>
                  <a:gd name="connsiteY0" fmla="*/ 0 h 57404"/>
                  <a:gd name="connsiteX1" fmla="*/ 11636 w 48938"/>
                  <a:gd name="connsiteY1" fmla="*/ 37465 h 57404"/>
                  <a:gd name="connsiteX2" fmla="*/ 10999 w 48938"/>
                  <a:gd name="connsiteY2" fmla="*/ 41275 h 57404"/>
                  <a:gd name="connsiteX3" fmla="*/ 10617 w 48938"/>
                  <a:gd name="connsiteY3" fmla="*/ 44958 h 57404"/>
                  <a:gd name="connsiteX4" fmla="*/ 11254 w 48938"/>
                  <a:gd name="connsiteY4" fmla="*/ 47498 h 57404"/>
                  <a:gd name="connsiteX5" fmla="*/ 13418 w 48938"/>
                  <a:gd name="connsiteY5" fmla="*/ 48514 h 57404"/>
                  <a:gd name="connsiteX6" fmla="*/ 17874 w 48938"/>
                  <a:gd name="connsiteY6" fmla="*/ 46736 h 57404"/>
                  <a:gd name="connsiteX7" fmla="*/ 22585 w 48938"/>
                  <a:gd name="connsiteY7" fmla="*/ 42164 h 57404"/>
                  <a:gd name="connsiteX8" fmla="*/ 27168 w 48938"/>
                  <a:gd name="connsiteY8" fmla="*/ 36068 h 57404"/>
                  <a:gd name="connsiteX9" fmla="*/ 31115 w 48938"/>
                  <a:gd name="connsiteY9" fmla="*/ 29591 h 57404"/>
                  <a:gd name="connsiteX10" fmla="*/ 34043 w 48938"/>
                  <a:gd name="connsiteY10" fmla="*/ 23876 h 57404"/>
                  <a:gd name="connsiteX11" fmla="*/ 35444 w 48938"/>
                  <a:gd name="connsiteY11" fmla="*/ 20193 h 57404"/>
                  <a:gd name="connsiteX12" fmla="*/ 38244 w 48938"/>
                  <a:gd name="connsiteY12" fmla="*/ 0 h 57404"/>
                  <a:gd name="connsiteX13" fmla="*/ 48939 w 48938"/>
                  <a:gd name="connsiteY13" fmla="*/ 0 h 57404"/>
                  <a:gd name="connsiteX14" fmla="*/ 41173 w 48938"/>
                  <a:gd name="connsiteY14" fmla="*/ 56007 h 57404"/>
                  <a:gd name="connsiteX15" fmla="*/ 30733 w 48938"/>
                  <a:gd name="connsiteY15" fmla="*/ 56007 h 57404"/>
                  <a:gd name="connsiteX16" fmla="*/ 33534 w 48938"/>
                  <a:gd name="connsiteY16" fmla="*/ 35560 h 57404"/>
                  <a:gd name="connsiteX17" fmla="*/ 30606 w 48938"/>
                  <a:gd name="connsiteY17" fmla="*/ 41529 h 57404"/>
                  <a:gd name="connsiteX18" fmla="*/ 25513 w 48938"/>
                  <a:gd name="connsiteY18" fmla="*/ 48768 h 57404"/>
                  <a:gd name="connsiteX19" fmla="*/ 18256 w 48938"/>
                  <a:gd name="connsiteY19" fmla="*/ 54864 h 57404"/>
                  <a:gd name="connsiteX20" fmla="*/ 8962 w 48938"/>
                  <a:gd name="connsiteY20" fmla="*/ 57404 h 57404"/>
                  <a:gd name="connsiteX21" fmla="*/ 2724 w 48938"/>
                  <a:gd name="connsiteY21" fmla="*/ 55499 h 57404"/>
                  <a:gd name="connsiteX22" fmla="*/ 305 w 48938"/>
                  <a:gd name="connsiteY22" fmla="*/ 50800 h 57404"/>
                  <a:gd name="connsiteX23" fmla="*/ 178 w 48938"/>
                  <a:gd name="connsiteY23" fmla="*/ 45212 h 57404"/>
                  <a:gd name="connsiteX24" fmla="*/ 814 w 48938"/>
                  <a:gd name="connsiteY24" fmla="*/ 40767 h 57404"/>
                  <a:gd name="connsiteX25" fmla="*/ 6543 w 48938"/>
                  <a:gd name="connsiteY25" fmla="*/ 127 h 57404"/>
                  <a:gd name="connsiteX26" fmla="*/ 16983 w 48938"/>
                  <a:gd name="connsiteY26" fmla="*/ 127 h 5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8" h="57404">
                    <a:moveTo>
                      <a:pt x="16856" y="0"/>
                    </a:moveTo>
                    <a:lnTo>
                      <a:pt x="11636" y="37465"/>
                    </a:lnTo>
                    <a:cubicBezTo>
                      <a:pt x="11508" y="38735"/>
                      <a:pt x="11254" y="39878"/>
                      <a:pt x="10999" y="41275"/>
                    </a:cubicBezTo>
                    <a:cubicBezTo>
                      <a:pt x="10745" y="42545"/>
                      <a:pt x="10617" y="43815"/>
                      <a:pt x="10617" y="44958"/>
                    </a:cubicBezTo>
                    <a:cubicBezTo>
                      <a:pt x="10617" y="45974"/>
                      <a:pt x="10872" y="46863"/>
                      <a:pt x="11254" y="47498"/>
                    </a:cubicBezTo>
                    <a:cubicBezTo>
                      <a:pt x="11636" y="48133"/>
                      <a:pt x="12400" y="48514"/>
                      <a:pt x="13418" y="48514"/>
                    </a:cubicBezTo>
                    <a:cubicBezTo>
                      <a:pt x="14819" y="48514"/>
                      <a:pt x="16346" y="47879"/>
                      <a:pt x="17874" y="46736"/>
                    </a:cubicBezTo>
                    <a:cubicBezTo>
                      <a:pt x="19402" y="45593"/>
                      <a:pt x="21057" y="44069"/>
                      <a:pt x="22585" y="42164"/>
                    </a:cubicBezTo>
                    <a:cubicBezTo>
                      <a:pt x="24113" y="40259"/>
                      <a:pt x="25640" y="38227"/>
                      <a:pt x="27168" y="36068"/>
                    </a:cubicBezTo>
                    <a:cubicBezTo>
                      <a:pt x="28696" y="33909"/>
                      <a:pt x="29969" y="31750"/>
                      <a:pt x="31115" y="29591"/>
                    </a:cubicBezTo>
                    <a:cubicBezTo>
                      <a:pt x="32261" y="27432"/>
                      <a:pt x="33279" y="25527"/>
                      <a:pt x="34043" y="23876"/>
                    </a:cubicBezTo>
                    <a:cubicBezTo>
                      <a:pt x="34807" y="22225"/>
                      <a:pt x="35316" y="20955"/>
                      <a:pt x="35444" y="20193"/>
                    </a:cubicBezTo>
                    <a:lnTo>
                      <a:pt x="38244" y="0"/>
                    </a:lnTo>
                    <a:lnTo>
                      <a:pt x="48939" y="0"/>
                    </a:lnTo>
                    <a:lnTo>
                      <a:pt x="41173" y="56007"/>
                    </a:lnTo>
                    <a:lnTo>
                      <a:pt x="30733" y="56007"/>
                    </a:lnTo>
                    <a:lnTo>
                      <a:pt x="33534" y="35560"/>
                    </a:lnTo>
                    <a:cubicBezTo>
                      <a:pt x="32897" y="37084"/>
                      <a:pt x="32006" y="38989"/>
                      <a:pt x="30606" y="41529"/>
                    </a:cubicBezTo>
                    <a:cubicBezTo>
                      <a:pt x="29205" y="43942"/>
                      <a:pt x="27550" y="46355"/>
                      <a:pt x="25513" y="48768"/>
                    </a:cubicBezTo>
                    <a:cubicBezTo>
                      <a:pt x="23476" y="51054"/>
                      <a:pt x="20930" y="53086"/>
                      <a:pt x="18256" y="54864"/>
                    </a:cubicBezTo>
                    <a:cubicBezTo>
                      <a:pt x="15583" y="56642"/>
                      <a:pt x="12400" y="57404"/>
                      <a:pt x="8962" y="57404"/>
                    </a:cubicBezTo>
                    <a:cubicBezTo>
                      <a:pt x="6034" y="57404"/>
                      <a:pt x="3997" y="56769"/>
                      <a:pt x="2724" y="55499"/>
                    </a:cubicBezTo>
                    <a:cubicBezTo>
                      <a:pt x="1451" y="54229"/>
                      <a:pt x="687" y="52578"/>
                      <a:pt x="305" y="50800"/>
                    </a:cubicBezTo>
                    <a:cubicBezTo>
                      <a:pt x="-77" y="49022"/>
                      <a:pt x="-77" y="47117"/>
                      <a:pt x="178" y="45212"/>
                    </a:cubicBezTo>
                    <a:cubicBezTo>
                      <a:pt x="432" y="43307"/>
                      <a:pt x="687" y="41910"/>
                      <a:pt x="814" y="40767"/>
                    </a:cubicBezTo>
                    <a:lnTo>
                      <a:pt x="6543" y="127"/>
                    </a:lnTo>
                    <a:lnTo>
                      <a:pt x="16983" y="127"/>
                    </a:lnTo>
                    <a:close/>
                  </a:path>
                </a:pathLst>
              </a:custGeom>
              <a:solidFill>
                <a:srgbClr val="FFFFFF"/>
              </a:solidFill>
              <a:ln w="0" cap="flat">
                <a:noFill/>
                <a:prstDash val="solid"/>
                <a:miter/>
              </a:ln>
            </p:spPr>
            <p:txBody>
              <a:bodyPr rtlCol="0" anchor="ctr"/>
              <a:lstStyle/>
              <a:p>
                <a:endParaRPr lang="en-AD" sz="2400"/>
              </a:p>
            </p:txBody>
          </p:sp>
          <p:sp>
            <p:nvSpPr>
              <p:cNvPr id="101" name="Freeform 100">
                <a:extLst>
                  <a:ext uri="{FF2B5EF4-FFF2-40B4-BE49-F238E27FC236}">
                    <a16:creationId xmlns:a16="http://schemas.microsoft.com/office/drawing/2014/main" id="{B5BE26B7-1911-0A1B-0BE3-421E24708BF6}"/>
                  </a:ext>
                </a:extLst>
              </p:cNvPr>
              <p:cNvSpPr/>
              <p:nvPr/>
            </p:nvSpPr>
            <p:spPr>
              <a:xfrm>
                <a:off x="1499904" y="4764278"/>
                <a:ext cx="43159" cy="57276"/>
              </a:xfrm>
              <a:custGeom>
                <a:avLst/>
                <a:gdLst>
                  <a:gd name="connsiteX0" fmla="*/ 18333 w 43159"/>
                  <a:gd name="connsiteY0" fmla="*/ 1270 h 57276"/>
                  <a:gd name="connsiteX1" fmla="*/ 15150 w 43159"/>
                  <a:gd name="connsiteY1" fmla="*/ 22987 h 57276"/>
                  <a:gd name="connsiteX2" fmla="*/ 18461 w 43159"/>
                  <a:gd name="connsiteY2" fmla="*/ 16637 h 57276"/>
                  <a:gd name="connsiteX3" fmla="*/ 23171 w 43159"/>
                  <a:gd name="connsiteY3" fmla="*/ 9017 h 57276"/>
                  <a:gd name="connsiteX4" fmla="*/ 29028 w 43159"/>
                  <a:gd name="connsiteY4" fmla="*/ 2667 h 57276"/>
                  <a:gd name="connsiteX5" fmla="*/ 35648 w 43159"/>
                  <a:gd name="connsiteY5" fmla="*/ 0 h 57276"/>
                  <a:gd name="connsiteX6" fmla="*/ 40868 w 43159"/>
                  <a:gd name="connsiteY6" fmla="*/ 762 h 57276"/>
                  <a:gd name="connsiteX7" fmla="*/ 43160 w 43159"/>
                  <a:gd name="connsiteY7" fmla="*/ 2032 h 57276"/>
                  <a:gd name="connsiteX8" fmla="*/ 39213 w 43159"/>
                  <a:gd name="connsiteY8" fmla="*/ 12065 h 57276"/>
                  <a:gd name="connsiteX9" fmla="*/ 37049 w 43159"/>
                  <a:gd name="connsiteY9" fmla="*/ 11049 h 57276"/>
                  <a:gd name="connsiteX10" fmla="*/ 33484 w 43159"/>
                  <a:gd name="connsiteY10" fmla="*/ 10541 h 57276"/>
                  <a:gd name="connsiteX11" fmla="*/ 28009 w 43159"/>
                  <a:gd name="connsiteY11" fmla="*/ 13589 h 57276"/>
                  <a:gd name="connsiteX12" fmla="*/ 22407 w 43159"/>
                  <a:gd name="connsiteY12" fmla="*/ 20701 h 57276"/>
                  <a:gd name="connsiteX13" fmla="*/ 17315 w 43159"/>
                  <a:gd name="connsiteY13" fmla="*/ 29337 h 57276"/>
                  <a:gd name="connsiteX14" fmla="*/ 13368 w 43159"/>
                  <a:gd name="connsiteY14" fmla="*/ 36957 h 57276"/>
                  <a:gd name="connsiteX15" fmla="*/ 10440 w 43159"/>
                  <a:gd name="connsiteY15" fmla="*/ 57277 h 57276"/>
                  <a:gd name="connsiteX16" fmla="*/ 0 w 43159"/>
                  <a:gd name="connsiteY16" fmla="*/ 57277 h 57276"/>
                  <a:gd name="connsiteX17" fmla="*/ 7766 w 43159"/>
                  <a:gd name="connsiteY17" fmla="*/ 1270 h 57276"/>
                  <a:gd name="connsiteX18" fmla="*/ 18206 w 43159"/>
                  <a:gd name="connsiteY18" fmla="*/ 1270 h 5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9" h="57276">
                    <a:moveTo>
                      <a:pt x="18333" y="1270"/>
                    </a:moveTo>
                    <a:lnTo>
                      <a:pt x="15150" y="22987"/>
                    </a:lnTo>
                    <a:cubicBezTo>
                      <a:pt x="15914" y="21336"/>
                      <a:pt x="17060" y="19177"/>
                      <a:pt x="18461" y="16637"/>
                    </a:cubicBezTo>
                    <a:cubicBezTo>
                      <a:pt x="19861" y="14097"/>
                      <a:pt x="21389" y="11557"/>
                      <a:pt x="23171" y="9017"/>
                    </a:cubicBezTo>
                    <a:cubicBezTo>
                      <a:pt x="24954" y="6604"/>
                      <a:pt x="26863" y="4445"/>
                      <a:pt x="29028" y="2667"/>
                    </a:cubicBezTo>
                    <a:cubicBezTo>
                      <a:pt x="31192" y="889"/>
                      <a:pt x="33356" y="0"/>
                      <a:pt x="35648" y="0"/>
                    </a:cubicBezTo>
                    <a:cubicBezTo>
                      <a:pt x="38194" y="0"/>
                      <a:pt x="39849" y="254"/>
                      <a:pt x="40868" y="762"/>
                    </a:cubicBezTo>
                    <a:cubicBezTo>
                      <a:pt x="41886" y="1270"/>
                      <a:pt x="42650" y="1651"/>
                      <a:pt x="43160" y="2032"/>
                    </a:cubicBezTo>
                    <a:lnTo>
                      <a:pt x="39213" y="12065"/>
                    </a:lnTo>
                    <a:cubicBezTo>
                      <a:pt x="38576" y="11684"/>
                      <a:pt x="37812" y="11430"/>
                      <a:pt x="37049" y="11049"/>
                    </a:cubicBezTo>
                    <a:cubicBezTo>
                      <a:pt x="36285" y="10795"/>
                      <a:pt x="35139" y="10541"/>
                      <a:pt x="33484" y="10541"/>
                    </a:cubicBezTo>
                    <a:cubicBezTo>
                      <a:pt x="31701" y="10541"/>
                      <a:pt x="29919" y="11557"/>
                      <a:pt x="28009" y="13589"/>
                    </a:cubicBezTo>
                    <a:cubicBezTo>
                      <a:pt x="26099" y="15621"/>
                      <a:pt x="24190" y="17907"/>
                      <a:pt x="22407" y="20701"/>
                    </a:cubicBezTo>
                    <a:cubicBezTo>
                      <a:pt x="20625" y="23495"/>
                      <a:pt x="18843" y="26289"/>
                      <a:pt x="17315" y="29337"/>
                    </a:cubicBezTo>
                    <a:cubicBezTo>
                      <a:pt x="15660" y="32385"/>
                      <a:pt x="14387" y="34925"/>
                      <a:pt x="13368" y="36957"/>
                    </a:cubicBezTo>
                    <a:lnTo>
                      <a:pt x="10440" y="57277"/>
                    </a:lnTo>
                    <a:lnTo>
                      <a:pt x="0" y="57277"/>
                    </a:lnTo>
                    <a:lnTo>
                      <a:pt x="7766" y="1270"/>
                    </a:lnTo>
                    <a:lnTo>
                      <a:pt x="18206" y="1270"/>
                    </a:lnTo>
                    <a:close/>
                  </a:path>
                </a:pathLst>
              </a:custGeom>
              <a:solidFill>
                <a:srgbClr val="FFFFFF"/>
              </a:solidFill>
              <a:ln w="0" cap="flat">
                <a:noFill/>
                <a:prstDash val="solid"/>
                <a:miter/>
              </a:ln>
            </p:spPr>
            <p:txBody>
              <a:bodyPr rtlCol="0" anchor="ctr"/>
              <a:lstStyle/>
              <a:p>
                <a:endParaRPr lang="en-AD" sz="2400"/>
              </a:p>
            </p:txBody>
          </p:sp>
          <p:sp>
            <p:nvSpPr>
              <p:cNvPr id="102" name="Freeform 101">
                <a:extLst>
                  <a:ext uri="{FF2B5EF4-FFF2-40B4-BE49-F238E27FC236}">
                    <a16:creationId xmlns:a16="http://schemas.microsoft.com/office/drawing/2014/main" id="{F53C6938-7121-4A2F-4E27-651B585DBE2F}"/>
                  </a:ext>
                </a:extLst>
              </p:cNvPr>
              <p:cNvSpPr/>
              <p:nvPr/>
            </p:nvSpPr>
            <p:spPr>
              <a:xfrm>
                <a:off x="1541690"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0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0"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59"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4"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3" name="Freeform 102">
                <a:extLst>
                  <a:ext uri="{FF2B5EF4-FFF2-40B4-BE49-F238E27FC236}">
                    <a16:creationId xmlns:a16="http://schemas.microsoft.com/office/drawing/2014/main" id="{B2E392DB-9DE5-CAB1-3DC0-6C8B80EC7C1D}"/>
                  </a:ext>
                </a:extLst>
              </p:cNvPr>
              <p:cNvSpPr/>
              <p:nvPr/>
            </p:nvSpPr>
            <p:spPr>
              <a:xfrm>
                <a:off x="1595772" y="4764278"/>
                <a:ext cx="58863" cy="87248"/>
              </a:xfrm>
              <a:custGeom>
                <a:avLst/>
                <a:gdLst>
                  <a:gd name="connsiteX0" fmla="*/ 12222 w 58863"/>
                  <a:gd name="connsiteY0" fmla="*/ 1270 h 87248"/>
                  <a:gd name="connsiteX1" fmla="*/ 22917 w 58863"/>
                  <a:gd name="connsiteY1" fmla="*/ 1270 h 87248"/>
                  <a:gd name="connsiteX2" fmla="*/ 19734 w 58863"/>
                  <a:gd name="connsiteY2" fmla="*/ 22479 h 87248"/>
                  <a:gd name="connsiteX3" fmla="*/ 23426 w 58863"/>
                  <a:gd name="connsiteY3" fmla="*/ 15875 h 87248"/>
                  <a:gd name="connsiteX4" fmla="*/ 29155 w 58863"/>
                  <a:gd name="connsiteY4" fmla="*/ 8509 h 87248"/>
                  <a:gd name="connsiteX5" fmla="*/ 36539 w 58863"/>
                  <a:gd name="connsiteY5" fmla="*/ 2413 h 87248"/>
                  <a:gd name="connsiteX6" fmla="*/ 45324 w 58863"/>
                  <a:gd name="connsiteY6" fmla="*/ 0 h 87248"/>
                  <a:gd name="connsiteX7" fmla="*/ 52581 w 58863"/>
                  <a:gd name="connsiteY7" fmla="*/ 2032 h 87248"/>
                  <a:gd name="connsiteX8" fmla="*/ 57037 w 58863"/>
                  <a:gd name="connsiteY8" fmla="*/ 7366 h 87248"/>
                  <a:gd name="connsiteX9" fmla="*/ 58819 w 58863"/>
                  <a:gd name="connsiteY9" fmla="*/ 14986 h 87248"/>
                  <a:gd name="connsiteX10" fmla="*/ 58183 w 58863"/>
                  <a:gd name="connsiteY10" fmla="*/ 24003 h 87248"/>
                  <a:gd name="connsiteX11" fmla="*/ 53217 w 58863"/>
                  <a:gd name="connsiteY11" fmla="*/ 37592 h 87248"/>
                  <a:gd name="connsiteX12" fmla="*/ 44815 w 58863"/>
                  <a:gd name="connsiteY12" fmla="*/ 48641 h 87248"/>
                  <a:gd name="connsiteX13" fmla="*/ 34502 w 58863"/>
                  <a:gd name="connsiteY13" fmla="*/ 56007 h 87248"/>
                  <a:gd name="connsiteX14" fmla="*/ 23808 w 58863"/>
                  <a:gd name="connsiteY14" fmla="*/ 58674 h 87248"/>
                  <a:gd name="connsiteX15" fmla="*/ 18842 w 58863"/>
                  <a:gd name="connsiteY15" fmla="*/ 58674 h 87248"/>
                  <a:gd name="connsiteX16" fmla="*/ 14641 w 58863"/>
                  <a:gd name="connsiteY16" fmla="*/ 58039 h 87248"/>
                  <a:gd name="connsiteX17" fmla="*/ 10440 w 58863"/>
                  <a:gd name="connsiteY17" fmla="*/ 87249 h 87248"/>
                  <a:gd name="connsiteX18" fmla="*/ 0 w 58863"/>
                  <a:gd name="connsiteY18" fmla="*/ 87249 h 87248"/>
                  <a:gd name="connsiteX19" fmla="*/ 11840 w 58863"/>
                  <a:gd name="connsiteY19" fmla="*/ 1397 h 87248"/>
                  <a:gd name="connsiteX20" fmla="*/ 19352 w 58863"/>
                  <a:gd name="connsiteY20" fmla="*/ 51562 h 87248"/>
                  <a:gd name="connsiteX21" fmla="*/ 25208 w 58863"/>
                  <a:gd name="connsiteY21" fmla="*/ 52451 h 87248"/>
                  <a:gd name="connsiteX22" fmla="*/ 32083 w 58863"/>
                  <a:gd name="connsiteY22" fmla="*/ 50038 h 87248"/>
                  <a:gd name="connsiteX23" fmla="*/ 38576 w 58863"/>
                  <a:gd name="connsiteY23" fmla="*/ 43688 h 87248"/>
                  <a:gd name="connsiteX24" fmla="*/ 43796 w 58863"/>
                  <a:gd name="connsiteY24" fmla="*/ 34925 h 87248"/>
                  <a:gd name="connsiteX25" fmla="*/ 46979 w 58863"/>
                  <a:gd name="connsiteY25" fmla="*/ 25400 h 87248"/>
                  <a:gd name="connsiteX26" fmla="*/ 47870 w 58863"/>
                  <a:gd name="connsiteY26" fmla="*/ 16891 h 87248"/>
                  <a:gd name="connsiteX27" fmla="*/ 46724 w 58863"/>
                  <a:gd name="connsiteY27" fmla="*/ 11684 h 87248"/>
                  <a:gd name="connsiteX28" fmla="*/ 44305 w 58863"/>
                  <a:gd name="connsiteY28" fmla="*/ 9144 h 87248"/>
                  <a:gd name="connsiteX29" fmla="*/ 41250 w 58863"/>
                  <a:gd name="connsiteY29" fmla="*/ 8382 h 87248"/>
                  <a:gd name="connsiteX30" fmla="*/ 36794 w 58863"/>
                  <a:gd name="connsiteY30" fmla="*/ 10160 h 87248"/>
                  <a:gd name="connsiteX31" fmla="*/ 31956 w 58863"/>
                  <a:gd name="connsiteY31" fmla="*/ 14732 h 87248"/>
                  <a:gd name="connsiteX32" fmla="*/ 27245 w 58863"/>
                  <a:gd name="connsiteY32" fmla="*/ 20955 h 87248"/>
                  <a:gd name="connsiteX33" fmla="*/ 23044 w 58863"/>
                  <a:gd name="connsiteY33" fmla="*/ 27432 h 87248"/>
                  <a:gd name="connsiteX34" fmla="*/ 19734 w 58863"/>
                  <a:gd name="connsiteY34" fmla="*/ 33147 h 87248"/>
                  <a:gd name="connsiteX35" fmla="*/ 17951 w 58863"/>
                  <a:gd name="connsiteY35" fmla="*/ 36830 h 87248"/>
                  <a:gd name="connsiteX36" fmla="*/ 16169 w 58863"/>
                  <a:gd name="connsiteY36" fmla="*/ 49784 h 87248"/>
                  <a:gd name="connsiteX37" fmla="*/ 19479 w 58863"/>
                  <a:gd name="connsiteY37" fmla="*/ 51435 h 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63" h="87248">
                    <a:moveTo>
                      <a:pt x="12222" y="1270"/>
                    </a:moveTo>
                    <a:lnTo>
                      <a:pt x="22917" y="1270"/>
                    </a:lnTo>
                    <a:lnTo>
                      <a:pt x="19734" y="22479"/>
                    </a:lnTo>
                    <a:cubicBezTo>
                      <a:pt x="20625" y="20701"/>
                      <a:pt x="21898" y="18415"/>
                      <a:pt x="23426" y="15875"/>
                    </a:cubicBezTo>
                    <a:cubicBezTo>
                      <a:pt x="25081" y="13335"/>
                      <a:pt x="26991" y="10795"/>
                      <a:pt x="29155" y="8509"/>
                    </a:cubicBezTo>
                    <a:cubicBezTo>
                      <a:pt x="31319" y="6096"/>
                      <a:pt x="33866" y="4064"/>
                      <a:pt x="36539" y="2413"/>
                    </a:cubicBezTo>
                    <a:cubicBezTo>
                      <a:pt x="39340" y="762"/>
                      <a:pt x="42268" y="0"/>
                      <a:pt x="45324" y="0"/>
                    </a:cubicBezTo>
                    <a:cubicBezTo>
                      <a:pt x="48252" y="0"/>
                      <a:pt x="50671" y="635"/>
                      <a:pt x="52581" y="2032"/>
                    </a:cubicBezTo>
                    <a:cubicBezTo>
                      <a:pt x="54490" y="3429"/>
                      <a:pt x="56018" y="5207"/>
                      <a:pt x="57037" y="7366"/>
                    </a:cubicBezTo>
                    <a:cubicBezTo>
                      <a:pt x="58055" y="9525"/>
                      <a:pt x="58692" y="12192"/>
                      <a:pt x="58819" y="14986"/>
                    </a:cubicBezTo>
                    <a:cubicBezTo>
                      <a:pt x="58947" y="17907"/>
                      <a:pt x="58819" y="20955"/>
                      <a:pt x="58183" y="24003"/>
                    </a:cubicBezTo>
                    <a:cubicBezTo>
                      <a:pt x="57164" y="28829"/>
                      <a:pt x="55509" y="33401"/>
                      <a:pt x="53217" y="37592"/>
                    </a:cubicBezTo>
                    <a:cubicBezTo>
                      <a:pt x="50798" y="41783"/>
                      <a:pt x="47997" y="45466"/>
                      <a:pt x="44815" y="48641"/>
                    </a:cubicBezTo>
                    <a:cubicBezTo>
                      <a:pt x="41632" y="51816"/>
                      <a:pt x="38194" y="54229"/>
                      <a:pt x="34502" y="56007"/>
                    </a:cubicBezTo>
                    <a:cubicBezTo>
                      <a:pt x="30810" y="57785"/>
                      <a:pt x="27245" y="58674"/>
                      <a:pt x="23808" y="58674"/>
                    </a:cubicBezTo>
                    <a:cubicBezTo>
                      <a:pt x="21643" y="58674"/>
                      <a:pt x="19988" y="58674"/>
                      <a:pt x="18842" y="58674"/>
                    </a:cubicBezTo>
                    <a:cubicBezTo>
                      <a:pt x="17697" y="58674"/>
                      <a:pt x="16296" y="58420"/>
                      <a:pt x="14641" y="58039"/>
                    </a:cubicBezTo>
                    <a:lnTo>
                      <a:pt x="10440" y="87249"/>
                    </a:lnTo>
                    <a:lnTo>
                      <a:pt x="0" y="87249"/>
                    </a:lnTo>
                    <a:lnTo>
                      <a:pt x="11840" y="1397"/>
                    </a:lnTo>
                    <a:close/>
                    <a:moveTo>
                      <a:pt x="19352" y="51562"/>
                    </a:moveTo>
                    <a:cubicBezTo>
                      <a:pt x="20752" y="52070"/>
                      <a:pt x="22662" y="52451"/>
                      <a:pt x="25208" y="52451"/>
                    </a:cubicBezTo>
                    <a:cubicBezTo>
                      <a:pt x="27500" y="52451"/>
                      <a:pt x="29792" y="51689"/>
                      <a:pt x="32083" y="50038"/>
                    </a:cubicBezTo>
                    <a:cubicBezTo>
                      <a:pt x="34375" y="48387"/>
                      <a:pt x="36539" y="46355"/>
                      <a:pt x="38576" y="43688"/>
                    </a:cubicBezTo>
                    <a:cubicBezTo>
                      <a:pt x="40613" y="41148"/>
                      <a:pt x="42268" y="38227"/>
                      <a:pt x="43796" y="34925"/>
                    </a:cubicBezTo>
                    <a:cubicBezTo>
                      <a:pt x="45324" y="31750"/>
                      <a:pt x="46342" y="28575"/>
                      <a:pt x="46979" y="25400"/>
                    </a:cubicBezTo>
                    <a:cubicBezTo>
                      <a:pt x="47616" y="21971"/>
                      <a:pt x="47997" y="19050"/>
                      <a:pt x="47870" y="16891"/>
                    </a:cubicBezTo>
                    <a:cubicBezTo>
                      <a:pt x="47870" y="14732"/>
                      <a:pt x="47361" y="12954"/>
                      <a:pt x="46724" y="11684"/>
                    </a:cubicBezTo>
                    <a:cubicBezTo>
                      <a:pt x="46088" y="10414"/>
                      <a:pt x="45324" y="9525"/>
                      <a:pt x="44305" y="9144"/>
                    </a:cubicBezTo>
                    <a:cubicBezTo>
                      <a:pt x="43287" y="8636"/>
                      <a:pt x="42396" y="8382"/>
                      <a:pt x="41250" y="8382"/>
                    </a:cubicBezTo>
                    <a:cubicBezTo>
                      <a:pt x="39849" y="8382"/>
                      <a:pt x="38322" y="9017"/>
                      <a:pt x="36794" y="10160"/>
                    </a:cubicBezTo>
                    <a:cubicBezTo>
                      <a:pt x="35139" y="11430"/>
                      <a:pt x="33611" y="12954"/>
                      <a:pt x="31956" y="14732"/>
                    </a:cubicBezTo>
                    <a:cubicBezTo>
                      <a:pt x="30301" y="16637"/>
                      <a:pt x="28773" y="18669"/>
                      <a:pt x="27245" y="20955"/>
                    </a:cubicBezTo>
                    <a:cubicBezTo>
                      <a:pt x="25717" y="23241"/>
                      <a:pt x="24317" y="25400"/>
                      <a:pt x="23044" y="27432"/>
                    </a:cubicBezTo>
                    <a:cubicBezTo>
                      <a:pt x="21771" y="29464"/>
                      <a:pt x="20752" y="31369"/>
                      <a:pt x="19734" y="33147"/>
                    </a:cubicBezTo>
                    <a:cubicBezTo>
                      <a:pt x="18842" y="34925"/>
                      <a:pt x="18206" y="36068"/>
                      <a:pt x="17951" y="36830"/>
                    </a:cubicBezTo>
                    <a:lnTo>
                      <a:pt x="16169" y="49784"/>
                    </a:lnTo>
                    <a:cubicBezTo>
                      <a:pt x="17060" y="50292"/>
                      <a:pt x="18206" y="50800"/>
                      <a:pt x="19479" y="51435"/>
                    </a:cubicBezTo>
                    <a:close/>
                  </a:path>
                </a:pathLst>
              </a:custGeom>
              <a:solidFill>
                <a:srgbClr val="FFFFFF"/>
              </a:solidFill>
              <a:ln w="0" cap="flat">
                <a:noFill/>
                <a:prstDash val="solid"/>
                <a:miter/>
              </a:ln>
            </p:spPr>
            <p:txBody>
              <a:bodyPr rtlCol="0" anchor="ctr"/>
              <a:lstStyle/>
              <a:p>
                <a:endParaRPr lang="en-AD" sz="2400"/>
              </a:p>
            </p:txBody>
          </p:sp>
          <p:sp>
            <p:nvSpPr>
              <p:cNvPr id="104" name="Freeform 103">
                <a:extLst>
                  <a:ext uri="{FF2B5EF4-FFF2-40B4-BE49-F238E27FC236}">
                    <a16:creationId xmlns:a16="http://schemas.microsoft.com/office/drawing/2014/main" id="{29AD8A69-CA6B-F82B-4B69-4D236AA9CDDB}"/>
                  </a:ext>
                </a:extLst>
              </p:cNvPr>
              <p:cNvSpPr/>
              <p:nvPr/>
            </p:nvSpPr>
            <p:spPr>
              <a:xfrm>
                <a:off x="1661084" y="4764404"/>
                <a:ext cx="53471" cy="58420"/>
              </a:xfrm>
              <a:custGeom>
                <a:avLst/>
                <a:gdLst>
                  <a:gd name="connsiteX0" fmla="*/ 45833 w 53471"/>
                  <a:gd name="connsiteY0" fmla="*/ 57150 h 58420"/>
                  <a:gd name="connsiteX1" fmla="*/ 35266 w 53471"/>
                  <a:gd name="connsiteY1" fmla="*/ 57150 h 58420"/>
                  <a:gd name="connsiteX2" fmla="*/ 38322 w 53471"/>
                  <a:gd name="connsiteY2" fmla="*/ 35941 h 58420"/>
                  <a:gd name="connsiteX3" fmla="*/ 34630 w 53471"/>
                  <a:gd name="connsiteY3" fmla="*/ 42545 h 58420"/>
                  <a:gd name="connsiteX4" fmla="*/ 28900 w 53471"/>
                  <a:gd name="connsiteY4" fmla="*/ 49911 h 58420"/>
                  <a:gd name="connsiteX5" fmla="*/ 21516 w 53471"/>
                  <a:gd name="connsiteY5" fmla="*/ 56007 h 58420"/>
                  <a:gd name="connsiteX6" fmla="*/ 12731 w 53471"/>
                  <a:gd name="connsiteY6" fmla="*/ 58420 h 58420"/>
                  <a:gd name="connsiteX7" fmla="*/ 5602 w 53471"/>
                  <a:gd name="connsiteY7" fmla="*/ 56388 h 58420"/>
                  <a:gd name="connsiteX8" fmla="*/ 1528 w 53471"/>
                  <a:gd name="connsiteY8" fmla="*/ 51054 h 58420"/>
                  <a:gd name="connsiteX9" fmla="*/ 0 w 53471"/>
                  <a:gd name="connsiteY9" fmla="*/ 43434 h 58420"/>
                  <a:gd name="connsiteX10" fmla="*/ 764 w 53471"/>
                  <a:gd name="connsiteY10" fmla="*/ 34417 h 58420"/>
                  <a:gd name="connsiteX11" fmla="*/ 5602 w 53471"/>
                  <a:gd name="connsiteY11" fmla="*/ 20828 h 58420"/>
                  <a:gd name="connsiteX12" fmla="*/ 13750 w 53471"/>
                  <a:gd name="connsiteY12" fmla="*/ 9906 h 58420"/>
                  <a:gd name="connsiteX13" fmla="*/ 23935 w 53471"/>
                  <a:gd name="connsiteY13" fmla="*/ 2667 h 58420"/>
                  <a:gd name="connsiteX14" fmla="*/ 35266 w 53471"/>
                  <a:gd name="connsiteY14" fmla="*/ 0 h 58420"/>
                  <a:gd name="connsiteX15" fmla="*/ 43287 w 53471"/>
                  <a:gd name="connsiteY15" fmla="*/ 762 h 58420"/>
                  <a:gd name="connsiteX16" fmla="*/ 47998 w 53471"/>
                  <a:gd name="connsiteY16" fmla="*/ 1778 h 58420"/>
                  <a:gd name="connsiteX17" fmla="*/ 53472 w 53471"/>
                  <a:gd name="connsiteY17" fmla="*/ 127 h 58420"/>
                  <a:gd name="connsiteX18" fmla="*/ 45960 w 53471"/>
                  <a:gd name="connsiteY18" fmla="*/ 57404 h 58420"/>
                  <a:gd name="connsiteX19" fmla="*/ 38958 w 53471"/>
                  <a:gd name="connsiteY19" fmla="*/ 6858 h 58420"/>
                  <a:gd name="connsiteX20" fmla="*/ 33611 w 53471"/>
                  <a:gd name="connsiteY20" fmla="*/ 5969 h 58420"/>
                  <a:gd name="connsiteX21" fmla="*/ 26863 w 53471"/>
                  <a:gd name="connsiteY21" fmla="*/ 8255 h 58420"/>
                  <a:gd name="connsiteX22" fmla="*/ 20625 w 53471"/>
                  <a:gd name="connsiteY22" fmla="*/ 14478 h 58420"/>
                  <a:gd name="connsiteX23" fmla="*/ 15532 w 53471"/>
                  <a:gd name="connsiteY23" fmla="*/ 23114 h 58420"/>
                  <a:gd name="connsiteX24" fmla="*/ 12222 w 53471"/>
                  <a:gd name="connsiteY24" fmla="*/ 32893 h 58420"/>
                  <a:gd name="connsiteX25" fmla="*/ 11076 w 53471"/>
                  <a:gd name="connsiteY25" fmla="*/ 41402 h 58420"/>
                  <a:gd name="connsiteX26" fmla="*/ 11968 w 53471"/>
                  <a:gd name="connsiteY26" fmla="*/ 46609 h 58420"/>
                  <a:gd name="connsiteX27" fmla="*/ 14005 w 53471"/>
                  <a:gd name="connsiteY27" fmla="*/ 49149 h 58420"/>
                  <a:gd name="connsiteX28" fmla="*/ 16933 w 53471"/>
                  <a:gd name="connsiteY28" fmla="*/ 49911 h 58420"/>
                  <a:gd name="connsiteX29" fmla="*/ 21389 w 53471"/>
                  <a:gd name="connsiteY29" fmla="*/ 48133 h 58420"/>
                  <a:gd name="connsiteX30" fmla="*/ 26227 w 53471"/>
                  <a:gd name="connsiteY30" fmla="*/ 43561 h 58420"/>
                  <a:gd name="connsiteX31" fmla="*/ 30937 w 53471"/>
                  <a:gd name="connsiteY31" fmla="*/ 37338 h 58420"/>
                  <a:gd name="connsiteX32" fmla="*/ 35139 w 53471"/>
                  <a:gd name="connsiteY32" fmla="*/ 30861 h 58420"/>
                  <a:gd name="connsiteX33" fmla="*/ 38322 w 53471"/>
                  <a:gd name="connsiteY33" fmla="*/ 25146 h 58420"/>
                  <a:gd name="connsiteX34" fmla="*/ 40104 w 53471"/>
                  <a:gd name="connsiteY34" fmla="*/ 21463 h 58420"/>
                  <a:gd name="connsiteX35" fmla="*/ 41759 w 53471"/>
                  <a:gd name="connsiteY35" fmla="*/ 8636 h 58420"/>
                  <a:gd name="connsiteX36" fmla="*/ 38703 w 53471"/>
                  <a:gd name="connsiteY36" fmla="*/ 6858 h 5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471" h="58420">
                    <a:moveTo>
                      <a:pt x="45833" y="57150"/>
                    </a:moveTo>
                    <a:lnTo>
                      <a:pt x="35266" y="57150"/>
                    </a:lnTo>
                    <a:lnTo>
                      <a:pt x="38322" y="35941"/>
                    </a:lnTo>
                    <a:cubicBezTo>
                      <a:pt x="37430" y="37719"/>
                      <a:pt x="36285" y="40005"/>
                      <a:pt x="34630" y="42545"/>
                    </a:cubicBezTo>
                    <a:cubicBezTo>
                      <a:pt x="33102" y="45085"/>
                      <a:pt x="31192" y="47625"/>
                      <a:pt x="28900" y="49911"/>
                    </a:cubicBezTo>
                    <a:cubicBezTo>
                      <a:pt x="26736" y="52324"/>
                      <a:pt x="24190" y="54356"/>
                      <a:pt x="21516" y="56007"/>
                    </a:cubicBezTo>
                    <a:cubicBezTo>
                      <a:pt x="18842" y="57658"/>
                      <a:pt x="15787" y="58420"/>
                      <a:pt x="12731" y="58420"/>
                    </a:cubicBezTo>
                    <a:cubicBezTo>
                      <a:pt x="9803" y="58420"/>
                      <a:pt x="7384" y="57785"/>
                      <a:pt x="5602" y="56388"/>
                    </a:cubicBezTo>
                    <a:cubicBezTo>
                      <a:pt x="3819" y="54991"/>
                      <a:pt x="2419" y="53213"/>
                      <a:pt x="1528" y="51054"/>
                    </a:cubicBezTo>
                    <a:cubicBezTo>
                      <a:pt x="637" y="48895"/>
                      <a:pt x="127" y="46228"/>
                      <a:pt x="0" y="43434"/>
                    </a:cubicBezTo>
                    <a:cubicBezTo>
                      <a:pt x="0" y="40513"/>
                      <a:pt x="127" y="37465"/>
                      <a:pt x="764" y="34417"/>
                    </a:cubicBezTo>
                    <a:cubicBezTo>
                      <a:pt x="1782" y="29591"/>
                      <a:pt x="3310" y="25019"/>
                      <a:pt x="5602" y="20828"/>
                    </a:cubicBezTo>
                    <a:cubicBezTo>
                      <a:pt x="7893" y="16637"/>
                      <a:pt x="10567" y="12954"/>
                      <a:pt x="13750" y="9906"/>
                    </a:cubicBezTo>
                    <a:cubicBezTo>
                      <a:pt x="16933" y="6858"/>
                      <a:pt x="20243" y="4445"/>
                      <a:pt x="23935" y="2667"/>
                    </a:cubicBezTo>
                    <a:cubicBezTo>
                      <a:pt x="27627" y="889"/>
                      <a:pt x="31447" y="0"/>
                      <a:pt x="35266" y="0"/>
                    </a:cubicBezTo>
                    <a:cubicBezTo>
                      <a:pt x="38703" y="0"/>
                      <a:pt x="41250" y="254"/>
                      <a:pt x="43287" y="762"/>
                    </a:cubicBezTo>
                    <a:cubicBezTo>
                      <a:pt x="45197" y="1270"/>
                      <a:pt x="46724" y="1524"/>
                      <a:pt x="47998" y="1778"/>
                    </a:cubicBezTo>
                    <a:lnTo>
                      <a:pt x="53472" y="127"/>
                    </a:lnTo>
                    <a:lnTo>
                      <a:pt x="45960" y="57404"/>
                    </a:lnTo>
                    <a:close/>
                    <a:moveTo>
                      <a:pt x="38958" y="6858"/>
                    </a:moveTo>
                    <a:cubicBezTo>
                      <a:pt x="37812" y="6350"/>
                      <a:pt x="36157" y="5969"/>
                      <a:pt x="33611" y="5969"/>
                    </a:cubicBezTo>
                    <a:cubicBezTo>
                      <a:pt x="31319" y="5969"/>
                      <a:pt x="29028" y="6731"/>
                      <a:pt x="26863" y="8255"/>
                    </a:cubicBezTo>
                    <a:cubicBezTo>
                      <a:pt x="24572" y="9779"/>
                      <a:pt x="22535" y="11938"/>
                      <a:pt x="20625" y="14478"/>
                    </a:cubicBezTo>
                    <a:cubicBezTo>
                      <a:pt x="18715" y="17018"/>
                      <a:pt x="17060" y="19939"/>
                      <a:pt x="15532" y="23114"/>
                    </a:cubicBezTo>
                    <a:cubicBezTo>
                      <a:pt x="14005" y="26289"/>
                      <a:pt x="12986" y="29591"/>
                      <a:pt x="12222" y="32893"/>
                    </a:cubicBezTo>
                    <a:cubicBezTo>
                      <a:pt x="11458" y="36322"/>
                      <a:pt x="11076" y="39243"/>
                      <a:pt x="11076" y="41402"/>
                    </a:cubicBezTo>
                    <a:cubicBezTo>
                      <a:pt x="11076" y="43561"/>
                      <a:pt x="11458" y="45339"/>
                      <a:pt x="11968" y="46609"/>
                    </a:cubicBezTo>
                    <a:cubicBezTo>
                      <a:pt x="12477" y="47879"/>
                      <a:pt x="13241" y="48768"/>
                      <a:pt x="14005" y="49149"/>
                    </a:cubicBezTo>
                    <a:cubicBezTo>
                      <a:pt x="14896" y="49657"/>
                      <a:pt x="15787" y="49911"/>
                      <a:pt x="16933" y="49911"/>
                    </a:cubicBezTo>
                    <a:cubicBezTo>
                      <a:pt x="18333" y="49911"/>
                      <a:pt x="19861" y="49276"/>
                      <a:pt x="21389" y="48133"/>
                    </a:cubicBezTo>
                    <a:cubicBezTo>
                      <a:pt x="23044" y="46863"/>
                      <a:pt x="24572" y="45339"/>
                      <a:pt x="26227" y="43561"/>
                    </a:cubicBezTo>
                    <a:cubicBezTo>
                      <a:pt x="27882" y="41656"/>
                      <a:pt x="29410" y="39624"/>
                      <a:pt x="30937" y="37338"/>
                    </a:cubicBezTo>
                    <a:cubicBezTo>
                      <a:pt x="32465" y="35052"/>
                      <a:pt x="33866" y="32893"/>
                      <a:pt x="35139" y="30861"/>
                    </a:cubicBezTo>
                    <a:cubicBezTo>
                      <a:pt x="36412" y="28829"/>
                      <a:pt x="37430" y="26924"/>
                      <a:pt x="38322" y="25146"/>
                    </a:cubicBezTo>
                    <a:cubicBezTo>
                      <a:pt x="39213" y="23495"/>
                      <a:pt x="39849" y="22225"/>
                      <a:pt x="40104" y="21463"/>
                    </a:cubicBezTo>
                    <a:lnTo>
                      <a:pt x="41759" y="8636"/>
                    </a:lnTo>
                    <a:cubicBezTo>
                      <a:pt x="40741" y="8001"/>
                      <a:pt x="39722" y="7493"/>
                      <a:pt x="38703" y="6858"/>
                    </a:cubicBezTo>
                    <a:close/>
                  </a:path>
                </a:pathLst>
              </a:custGeom>
              <a:solidFill>
                <a:srgbClr val="FFFFFF"/>
              </a:solidFill>
              <a:ln w="0" cap="flat">
                <a:noFill/>
                <a:prstDash val="solid"/>
                <a:miter/>
              </a:ln>
            </p:spPr>
            <p:txBody>
              <a:bodyPr rtlCol="0" anchor="ctr"/>
              <a:lstStyle/>
              <a:p>
                <a:endParaRPr lang="en-AD" sz="2400"/>
              </a:p>
            </p:txBody>
          </p:sp>
          <p:sp>
            <p:nvSpPr>
              <p:cNvPr id="105" name="Freeform 104">
                <a:extLst>
                  <a:ext uri="{FF2B5EF4-FFF2-40B4-BE49-F238E27FC236}">
                    <a16:creationId xmlns:a16="http://schemas.microsoft.com/office/drawing/2014/main" id="{208311B9-9689-7848-5CFA-C22925EE9FCD}"/>
                  </a:ext>
                </a:extLst>
              </p:cNvPr>
              <p:cNvSpPr/>
              <p:nvPr/>
            </p:nvSpPr>
            <p:spPr>
              <a:xfrm>
                <a:off x="1720158" y="4734686"/>
                <a:ext cx="58178" cy="86867"/>
              </a:xfrm>
              <a:custGeom>
                <a:avLst/>
                <a:gdLst>
                  <a:gd name="connsiteX0" fmla="*/ 11968 w 58178"/>
                  <a:gd name="connsiteY0" fmla="*/ 0 h 86867"/>
                  <a:gd name="connsiteX1" fmla="*/ 31319 w 58178"/>
                  <a:gd name="connsiteY1" fmla="*/ 0 h 86867"/>
                  <a:gd name="connsiteX2" fmla="*/ 42141 w 58178"/>
                  <a:gd name="connsiteY2" fmla="*/ 1651 h 86867"/>
                  <a:gd name="connsiteX3" fmla="*/ 50289 w 58178"/>
                  <a:gd name="connsiteY3" fmla="*/ 6096 h 86867"/>
                  <a:gd name="connsiteX4" fmla="*/ 55000 w 58178"/>
                  <a:gd name="connsiteY4" fmla="*/ 12954 h 86867"/>
                  <a:gd name="connsiteX5" fmla="*/ 55764 w 58178"/>
                  <a:gd name="connsiteY5" fmla="*/ 21717 h 86867"/>
                  <a:gd name="connsiteX6" fmla="*/ 53345 w 58178"/>
                  <a:gd name="connsiteY6" fmla="*/ 28956 h 86867"/>
                  <a:gd name="connsiteX7" fmla="*/ 49271 w 58178"/>
                  <a:gd name="connsiteY7" fmla="*/ 34290 h 86867"/>
                  <a:gd name="connsiteX8" fmla="*/ 44433 w 58178"/>
                  <a:gd name="connsiteY8" fmla="*/ 38100 h 86867"/>
                  <a:gd name="connsiteX9" fmla="*/ 39977 w 58178"/>
                  <a:gd name="connsiteY9" fmla="*/ 40640 h 86867"/>
                  <a:gd name="connsiteX10" fmla="*/ 48252 w 58178"/>
                  <a:gd name="connsiteY10" fmla="*/ 43307 h 86867"/>
                  <a:gd name="connsiteX11" fmla="*/ 54236 w 58178"/>
                  <a:gd name="connsiteY11" fmla="*/ 48133 h 86867"/>
                  <a:gd name="connsiteX12" fmla="*/ 57546 w 58178"/>
                  <a:gd name="connsiteY12" fmla="*/ 54483 h 86867"/>
                  <a:gd name="connsiteX13" fmla="*/ 58055 w 58178"/>
                  <a:gd name="connsiteY13" fmla="*/ 61341 h 86867"/>
                  <a:gd name="connsiteX14" fmla="*/ 53727 w 58178"/>
                  <a:gd name="connsiteY14" fmla="*/ 72644 h 86867"/>
                  <a:gd name="connsiteX15" fmla="*/ 45324 w 58178"/>
                  <a:gd name="connsiteY15" fmla="*/ 80645 h 86867"/>
                  <a:gd name="connsiteX16" fmla="*/ 34248 w 58178"/>
                  <a:gd name="connsiteY16" fmla="*/ 85344 h 86867"/>
                  <a:gd name="connsiteX17" fmla="*/ 21898 w 58178"/>
                  <a:gd name="connsiteY17" fmla="*/ 86868 h 86867"/>
                  <a:gd name="connsiteX18" fmla="*/ 0 w 58178"/>
                  <a:gd name="connsiteY18" fmla="*/ 86868 h 86867"/>
                  <a:gd name="connsiteX19" fmla="*/ 12095 w 58178"/>
                  <a:gd name="connsiteY19" fmla="*/ 0 h 86867"/>
                  <a:gd name="connsiteX20" fmla="*/ 38703 w 58178"/>
                  <a:gd name="connsiteY20" fmla="*/ 74422 h 86867"/>
                  <a:gd name="connsiteX21" fmla="*/ 46088 w 58178"/>
                  <a:gd name="connsiteY21" fmla="*/ 61976 h 86867"/>
                  <a:gd name="connsiteX22" fmla="*/ 45579 w 58178"/>
                  <a:gd name="connsiteY22" fmla="*/ 56769 h 86867"/>
                  <a:gd name="connsiteX23" fmla="*/ 42650 w 58178"/>
                  <a:gd name="connsiteY23" fmla="*/ 51689 h 86867"/>
                  <a:gd name="connsiteX24" fmla="*/ 36794 w 58178"/>
                  <a:gd name="connsiteY24" fmla="*/ 47879 h 86867"/>
                  <a:gd name="connsiteX25" fmla="*/ 27500 w 58178"/>
                  <a:gd name="connsiteY25" fmla="*/ 46355 h 86867"/>
                  <a:gd name="connsiteX26" fmla="*/ 15787 w 58178"/>
                  <a:gd name="connsiteY26" fmla="*/ 46355 h 86867"/>
                  <a:gd name="connsiteX27" fmla="*/ 11204 w 58178"/>
                  <a:gd name="connsiteY27" fmla="*/ 78994 h 86867"/>
                  <a:gd name="connsiteX28" fmla="*/ 21134 w 58178"/>
                  <a:gd name="connsiteY28" fmla="*/ 78994 h 86867"/>
                  <a:gd name="connsiteX29" fmla="*/ 38576 w 58178"/>
                  <a:gd name="connsiteY29" fmla="*/ 74422 h 86867"/>
                  <a:gd name="connsiteX30" fmla="*/ 23935 w 58178"/>
                  <a:gd name="connsiteY30" fmla="*/ 38481 h 86867"/>
                  <a:gd name="connsiteX31" fmla="*/ 30937 w 58178"/>
                  <a:gd name="connsiteY31" fmla="*/ 37338 h 86867"/>
                  <a:gd name="connsiteX32" fmla="*/ 37176 w 58178"/>
                  <a:gd name="connsiteY32" fmla="*/ 34036 h 86867"/>
                  <a:gd name="connsiteX33" fmla="*/ 41759 w 58178"/>
                  <a:gd name="connsiteY33" fmla="*/ 29083 h 86867"/>
                  <a:gd name="connsiteX34" fmla="*/ 44305 w 58178"/>
                  <a:gd name="connsiteY34" fmla="*/ 22860 h 86867"/>
                  <a:gd name="connsiteX35" fmla="*/ 44305 w 58178"/>
                  <a:gd name="connsiteY35" fmla="*/ 17526 h 86867"/>
                  <a:gd name="connsiteX36" fmla="*/ 41886 w 58178"/>
                  <a:gd name="connsiteY36" fmla="*/ 12700 h 86867"/>
                  <a:gd name="connsiteX37" fmla="*/ 36921 w 58178"/>
                  <a:gd name="connsiteY37" fmla="*/ 9144 h 86867"/>
                  <a:gd name="connsiteX38" fmla="*/ 29282 w 58178"/>
                  <a:gd name="connsiteY38" fmla="*/ 7747 h 86867"/>
                  <a:gd name="connsiteX39" fmla="*/ 21516 w 58178"/>
                  <a:gd name="connsiteY39" fmla="*/ 7747 h 86867"/>
                  <a:gd name="connsiteX40" fmla="*/ 17188 w 58178"/>
                  <a:gd name="connsiteY40" fmla="*/ 38481 h 86867"/>
                  <a:gd name="connsiteX41" fmla="*/ 24062 w 58178"/>
                  <a:gd name="connsiteY41" fmla="*/ 38481 h 8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178" h="86867">
                    <a:moveTo>
                      <a:pt x="11968" y="0"/>
                    </a:moveTo>
                    <a:lnTo>
                      <a:pt x="31319" y="0"/>
                    </a:lnTo>
                    <a:cubicBezTo>
                      <a:pt x="35266" y="0"/>
                      <a:pt x="38958" y="508"/>
                      <a:pt x="42141" y="1651"/>
                    </a:cubicBezTo>
                    <a:cubicBezTo>
                      <a:pt x="45324" y="2794"/>
                      <a:pt x="47998" y="4191"/>
                      <a:pt x="50289" y="6096"/>
                    </a:cubicBezTo>
                    <a:cubicBezTo>
                      <a:pt x="52453" y="8001"/>
                      <a:pt x="53981" y="10287"/>
                      <a:pt x="55000" y="12954"/>
                    </a:cubicBezTo>
                    <a:cubicBezTo>
                      <a:pt x="56018" y="15621"/>
                      <a:pt x="56273" y="18542"/>
                      <a:pt x="55764" y="21717"/>
                    </a:cubicBezTo>
                    <a:cubicBezTo>
                      <a:pt x="55382" y="24511"/>
                      <a:pt x="54491" y="26924"/>
                      <a:pt x="53345" y="28956"/>
                    </a:cubicBezTo>
                    <a:cubicBezTo>
                      <a:pt x="52199" y="30988"/>
                      <a:pt x="50799" y="32766"/>
                      <a:pt x="49271" y="34290"/>
                    </a:cubicBezTo>
                    <a:cubicBezTo>
                      <a:pt x="47743" y="35814"/>
                      <a:pt x="46088" y="37084"/>
                      <a:pt x="44433" y="38100"/>
                    </a:cubicBezTo>
                    <a:cubicBezTo>
                      <a:pt x="42778" y="39116"/>
                      <a:pt x="41250" y="40005"/>
                      <a:pt x="39977" y="40640"/>
                    </a:cubicBezTo>
                    <a:cubicBezTo>
                      <a:pt x="43160" y="41021"/>
                      <a:pt x="45833" y="41910"/>
                      <a:pt x="48252" y="43307"/>
                    </a:cubicBezTo>
                    <a:cubicBezTo>
                      <a:pt x="50671" y="44704"/>
                      <a:pt x="52581" y="46228"/>
                      <a:pt x="54236" y="48133"/>
                    </a:cubicBezTo>
                    <a:cubicBezTo>
                      <a:pt x="55764" y="50038"/>
                      <a:pt x="56910" y="52197"/>
                      <a:pt x="57546" y="54483"/>
                    </a:cubicBezTo>
                    <a:cubicBezTo>
                      <a:pt x="58183" y="56769"/>
                      <a:pt x="58310" y="59055"/>
                      <a:pt x="58055" y="61341"/>
                    </a:cubicBezTo>
                    <a:cubicBezTo>
                      <a:pt x="57419" y="65659"/>
                      <a:pt x="56018" y="69469"/>
                      <a:pt x="53727" y="72644"/>
                    </a:cubicBezTo>
                    <a:cubicBezTo>
                      <a:pt x="51435" y="75819"/>
                      <a:pt x="48634" y="78486"/>
                      <a:pt x="45324" y="80645"/>
                    </a:cubicBezTo>
                    <a:cubicBezTo>
                      <a:pt x="42014" y="82677"/>
                      <a:pt x="38322" y="84328"/>
                      <a:pt x="34248" y="85344"/>
                    </a:cubicBezTo>
                    <a:cubicBezTo>
                      <a:pt x="30173" y="86360"/>
                      <a:pt x="25972" y="86868"/>
                      <a:pt x="21898" y="86868"/>
                    </a:cubicBezTo>
                    <a:lnTo>
                      <a:pt x="0" y="86868"/>
                    </a:lnTo>
                    <a:lnTo>
                      <a:pt x="12095" y="0"/>
                    </a:lnTo>
                    <a:close/>
                    <a:moveTo>
                      <a:pt x="38703" y="74422"/>
                    </a:moveTo>
                    <a:cubicBezTo>
                      <a:pt x="43032" y="71374"/>
                      <a:pt x="45579" y="67183"/>
                      <a:pt x="46088" y="61976"/>
                    </a:cubicBezTo>
                    <a:cubicBezTo>
                      <a:pt x="46215" y="60325"/>
                      <a:pt x="46088" y="58547"/>
                      <a:pt x="45579" y="56769"/>
                    </a:cubicBezTo>
                    <a:cubicBezTo>
                      <a:pt x="45069" y="54991"/>
                      <a:pt x="44178" y="53213"/>
                      <a:pt x="42650" y="51689"/>
                    </a:cubicBezTo>
                    <a:cubicBezTo>
                      <a:pt x="41250" y="50165"/>
                      <a:pt x="39213" y="48895"/>
                      <a:pt x="36794" y="47879"/>
                    </a:cubicBezTo>
                    <a:cubicBezTo>
                      <a:pt x="34375" y="46863"/>
                      <a:pt x="31192" y="46355"/>
                      <a:pt x="27500" y="46355"/>
                    </a:cubicBezTo>
                    <a:lnTo>
                      <a:pt x="15787" y="46355"/>
                    </a:lnTo>
                    <a:lnTo>
                      <a:pt x="11204" y="78994"/>
                    </a:lnTo>
                    <a:lnTo>
                      <a:pt x="21134" y="78994"/>
                    </a:lnTo>
                    <a:cubicBezTo>
                      <a:pt x="28391" y="78994"/>
                      <a:pt x="34248" y="77470"/>
                      <a:pt x="38576" y="74422"/>
                    </a:cubicBezTo>
                    <a:close/>
                    <a:moveTo>
                      <a:pt x="23935" y="38481"/>
                    </a:moveTo>
                    <a:cubicBezTo>
                      <a:pt x="26227" y="38481"/>
                      <a:pt x="28646" y="38100"/>
                      <a:pt x="30937" y="37338"/>
                    </a:cubicBezTo>
                    <a:cubicBezTo>
                      <a:pt x="33229" y="36576"/>
                      <a:pt x="35266" y="35433"/>
                      <a:pt x="37176" y="34036"/>
                    </a:cubicBezTo>
                    <a:cubicBezTo>
                      <a:pt x="38958" y="32639"/>
                      <a:pt x="40486" y="30988"/>
                      <a:pt x="41759" y="29083"/>
                    </a:cubicBezTo>
                    <a:cubicBezTo>
                      <a:pt x="43032" y="27178"/>
                      <a:pt x="43923" y="25146"/>
                      <a:pt x="44305" y="22860"/>
                    </a:cubicBezTo>
                    <a:cubicBezTo>
                      <a:pt x="44687" y="21082"/>
                      <a:pt x="44687" y="19304"/>
                      <a:pt x="44305" y="17526"/>
                    </a:cubicBezTo>
                    <a:cubicBezTo>
                      <a:pt x="43923" y="15748"/>
                      <a:pt x="43160" y="14097"/>
                      <a:pt x="41886" y="12700"/>
                    </a:cubicBezTo>
                    <a:cubicBezTo>
                      <a:pt x="40613" y="11303"/>
                      <a:pt x="38958" y="10160"/>
                      <a:pt x="36921" y="9144"/>
                    </a:cubicBezTo>
                    <a:cubicBezTo>
                      <a:pt x="34884" y="8255"/>
                      <a:pt x="32211" y="7747"/>
                      <a:pt x="29282" y="7747"/>
                    </a:cubicBezTo>
                    <a:lnTo>
                      <a:pt x="21516" y="7747"/>
                    </a:lnTo>
                    <a:lnTo>
                      <a:pt x="17188" y="38481"/>
                    </a:lnTo>
                    <a:lnTo>
                      <a:pt x="24062" y="38481"/>
                    </a:lnTo>
                    <a:close/>
                  </a:path>
                </a:pathLst>
              </a:custGeom>
              <a:solidFill>
                <a:srgbClr val="FFFFFF"/>
              </a:solidFill>
              <a:ln w="0" cap="flat">
                <a:noFill/>
                <a:prstDash val="solid"/>
                <a:miter/>
              </a:ln>
            </p:spPr>
            <p:txBody>
              <a:bodyPr rtlCol="0" anchor="ctr"/>
              <a:lstStyle/>
              <a:p>
                <a:endParaRPr lang="en-AD" sz="2400"/>
              </a:p>
            </p:txBody>
          </p:sp>
          <p:sp>
            <p:nvSpPr>
              <p:cNvPr id="106" name="Freeform 105">
                <a:extLst>
                  <a:ext uri="{FF2B5EF4-FFF2-40B4-BE49-F238E27FC236}">
                    <a16:creationId xmlns:a16="http://schemas.microsoft.com/office/drawing/2014/main" id="{BD3AE371-85E7-3C73-A07B-94E84CA6C091}"/>
                  </a:ext>
                </a:extLst>
              </p:cNvPr>
              <p:cNvSpPr/>
              <p:nvPr/>
            </p:nvSpPr>
            <p:spPr>
              <a:xfrm>
                <a:off x="1784197" y="4765547"/>
                <a:ext cx="18206" cy="56007"/>
              </a:xfrm>
              <a:custGeom>
                <a:avLst/>
                <a:gdLst>
                  <a:gd name="connsiteX0" fmla="*/ 0 w 18206"/>
                  <a:gd name="connsiteY0" fmla="*/ 56007 h 56007"/>
                  <a:gd name="connsiteX1" fmla="*/ 7766 w 18206"/>
                  <a:gd name="connsiteY1" fmla="*/ 0 h 56007"/>
                  <a:gd name="connsiteX2" fmla="*/ 18206 w 18206"/>
                  <a:gd name="connsiteY2" fmla="*/ 0 h 56007"/>
                  <a:gd name="connsiteX3" fmla="*/ 10440 w 18206"/>
                  <a:gd name="connsiteY3" fmla="*/ 56007 h 56007"/>
                  <a:gd name="connsiteX4" fmla="*/ 0 w 18206"/>
                  <a:gd name="connsiteY4" fmla="*/ 56007 h 5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6" h="56007">
                    <a:moveTo>
                      <a:pt x="0" y="56007"/>
                    </a:moveTo>
                    <a:lnTo>
                      <a:pt x="7766" y="0"/>
                    </a:lnTo>
                    <a:lnTo>
                      <a:pt x="18206" y="0"/>
                    </a:lnTo>
                    <a:lnTo>
                      <a:pt x="10440" y="56007"/>
                    </a:lnTo>
                    <a:lnTo>
                      <a:pt x="0" y="56007"/>
                    </a:lnTo>
                    <a:close/>
                  </a:path>
                </a:pathLst>
              </a:custGeom>
              <a:solidFill>
                <a:srgbClr val="FFFFFF"/>
              </a:solidFill>
              <a:ln w="0" cap="flat">
                <a:noFill/>
                <a:prstDash val="solid"/>
                <a:miter/>
              </a:ln>
            </p:spPr>
            <p:txBody>
              <a:bodyPr rtlCol="0" anchor="ctr"/>
              <a:lstStyle/>
              <a:p>
                <a:endParaRPr lang="en-AD" sz="2400"/>
              </a:p>
            </p:txBody>
          </p:sp>
          <p:sp>
            <p:nvSpPr>
              <p:cNvPr id="107" name="Freeform 106">
                <a:extLst>
                  <a:ext uri="{FF2B5EF4-FFF2-40B4-BE49-F238E27FC236}">
                    <a16:creationId xmlns:a16="http://schemas.microsoft.com/office/drawing/2014/main" id="{B9B35628-A13E-F149-AD51-912B58156F36}"/>
                  </a:ext>
                </a:extLst>
              </p:cNvPr>
              <p:cNvSpPr/>
              <p:nvPr/>
            </p:nvSpPr>
            <p:spPr>
              <a:xfrm>
                <a:off x="1806122" y="4764278"/>
                <a:ext cx="53709" cy="58546"/>
              </a:xfrm>
              <a:custGeom>
                <a:avLst/>
                <a:gdLst>
                  <a:gd name="connsiteX0" fmla="*/ 31292 w 53709"/>
                  <a:gd name="connsiteY0" fmla="*/ 0 h 58546"/>
                  <a:gd name="connsiteX1" fmla="*/ 41732 w 53709"/>
                  <a:gd name="connsiteY1" fmla="*/ 2413 h 58546"/>
                  <a:gd name="connsiteX2" fmla="*/ 48989 w 53709"/>
                  <a:gd name="connsiteY2" fmla="*/ 8763 h 58546"/>
                  <a:gd name="connsiteX3" fmla="*/ 52936 w 53709"/>
                  <a:gd name="connsiteY3" fmla="*/ 17907 h 58546"/>
                  <a:gd name="connsiteX4" fmla="*/ 53445 w 53709"/>
                  <a:gd name="connsiteY4" fmla="*/ 28575 h 58546"/>
                  <a:gd name="connsiteX5" fmla="*/ 50135 w 53709"/>
                  <a:gd name="connsiteY5" fmla="*/ 40005 h 58546"/>
                  <a:gd name="connsiteX6" fmla="*/ 43642 w 53709"/>
                  <a:gd name="connsiteY6" fmla="*/ 49530 h 58546"/>
                  <a:gd name="connsiteX7" fmla="*/ 34348 w 53709"/>
                  <a:gd name="connsiteY7" fmla="*/ 56134 h 58546"/>
                  <a:gd name="connsiteX8" fmla="*/ 22762 w 53709"/>
                  <a:gd name="connsiteY8" fmla="*/ 58547 h 58546"/>
                  <a:gd name="connsiteX9" fmla="*/ 11941 w 53709"/>
                  <a:gd name="connsiteY9" fmla="*/ 56261 h 58546"/>
                  <a:gd name="connsiteX10" fmla="*/ 4556 w 53709"/>
                  <a:gd name="connsiteY10" fmla="*/ 49911 h 58546"/>
                  <a:gd name="connsiteX11" fmla="*/ 610 w 53709"/>
                  <a:gd name="connsiteY11" fmla="*/ 40640 h 58546"/>
                  <a:gd name="connsiteX12" fmla="*/ 355 w 53709"/>
                  <a:gd name="connsiteY12" fmla="*/ 29337 h 58546"/>
                  <a:gd name="connsiteX13" fmla="*/ 3538 w 53709"/>
                  <a:gd name="connsiteY13" fmla="*/ 18415 h 58546"/>
                  <a:gd name="connsiteX14" fmla="*/ 9776 w 53709"/>
                  <a:gd name="connsiteY14" fmla="*/ 9017 h 58546"/>
                  <a:gd name="connsiteX15" fmla="*/ 18943 w 53709"/>
                  <a:gd name="connsiteY15" fmla="*/ 2413 h 58546"/>
                  <a:gd name="connsiteX16" fmla="*/ 30910 w 53709"/>
                  <a:gd name="connsiteY16" fmla="*/ 0 h 58546"/>
                  <a:gd name="connsiteX17" fmla="*/ 31165 w 53709"/>
                  <a:gd name="connsiteY17" fmla="*/ 6477 h 58546"/>
                  <a:gd name="connsiteX18" fmla="*/ 19325 w 53709"/>
                  <a:gd name="connsiteY18" fmla="*/ 12319 h 58546"/>
                  <a:gd name="connsiteX19" fmla="*/ 12832 w 53709"/>
                  <a:gd name="connsiteY19" fmla="*/ 29083 h 58546"/>
                  <a:gd name="connsiteX20" fmla="*/ 12322 w 53709"/>
                  <a:gd name="connsiteY20" fmla="*/ 37211 h 58546"/>
                  <a:gd name="connsiteX21" fmla="*/ 13596 w 53709"/>
                  <a:gd name="connsiteY21" fmla="*/ 44577 h 58546"/>
                  <a:gd name="connsiteX22" fmla="*/ 17288 w 53709"/>
                  <a:gd name="connsiteY22" fmla="*/ 49911 h 58546"/>
                  <a:gd name="connsiteX23" fmla="*/ 23908 w 53709"/>
                  <a:gd name="connsiteY23" fmla="*/ 51943 h 58546"/>
                  <a:gd name="connsiteX24" fmla="*/ 30528 w 53709"/>
                  <a:gd name="connsiteY24" fmla="*/ 50165 h 58546"/>
                  <a:gd name="connsiteX25" fmla="*/ 35876 w 53709"/>
                  <a:gd name="connsiteY25" fmla="*/ 45212 h 58546"/>
                  <a:gd name="connsiteX26" fmla="*/ 39695 w 53709"/>
                  <a:gd name="connsiteY26" fmla="*/ 37846 h 58546"/>
                  <a:gd name="connsiteX27" fmla="*/ 41987 w 53709"/>
                  <a:gd name="connsiteY27" fmla="*/ 28829 h 58546"/>
                  <a:gd name="connsiteX28" fmla="*/ 42369 w 53709"/>
                  <a:gd name="connsiteY28" fmla="*/ 21082 h 58546"/>
                  <a:gd name="connsiteX29" fmla="*/ 40841 w 53709"/>
                  <a:gd name="connsiteY29" fmla="*/ 13970 h 58546"/>
                  <a:gd name="connsiteX30" fmla="*/ 37149 w 53709"/>
                  <a:gd name="connsiteY30" fmla="*/ 8636 h 58546"/>
                  <a:gd name="connsiteX31" fmla="*/ 31165 w 53709"/>
                  <a:gd name="connsiteY31" fmla="*/ 6604 h 5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09" h="58546">
                    <a:moveTo>
                      <a:pt x="31292" y="0"/>
                    </a:moveTo>
                    <a:cubicBezTo>
                      <a:pt x="35239" y="0"/>
                      <a:pt x="38804" y="762"/>
                      <a:pt x="41732" y="2413"/>
                    </a:cubicBezTo>
                    <a:cubicBezTo>
                      <a:pt x="44788" y="4064"/>
                      <a:pt x="47207" y="6096"/>
                      <a:pt x="48989" y="8763"/>
                    </a:cubicBezTo>
                    <a:cubicBezTo>
                      <a:pt x="50899" y="11430"/>
                      <a:pt x="52172" y="14478"/>
                      <a:pt x="52936" y="17907"/>
                    </a:cubicBezTo>
                    <a:cubicBezTo>
                      <a:pt x="53700" y="21336"/>
                      <a:pt x="53954" y="24892"/>
                      <a:pt x="53445" y="28575"/>
                    </a:cubicBezTo>
                    <a:cubicBezTo>
                      <a:pt x="52936" y="32512"/>
                      <a:pt x="51790" y="36322"/>
                      <a:pt x="50135" y="40005"/>
                    </a:cubicBezTo>
                    <a:cubicBezTo>
                      <a:pt x="48480" y="43561"/>
                      <a:pt x="46315" y="46736"/>
                      <a:pt x="43642" y="49530"/>
                    </a:cubicBezTo>
                    <a:cubicBezTo>
                      <a:pt x="40968" y="52324"/>
                      <a:pt x="37913" y="54483"/>
                      <a:pt x="34348" y="56134"/>
                    </a:cubicBezTo>
                    <a:cubicBezTo>
                      <a:pt x="30783" y="57785"/>
                      <a:pt x="26964" y="58547"/>
                      <a:pt x="22762" y="58547"/>
                    </a:cubicBezTo>
                    <a:cubicBezTo>
                      <a:pt x="18561" y="58547"/>
                      <a:pt x="15123" y="57785"/>
                      <a:pt x="11941" y="56261"/>
                    </a:cubicBezTo>
                    <a:cubicBezTo>
                      <a:pt x="8885" y="54737"/>
                      <a:pt x="6339" y="52578"/>
                      <a:pt x="4556" y="49911"/>
                    </a:cubicBezTo>
                    <a:cubicBezTo>
                      <a:pt x="2647" y="47244"/>
                      <a:pt x="1373" y="44196"/>
                      <a:pt x="610" y="40640"/>
                    </a:cubicBezTo>
                    <a:cubicBezTo>
                      <a:pt x="-154" y="37084"/>
                      <a:pt x="-154" y="33274"/>
                      <a:pt x="355" y="29337"/>
                    </a:cubicBezTo>
                    <a:cubicBezTo>
                      <a:pt x="864" y="25654"/>
                      <a:pt x="1883" y="21971"/>
                      <a:pt x="3538" y="18415"/>
                    </a:cubicBezTo>
                    <a:cubicBezTo>
                      <a:pt x="5193" y="14859"/>
                      <a:pt x="7230" y="11811"/>
                      <a:pt x="9776" y="9017"/>
                    </a:cubicBezTo>
                    <a:cubicBezTo>
                      <a:pt x="12322" y="6223"/>
                      <a:pt x="15378" y="4064"/>
                      <a:pt x="18943" y="2413"/>
                    </a:cubicBezTo>
                    <a:cubicBezTo>
                      <a:pt x="22508" y="762"/>
                      <a:pt x="26454" y="0"/>
                      <a:pt x="30910" y="0"/>
                    </a:cubicBezTo>
                    <a:close/>
                    <a:moveTo>
                      <a:pt x="31165" y="6477"/>
                    </a:moveTo>
                    <a:cubicBezTo>
                      <a:pt x="26454" y="6477"/>
                      <a:pt x="22508" y="8382"/>
                      <a:pt x="19325" y="12319"/>
                    </a:cubicBezTo>
                    <a:cubicBezTo>
                      <a:pt x="16142" y="16256"/>
                      <a:pt x="13978" y="21844"/>
                      <a:pt x="12832" y="29083"/>
                    </a:cubicBezTo>
                    <a:cubicBezTo>
                      <a:pt x="12450" y="31750"/>
                      <a:pt x="12195" y="34544"/>
                      <a:pt x="12322" y="37211"/>
                    </a:cubicBezTo>
                    <a:cubicBezTo>
                      <a:pt x="12322" y="40005"/>
                      <a:pt x="12832" y="42418"/>
                      <a:pt x="13596" y="44577"/>
                    </a:cubicBezTo>
                    <a:cubicBezTo>
                      <a:pt x="14360" y="46736"/>
                      <a:pt x="15633" y="48514"/>
                      <a:pt x="17288" y="49911"/>
                    </a:cubicBezTo>
                    <a:cubicBezTo>
                      <a:pt x="18943" y="51308"/>
                      <a:pt x="21107" y="51943"/>
                      <a:pt x="23908" y="51943"/>
                    </a:cubicBezTo>
                    <a:cubicBezTo>
                      <a:pt x="26327" y="51943"/>
                      <a:pt x="28619" y="51308"/>
                      <a:pt x="30528" y="50165"/>
                    </a:cubicBezTo>
                    <a:cubicBezTo>
                      <a:pt x="32565" y="48895"/>
                      <a:pt x="34348" y="47244"/>
                      <a:pt x="35876" y="45212"/>
                    </a:cubicBezTo>
                    <a:cubicBezTo>
                      <a:pt x="37403" y="43053"/>
                      <a:pt x="38676" y="40640"/>
                      <a:pt x="39695" y="37846"/>
                    </a:cubicBezTo>
                    <a:cubicBezTo>
                      <a:pt x="40713" y="35052"/>
                      <a:pt x="41477" y="32004"/>
                      <a:pt x="41987" y="28829"/>
                    </a:cubicBezTo>
                    <a:cubicBezTo>
                      <a:pt x="42369" y="26289"/>
                      <a:pt x="42496" y="23749"/>
                      <a:pt x="42369" y="21082"/>
                    </a:cubicBezTo>
                    <a:cubicBezTo>
                      <a:pt x="42241" y="18415"/>
                      <a:pt x="41732" y="16002"/>
                      <a:pt x="40841" y="13970"/>
                    </a:cubicBezTo>
                    <a:cubicBezTo>
                      <a:pt x="39950" y="11811"/>
                      <a:pt x="38804" y="10033"/>
                      <a:pt x="37149" y="8636"/>
                    </a:cubicBezTo>
                    <a:cubicBezTo>
                      <a:pt x="35621" y="7239"/>
                      <a:pt x="33584" y="6604"/>
                      <a:pt x="31165" y="6604"/>
                    </a:cubicBezTo>
                    <a:close/>
                  </a:path>
                </a:pathLst>
              </a:custGeom>
              <a:solidFill>
                <a:srgbClr val="FFFFFF"/>
              </a:solidFill>
              <a:ln w="0" cap="flat">
                <a:noFill/>
                <a:prstDash val="solid"/>
                <a:miter/>
              </a:ln>
            </p:spPr>
            <p:txBody>
              <a:bodyPr rtlCol="0" anchor="ctr"/>
              <a:lstStyle/>
              <a:p>
                <a:endParaRPr lang="en-AD" sz="2400"/>
              </a:p>
            </p:txBody>
          </p:sp>
          <p:sp>
            <p:nvSpPr>
              <p:cNvPr id="108" name="Freeform 107">
                <a:extLst>
                  <a:ext uri="{FF2B5EF4-FFF2-40B4-BE49-F238E27FC236}">
                    <a16:creationId xmlns:a16="http://schemas.microsoft.com/office/drawing/2014/main" id="{C5C58166-647A-E057-8DFD-D5DDC2DF17B3}"/>
                  </a:ext>
                </a:extLst>
              </p:cNvPr>
              <p:cNvSpPr/>
              <p:nvPr/>
            </p:nvSpPr>
            <p:spPr>
              <a:xfrm>
                <a:off x="1872680" y="4751323"/>
                <a:ext cx="15277" cy="15113"/>
              </a:xfrm>
              <a:custGeom>
                <a:avLst/>
                <a:gdLst>
                  <a:gd name="connsiteX0" fmla="*/ 7766 w 15277"/>
                  <a:gd name="connsiteY0" fmla="*/ 0 h 15113"/>
                  <a:gd name="connsiteX1" fmla="*/ 10822 w 15277"/>
                  <a:gd name="connsiteY1" fmla="*/ 508 h 15113"/>
                  <a:gd name="connsiteX2" fmla="*/ 13241 w 15277"/>
                  <a:gd name="connsiteY2" fmla="*/ 2032 h 15113"/>
                  <a:gd name="connsiteX3" fmla="*/ 14769 w 15277"/>
                  <a:gd name="connsiteY3" fmla="*/ 4445 h 15113"/>
                  <a:gd name="connsiteX4" fmla="*/ 15278 w 15277"/>
                  <a:gd name="connsiteY4" fmla="*/ 7493 h 15113"/>
                  <a:gd name="connsiteX5" fmla="*/ 14641 w 15277"/>
                  <a:gd name="connsiteY5" fmla="*/ 10414 h 15113"/>
                  <a:gd name="connsiteX6" fmla="*/ 12986 w 15277"/>
                  <a:gd name="connsiteY6" fmla="*/ 12827 h 15113"/>
                  <a:gd name="connsiteX7" fmla="*/ 10567 w 15277"/>
                  <a:gd name="connsiteY7" fmla="*/ 14478 h 15113"/>
                  <a:gd name="connsiteX8" fmla="*/ 7639 w 15277"/>
                  <a:gd name="connsiteY8" fmla="*/ 15113 h 15113"/>
                  <a:gd name="connsiteX9" fmla="*/ 4711 w 15277"/>
                  <a:gd name="connsiteY9" fmla="*/ 14605 h 15113"/>
                  <a:gd name="connsiteX10" fmla="*/ 2292 w 15277"/>
                  <a:gd name="connsiteY10" fmla="*/ 13081 h 15113"/>
                  <a:gd name="connsiteX11" fmla="*/ 637 w 15277"/>
                  <a:gd name="connsiteY11" fmla="*/ 10668 h 15113"/>
                  <a:gd name="connsiteX12" fmla="*/ 0 w 15277"/>
                  <a:gd name="connsiteY12" fmla="*/ 7620 h 15113"/>
                  <a:gd name="connsiteX13" fmla="*/ 637 w 15277"/>
                  <a:gd name="connsiteY13" fmla="*/ 4572 h 15113"/>
                  <a:gd name="connsiteX14" fmla="*/ 2292 w 15277"/>
                  <a:gd name="connsiteY14" fmla="*/ 2159 h 15113"/>
                  <a:gd name="connsiteX15" fmla="*/ 4711 w 15277"/>
                  <a:gd name="connsiteY15" fmla="*/ 635 h 15113"/>
                  <a:gd name="connsiteX16" fmla="*/ 7639 w 15277"/>
                  <a:gd name="connsiteY16" fmla="*/ 0 h 15113"/>
                  <a:gd name="connsiteX17" fmla="*/ 7766 w 15277"/>
                  <a:gd name="connsiteY17" fmla="*/ 1270 h 15113"/>
                  <a:gd name="connsiteX18" fmla="*/ 5347 w 15277"/>
                  <a:gd name="connsiteY18" fmla="*/ 1778 h 15113"/>
                  <a:gd name="connsiteX19" fmla="*/ 3438 w 15277"/>
                  <a:gd name="connsiteY19" fmla="*/ 3175 h 15113"/>
                  <a:gd name="connsiteX20" fmla="*/ 2164 w 15277"/>
                  <a:gd name="connsiteY20" fmla="*/ 5207 h 15113"/>
                  <a:gd name="connsiteX21" fmla="*/ 1655 w 15277"/>
                  <a:gd name="connsiteY21" fmla="*/ 7620 h 15113"/>
                  <a:gd name="connsiteX22" fmla="*/ 2164 w 15277"/>
                  <a:gd name="connsiteY22" fmla="*/ 10033 h 15113"/>
                  <a:gd name="connsiteX23" fmla="*/ 3438 w 15277"/>
                  <a:gd name="connsiteY23" fmla="*/ 12065 h 15113"/>
                  <a:gd name="connsiteX24" fmla="*/ 5347 w 15277"/>
                  <a:gd name="connsiteY24" fmla="*/ 13462 h 15113"/>
                  <a:gd name="connsiteX25" fmla="*/ 7766 w 15277"/>
                  <a:gd name="connsiteY25" fmla="*/ 13970 h 15113"/>
                  <a:gd name="connsiteX26" fmla="*/ 10185 w 15277"/>
                  <a:gd name="connsiteY26" fmla="*/ 13462 h 15113"/>
                  <a:gd name="connsiteX27" fmla="*/ 12095 w 15277"/>
                  <a:gd name="connsiteY27" fmla="*/ 12065 h 15113"/>
                  <a:gd name="connsiteX28" fmla="*/ 13368 w 15277"/>
                  <a:gd name="connsiteY28" fmla="*/ 10033 h 15113"/>
                  <a:gd name="connsiteX29" fmla="*/ 13877 w 15277"/>
                  <a:gd name="connsiteY29" fmla="*/ 7620 h 15113"/>
                  <a:gd name="connsiteX30" fmla="*/ 13368 w 15277"/>
                  <a:gd name="connsiteY30" fmla="*/ 5334 h 15113"/>
                  <a:gd name="connsiteX31" fmla="*/ 12095 w 15277"/>
                  <a:gd name="connsiteY31" fmla="*/ 3302 h 15113"/>
                  <a:gd name="connsiteX32" fmla="*/ 10185 w 15277"/>
                  <a:gd name="connsiteY32" fmla="*/ 1778 h 15113"/>
                  <a:gd name="connsiteX33" fmla="*/ 7766 w 15277"/>
                  <a:gd name="connsiteY33" fmla="*/ 1270 h 15113"/>
                  <a:gd name="connsiteX34" fmla="*/ 9803 w 15277"/>
                  <a:gd name="connsiteY34" fmla="*/ 11811 h 15113"/>
                  <a:gd name="connsiteX35" fmla="*/ 7512 w 15277"/>
                  <a:gd name="connsiteY35" fmla="*/ 7874 h 15113"/>
                  <a:gd name="connsiteX36" fmla="*/ 6620 w 15277"/>
                  <a:gd name="connsiteY36" fmla="*/ 7874 h 15113"/>
                  <a:gd name="connsiteX37" fmla="*/ 6620 w 15277"/>
                  <a:gd name="connsiteY37" fmla="*/ 11811 h 15113"/>
                  <a:gd name="connsiteX38" fmla="*/ 5220 w 15277"/>
                  <a:gd name="connsiteY38" fmla="*/ 11811 h 15113"/>
                  <a:gd name="connsiteX39" fmla="*/ 5220 w 15277"/>
                  <a:gd name="connsiteY39" fmla="*/ 3302 h 15113"/>
                  <a:gd name="connsiteX40" fmla="*/ 7639 w 15277"/>
                  <a:gd name="connsiteY40" fmla="*/ 3302 h 15113"/>
                  <a:gd name="connsiteX41" fmla="*/ 9803 w 15277"/>
                  <a:gd name="connsiteY41" fmla="*/ 3810 h 15113"/>
                  <a:gd name="connsiteX42" fmla="*/ 10567 w 15277"/>
                  <a:gd name="connsiteY42" fmla="*/ 5334 h 15113"/>
                  <a:gd name="connsiteX43" fmla="*/ 10312 w 15277"/>
                  <a:gd name="connsiteY43" fmla="*/ 6223 h 15113"/>
                  <a:gd name="connsiteX44" fmla="*/ 9803 w 15277"/>
                  <a:gd name="connsiteY44" fmla="*/ 6858 h 15113"/>
                  <a:gd name="connsiteX45" fmla="*/ 9167 w 15277"/>
                  <a:gd name="connsiteY45" fmla="*/ 7239 h 15113"/>
                  <a:gd name="connsiteX46" fmla="*/ 8657 w 15277"/>
                  <a:gd name="connsiteY46" fmla="*/ 7366 h 15113"/>
                  <a:gd name="connsiteX47" fmla="*/ 11331 w 15277"/>
                  <a:gd name="connsiteY47" fmla="*/ 11557 h 15113"/>
                  <a:gd name="connsiteX48" fmla="*/ 9676 w 15277"/>
                  <a:gd name="connsiteY48" fmla="*/ 11557 h 15113"/>
                  <a:gd name="connsiteX49" fmla="*/ 7257 w 15277"/>
                  <a:gd name="connsiteY49" fmla="*/ 7112 h 15113"/>
                  <a:gd name="connsiteX50" fmla="*/ 8530 w 15277"/>
                  <a:gd name="connsiteY50" fmla="*/ 6731 h 15113"/>
                  <a:gd name="connsiteX51" fmla="*/ 9039 w 15277"/>
                  <a:gd name="connsiteY51" fmla="*/ 5588 h 15113"/>
                  <a:gd name="connsiteX52" fmla="*/ 8530 w 15277"/>
                  <a:gd name="connsiteY52" fmla="*/ 4572 h 15113"/>
                  <a:gd name="connsiteX53" fmla="*/ 7257 w 15277"/>
                  <a:gd name="connsiteY53" fmla="*/ 4191 h 15113"/>
                  <a:gd name="connsiteX54" fmla="*/ 6493 w 15277"/>
                  <a:gd name="connsiteY54" fmla="*/ 4191 h 15113"/>
                  <a:gd name="connsiteX55" fmla="*/ 6493 w 15277"/>
                  <a:gd name="connsiteY55" fmla="*/ 7112 h 15113"/>
                  <a:gd name="connsiteX56" fmla="*/ 7257 w 15277"/>
                  <a:gd name="connsiteY56" fmla="*/ 7112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77" h="15113">
                    <a:moveTo>
                      <a:pt x="7766" y="0"/>
                    </a:moveTo>
                    <a:cubicBezTo>
                      <a:pt x="8912" y="0"/>
                      <a:pt x="9803" y="127"/>
                      <a:pt x="10822" y="508"/>
                    </a:cubicBezTo>
                    <a:cubicBezTo>
                      <a:pt x="11713" y="889"/>
                      <a:pt x="12604" y="1397"/>
                      <a:pt x="13241" y="2032"/>
                    </a:cubicBezTo>
                    <a:cubicBezTo>
                      <a:pt x="13877" y="2667"/>
                      <a:pt x="14387" y="3556"/>
                      <a:pt x="14769" y="4445"/>
                    </a:cubicBezTo>
                    <a:cubicBezTo>
                      <a:pt x="15150" y="5334"/>
                      <a:pt x="15278" y="6350"/>
                      <a:pt x="15278" y="7493"/>
                    </a:cubicBezTo>
                    <a:cubicBezTo>
                      <a:pt x="15278" y="8636"/>
                      <a:pt x="15023" y="9525"/>
                      <a:pt x="14641" y="10414"/>
                    </a:cubicBezTo>
                    <a:cubicBezTo>
                      <a:pt x="14259" y="11303"/>
                      <a:pt x="13750" y="12192"/>
                      <a:pt x="12986" y="12827"/>
                    </a:cubicBezTo>
                    <a:cubicBezTo>
                      <a:pt x="12350" y="13462"/>
                      <a:pt x="11458" y="14097"/>
                      <a:pt x="10567" y="14478"/>
                    </a:cubicBezTo>
                    <a:cubicBezTo>
                      <a:pt x="9676" y="14859"/>
                      <a:pt x="8657" y="15113"/>
                      <a:pt x="7639" y="15113"/>
                    </a:cubicBezTo>
                    <a:cubicBezTo>
                      <a:pt x="6620" y="15113"/>
                      <a:pt x="5602" y="14986"/>
                      <a:pt x="4711" y="14605"/>
                    </a:cubicBezTo>
                    <a:cubicBezTo>
                      <a:pt x="3819" y="14224"/>
                      <a:pt x="2928" y="13716"/>
                      <a:pt x="2292" y="13081"/>
                    </a:cubicBezTo>
                    <a:cubicBezTo>
                      <a:pt x="1655" y="12446"/>
                      <a:pt x="1019" y="11557"/>
                      <a:pt x="637" y="10668"/>
                    </a:cubicBezTo>
                    <a:cubicBezTo>
                      <a:pt x="255" y="9779"/>
                      <a:pt x="0" y="8763"/>
                      <a:pt x="0" y="7620"/>
                    </a:cubicBezTo>
                    <a:cubicBezTo>
                      <a:pt x="0" y="6477"/>
                      <a:pt x="255" y="5588"/>
                      <a:pt x="637" y="4572"/>
                    </a:cubicBezTo>
                    <a:cubicBezTo>
                      <a:pt x="1019" y="3683"/>
                      <a:pt x="1528" y="2794"/>
                      <a:pt x="2292" y="2159"/>
                    </a:cubicBezTo>
                    <a:cubicBezTo>
                      <a:pt x="3056" y="1524"/>
                      <a:pt x="3819" y="1016"/>
                      <a:pt x="4711" y="635"/>
                    </a:cubicBezTo>
                    <a:cubicBezTo>
                      <a:pt x="5602" y="254"/>
                      <a:pt x="6620" y="0"/>
                      <a:pt x="7639" y="0"/>
                    </a:cubicBezTo>
                    <a:close/>
                    <a:moveTo>
                      <a:pt x="7766" y="1270"/>
                    </a:moveTo>
                    <a:cubicBezTo>
                      <a:pt x="6875" y="1270"/>
                      <a:pt x="6111" y="1397"/>
                      <a:pt x="5347" y="1778"/>
                    </a:cubicBezTo>
                    <a:cubicBezTo>
                      <a:pt x="4583" y="2159"/>
                      <a:pt x="3947" y="2540"/>
                      <a:pt x="3438" y="3175"/>
                    </a:cubicBezTo>
                    <a:cubicBezTo>
                      <a:pt x="2928" y="3810"/>
                      <a:pt x="2419" y="4445"/>
                      <a:pt x="2164" y="5207"/>
                    </a:cubicBezTo>
                    <a:cubicBezTo>
                      <a:pt x="1782" y="5969"/>
                      <a:pt x="1655" y="6731"/>
                      <a:pt x="1655" y="7620"/>
                    </a:cubicBezTo>
                    <a:cubicBezTo>
                      <a:pt x="1655" y="8509"/>
                      <a:pt x="1782" y="9271"/>
                      <a:pt x="2164" y="10033"/>
                    </a:cubicBezTo>
                    <a:cubicBezTo>
                      <a:pt x="2419" y="10795"/>
                      <a:pt x="2928" y="11430"/>
                      <a:pt x="3438" y="12065"/>
                    </a:cubicBezTo>
                    <a:cubicBezTo>
                      <a:pt x="3947" y="12700"/>
                      <a:pt x="4583" y="13081"/>
                      <a:pt x="5347" y="13462"/>
                    </a:cubicBezTo>
                    <a:cubicBezTo>
                      <a:pt x="6111" y="13843"/>
                      <a:pt x="6875" y="13970"/>
                      <a:pt x="7766" y="13970"/>
                    </a:cubicBezTo>
                    <a:cubicBezTo>
                      <a:pt x="8657" y="13970"/>
                      <a:pt x="9421" y="13843"/>
                      <a:pt x="10185" y="13462"/>
                    </a:cubicBezTo>
                    <a:cubicBezTo>
                      <a:pt x="10949" y="13081"/>
                      <a:pt x="11586" y="12700"/>
                      <a:pt x="12095" y="12065"/>
                    </a:cubicBezTo>
                    <a:cubicBezTo>
                      <a:pt x="12604" y="11430"/>
                      <a:pt x="13113" y="10795"/>
                      <a:pt x="13368" y="10033"/>
                    </a:cubicBezTo>
                    <a:cubicBezTo>
                      <a:pt x="13750" y="9271"/>
                      <a:pt x="13877" y="8382"/>
                      <a:pt x="13877" y="7620"/>
                    </a:cubicBezTo>
                    <a:cubicBezTo>
                      <a:pt x="13877" y="6858"/>
                      <a:pt x="13750" y="6096"/>
                      <a:pt x="13368" y="5334"/>
                    </a:cubicBezTo>
                    <a:cubicBezTo>
                      <a:pt x="12986" y="4572"/>
                      <a:pt x="12604" y="3937"/>
                      <a:pt x="12095" y="3302"/>
                    </a:cubicBezTo>
                    <a:cubicBezTo>
                      <a:pt x="11586" y="2667"/>
                      <a:pt x="10949" y="2159"/>
                      <a:pt x="10185" y="1778"/>
                    </a:cubicBezTo>
                    <a:cubicBezTo>
                      <a:pt x="9421" y="1397"/>
                      <a:pt x="8657" y="1270"/>
                      <a:pt x="7766" y="1270"/>
                    </a:cubicBezTo>
                    <a:close/>
                    <a:moveTo>
                      <a:pt x="9803" y="11811"/>
                    </a:moveTo>
                    <a:lnTo>
                      <a:pt x="7512" y="7874"/>
                    </a:lnTo>
                    <a:lnTo>
                      <a:pt x="6620" y="7874"/>
                    </a:lnTo>
                    <a:lnTo>
                      <a:pt x="6620" y="11811"/>
                    </a:lnTo>
                    <a:lnTo>
                      <a:pt x="5220" y="11811"/>
                    </a:lnTo>
                    <a:lnTo>
                      <a:pt x="5220" y="3302"/>
                    </a:lnTo>
                    <a:lnTo>
                      <a:pt x="7639" y="3302"/>
                    </a:lnTo>
                    <a:cubicBezTo>
                      <a:pt x="8530" y="3302"/>
                      <a:pt x="9294" y="3429"/>
                      <a:pt x="9803" y="3810"/>
                    </a:cubicBezTo>
                    <a:cubicBezTo>
                      <a:pt x="10312" y="4191"/>
                      <a:pt x="10567" y="4699"/>
                      <a:pt x="10567" y="5334"/>
                    </a:cubicBezTo>
                    <a:cubicBezTo>
                      <a:pt x="10567" y="5715"/>
                      <a:pt x="10567" y="5969"/>
                      <a:pt x="10312" y="6223"/>
                    </a:cubicBezTo>
                    <a:cubicBezTo>
                      <a:pt x="10185" y="6477"/>
                      <a:pt x="10058" y="6731"/>
                      <a:pt x="9803" y="6858"/>
                    </a:cubicBezTo>
                    <a:cubicBezTo>
                      <a:pt x="9549" y="6985"/>
                      <a:pt x="9421" y="7112"/>
                      <a:pt x="9167" y="7239"/>
                    </a:cubicBezTo>
                    <a:cubicBezTo>
                      <a:pt x="8912" y="7366"/>
                      <a:pt x="8785" y="7366"/>
                      <a:pt x="8657" y="7366"/>
                    </a:cubicBezTo>
                    <a:lnTo>
                      <a:pt x="11331" y="11557"/>
                    </a:lnTo>
                    <a:lnTo>
                      <a:pt x="9676" y="11557"/>
                    </a:lnTo>
                    <a:close/>
                    <a:moveTo>
                      <a:pt x="7257" y="7112"/>
                    </a:moveTo>
                    <a:cubicBezTo>
                      <a:pt x="7257" y="7112"/>
                      <a:pt x="8276" y="6985"/>
                      <a:pt x="8530" y="6731"/>
                    </a:cubicBezTo>
                    <a:cubicBezTo>
                      <a:pt x="8785" y="6477"/>
                      <a:pt x="9039" y="6096"/>
                      <a:pt x="9039" y="5588"/>
                    </a:cubicBezTo>
                    <a:cubicBezTo>
                      <a:pt x="9039" y="5207"/>
                      <a:pt x="8912" y="4826"/>
                      <a:pt x="8530" y="4572"/>
                    </a:cubicBezTo>
                    <a:cubicBezTo>
                      <a:pt x="8276" y="4318"/>
                      <a:pt x="7766" y="4191"/>
                      <a:pt x="7257" y="4191"/>
                    </a:cubicBezTo>
                    <a:lnTo>
                      <a:pt x="6493" y="4191"/>
                    </a:lnTo>
                    <a:lnTo>
                      <a:pt x="6493" y="7112"/>
                    </a:lnTo>
                    <a:lnTo>
                      <a:pt x="7257" y="7112"/>
                    </a:lnTo>
                    <a:close/>
                  </a:path>
                </a:pathLst>
              </a:custGeom>
              <a:solidFill>
                <a:srgbClr val="FFFFFF"/>
              </a:solidFill>
              <a:ln w="0" cap="flat">
                <a:noFill/>
                <a:prstDash val="solid"/>
                <a:miter/>
              </a:ln>
            </p:spPr>
            <p:txBody>
              <a:bodyPr rtlCol="0" anchor="ctr"/>
              <a:lstStyle/>
              <a:p>
                <a:endParaRPr lang="en-AD" sz="2400"/>
              </a:p>
            </p:txBody>
          </p:sp>
          <p:sp>
            <p:nvSpPr>
              <p:cNvPr id="109" name="Freeform 108">
                <a:extLst>
                  <a:ext uri="{FF2B5EF4-FFF2-40B4-BE49-F238E27FC236}">
                    <a16:creationId xmlns:a16="http://schemas.microsoft.com/office/drawing/2014/main" id="{992550A3-28EE-5B40-20F4-B99C4C3D7F6E}"/>
                  </a:ext>
                </a:extLst>
              </p:cNvPr>
              <p:cNvSpPr/>
              <p:nvPr/>
            </p:nvSpPr>
            <p:spPr>
              <a:xfrm>
                <a:off x="1407728" y="4865623"/>
                <a:ext cx="9675" cy="14223"/>
              </a:xfrm>
              <a:custGeom>
                <a:avLst/>
                <a:gdLst>
                  <a:gd name="connsiteX0" fmla="*/ 3947 w 9675"/>
                  <a:gd name="connsiteY0" fmla="*/ 14224 h 14223"/>
                  <a:gd name="connsiteX1" fmla="*/ 3947 w 9675"/>
                  <a:gd name="connsiteY1" fmla="*/ 1651 h 14223"/>
                  <a:gd name="connsiteX2" fmla="*/ 0 w 9675"/>
                  <a:gd name="connsiteY2" fmla="*/ 1651 h 14223"/>
                  <a:gd name="connsiteX3" fmla="*/ 0 w 9675"/>
                  <a:gd name="connsiteY3" fmla="*/ 0 h 14223"/>
                  <a:gd name="connsiteX4" fmla="*/ 9676 w 9675"/>
                  <a:gd name="connsiteY4" fmla="*/ 0 h 14223"/>
                  <a:gd name="connsiteX5" fmla="*/ 9676 w 9675"/>
                  <a:gd name="connsiteY5" fmla="*/ 1651 h 14223"/>
                  <a:gd name="connsiteX6" fmla="*/ 5729 w 9675"/>
                  <a:gd name="connsiteY6" fmla="*/ 1651 h 14223"/>
                  <a:gd name="connsiteX7" fmla="*/ 5729 w 9675"/>
                  <a:gd name="connsiteY7" fmla="*/ 14224 h 14223"/>
                  <a:gd name="connsiteX8" fmla="*/ 3947 w 9675"/>
                  <a:gd name="connsiteY8"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5" h="14223">
                    <a:moveTo>
                      <a:pt x="3947" y="14224"/>
                    </a:moveTo>
                    <a:lnTo>
                      <a:pt x="3947" y="1651"/>
                    </a:lnTo>
                    <a:lnTo>
                      <a:pt x="0" y="1651"/>
                    </a:lnTo>
                    <a:lnTo>
                      <a:pt x="0" y="0"/>
                    </a:lnTo>
                    <a:lnTo>
                      <a:pt x="9676" y="0"/>
                    </a:lnTo>
                    <a:lnTo>
                      <a:pt x="9676" y="1651"/>
                    </a:lnTo>
                    <a:lnTo>
                      <a:pt x="5729" y="1651"/>
                    </a:lnTo>
                    <a:lnTo>
                      <a:pt x="5729" y="14224"/>
                    </a:lnTo>
                    <a:lnTo>
                      <a:pt x="3947" y="14224"/>
                    </a:lnTo>
                    <a:close/>
                  </a:path>
                </a:pathLst>
              </a:custGeom>
              <a:solidFill>
                <a:srgbClr val="FFFFFF"/>
              </a:solidFill>
              <a:ln w="0" cap="flat">
                <a:noFill/>
                <a:prstDash val="solid"/>
                <a:miter/>
              </a:ln>
            </p:spPr>
            <p:txBody>
              <a:bodyPr rtlCol="0" anchor="ctr"/>
              <a:lstStyle/>
              <a:p>
                <a:endParaRPr lang="en-AD" sz="2400"/>
              </a:p>
            </p:txBody>
          </p:sp>
          <p:sp>
            <p:nvSpPr>
              <p:cNvPr id="110" name="Freeform 109">
                <a:extLst>
                  <a:ext uri="{FF2B5EF4-FFF2-40B4-BE49-F238E27FC236}">
                    <a16:creationId xmlns:a16="http://schemas.microsoft.com/office/drawing/2014/main" id="{D6B431AC-F629-EA96-E3C4-201DA8773E8F}"/>
                  </a:ext>
                </a:extLst>
              </p:cNvPr>
              <p:cNvSpPr/>
              <p:nvPr/>
            </p:nvSpPr>
            <p:spPr>
              <a:xfrm>
                <a:off x="1421096" y="4864861"/>
                <a:ext cx="6874" cy="14985"/>
              </a:xfrm>
              <a:custGeom>
                <a:avLst/>
                <a:gdLst>
                  <a:gd name="connsiteX0" fmla="*/ 127 w 6874"/>
                  <a:gd name="connsiteY0" fmla="*/ 14986 h 14985"/>
                  <a:gd name="connsiteX1" fmla="*/ 127 w 6874"/>
                  <a:gd name="connsiteY1" fmla="*/ 0 h 14985"/>
                  <a:gd name="connsiteX2" fmla="*/ 1782 w 6874"/>
                  <a:gd name="connsiteY2" fmla="*/ 0 h 14985"/>
                  <a:gd name="connsiteX3" fmla="*/ 1782 w 6874"/>
                  <a:gd name="connsiteY3" fmla="*/ 5207 h 14985"/>
                  <a:gd name="connsiteX4" fmla="*/ 1782 w 6874"/>
                  <a:gd name="connsiteY4" fmla="*/ 5207 h 14985"/>
                  <a:gd name="connsiteX5" fmla="*/ 2801 w 6874"/>
                  <a:gd name="connsiteY5" fmla="*/ 4191 h 14985"/>
                  <a:gd name="connsiteX6" fmla="*/ 4201 w 6874"/>
                  <a:gd name="connsiteY6" fmla="*/ 3810 h 14985"/>
                  <a:gd name="connsiteX7" fmla="*/ 6111 w 6874"/>
                  <a:gd name="connsiteY7" fmla="*/ 4572 h 14985"/>
                  <a:gd name="connsiteX8" fmla="*/ 6875 w 6874"/>
                  <a:gd name="connsiteY8" fmla="*/ 7112 h 14985"/>
                  <a:gd name="connsiteX9" fmla="*/ 6875 w 6874"/>
                  <a:gd name="connsiteY9" fmla="*/ 14986 h 14985"/>
                  <a:gd name="connsiteX10" fmla="*/ 5220 w 6874"/>
                  <a:gd name="connsiteY10" fmla="*/ 14986 h 14985"/>
                  <a:gd name="connsiteX11" fmla="*/ 5220 w 6874"/>
                  <a:gd name="connsiteY11" fmla="*/ 7239 h 14985"/>
                  <a:gd name="connsiteX12" fmla="*/ 4838 w 6874"/>
                  <a:gd name="connsiteY12" fmla="*/ 5715 h 14985"/>
                  <a:gd name="connsiteX13" fmla="*/ 3692 w 6874"/>
                  <a:gd name="connsiteY13" fmla="*/ 5334 h 14985"/>
                  <a:gd name="connsiteX14" fmla="*/ 2292 w 6874"/>
                  <a:gd name="connsiteY14" fmla="*/ 6096 h 14985"/>
                  <a:gd name="connsiteX15" fmla="*/ 1655 w 6874"/>
                  <a:gd name="connsiteY15" fmla="*/ 8255 h 14985"/>
                  <a:gd name="connsiteX16" fmla="*/ 1655 w 6874"/>
                  <a:gd name="connsiteY16" fmla="*/ 14986 h 14985"/>
                  <a:gd name="connsiteX17" fmla="*/ 0 w 6874"/>
                  <a:gd name="connsiteY17" fmla="*/ 14986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4985">
                    <a:moveTo>
                      <a:pt x="127" y="14986"/>
                    </a:moveTo>
                    <a:lnTo>
                      <a:pt x="127" y="0"/>
                    </a:lnTo>
                    <a:lnTo>
                      <a:pt x="1782" y="0"/>
                    </a:lnTo>
                    <a:lnTo>
                      <a:pt x="1782" y="5207"/>
                    </a:lnTo>
                    <a:lnTo>
                      <a:pt x="1782" y="5207"/>
                    </a:lnTo>
                    <a:cubicBezTo>
                      <a:pt x="1782" y="5207"/>
                      <a:pt x="2419" y="4318"/>
                      <a:pt x="2801" y="4191"/>
                    </a:cubicBezTo>
                    <a:cubicBezTo>
                      <a:pt x="3183" y="3937"/>
                      <a:pt x="3692" y="3810"/>
                      <a:pt x="4201" y="3810"/>
                    </a:cubicBezTo>
                    <a:cubicBezTo>
                      <a:pt x="4965" y="3810"/>
                      <a:pt x="5729" y="4064"/>
                      <a:pt x="6111" y="4572"/>
                    </a:cubicBezTo>
                    <a:cubicBezTo>
                      <a:pt x="6620" y="5080"/>
                      <a:pt x="6875" y="5969"/>
                      <a:pt x="6875" y="7112"/>
                    </a:cubicBezTo>
                    <a:lnTo>
                      <a:pt x="6875" y="14986"/>
                    </a:lnTo>
                    <a:lnTo>
                      <a:pt x="5220" y="14986"/>
                    </a:lnTo>
                    <a:lnTo>
                      <a:pt x="5220" y="7239"/>
                    </a:lnTo>
                    <a:cubicBezTo>
                      <a:pt x="5220" y="6477"/>
                      <a:pt x="5093" y="5969"/>
                      <a:pt x="4838" y="5715"/>
                    </a:cubicBezTo>
                    <a:cubicBezTo>
                      <a:pt x="4583" y="5461"/>
                      <a:pt x="4201" y="5334"/>
                      <a:pt x="3692" y="5334"/>
                    </a:cubicBezTo>
                    <a:cubicBezTo>
                      <a:pt x="3183" y="5334"/>
                      <a:pt x="2674" y="5588"/>
                      <a:pt x="2292" y="6096"/>
                    </a:cubicBezTo>
                    <a:cubicBezTo>
                      <a:pt x="1910" y="6604"/>
                      <a:pt x="1655" y="7366"/>
                      <a:pt x="1655" y="8255"/>
                    </a:cubicBezTo>
                    <a:lnTo>
                      <a:pt x="1655" y="14986"/>
                    </a:lnTo>
                    <a:lnTo>
                      <a:pt x="0" y="14986"/>
                    </a:lnTo>
                    <a:close/>
                  </a:path>
                </a:pathLst>
              </a:custGeom>
              <a:solidFill>
                <a:srgbClr val="FFFFFF"/>
              </a:solidFill>
              <a:ln w="0" cap="flat">
                <a:noFill/>
                <a:prstDash val="solid"/>
                <a:miter/>
              </a:ln>
            </p:spPr>
            <p:txBody>
              <a:bodyPr rtlCol="0" anchor="ctr"/>
              <a:lstStyle/>
              <a:p>
                <a:endParaRPr lang="en-AD" sz="2400"/>
              </a:p>
            </p:txBody>
          </p:sp>
          <p:sp>
            <p:nvSpPr>
              <p:cNvPr id="111" name="Freeform 110">
                <a:extLst>
                  <a:ext uri="{FF2B5EF4-FFF2-40B4-BE49-F238E27FC236}">
                    <a16:creationId xmlns:a16="http://schemas.microsoft.com/office/drawing/2014/main" id="{7C0B1D0A-4A82-4FCB-4C4C-AAD4106B3917}"/>
                  </a:ext>
                </a:extLst>
              </p:cNvPr>
              <p:cNvSpPr/>
              <p:nvPr/>
            </p:nvSpPr>
            <p:spPr>
              <a:xfrm>
                <a:off x="1432427"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4"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12" name="Freeform 111">
                <a:extLst>
                  <a:ext uri="{FF2B5EF4-FFF2-40B4-BE49-F238E27FC236}">
                    <a16:creationId xmlns:a16="http://schemas.microsoft.com/office/drawing/2014/main" id="{CC5CFF29-06CF-80EA-E1B5-BB593A57E2F3}"/>
                  </a:ext>
                </a:extLst>
              </p:cNvPr>
              <p:cNvSpPr/>
              <p:nvPr/>
            </p:nvSpPr>
            <p:spPr>
              <a:xfrm>
                <a:off x="1451397" y="4865623"/>
                <a:ext cx="8911" cy="14223"/>
              </a:xfrm>
              <a:custGeom>
                <a:avLst/>
                <a:gdLst>
                  <a:gd name="connsiteX0" fmla="*/ 0 w 8911"/>
                  <a:gd name="connsiteY0" fmla="*/ 14224 h 14223"/>
                  <a:gd name="connsiteX1" fmla="*/ 0 w 8911"/>
                  <a:gd name="connsiteY1" fmla="*/ 0 h 14223"/>
                  <a:gd name="connsiteX2" fmla="*/ 8785 w 8911"/>
                  <a:gd name="connsiteY2" fmla="*/ 0 h 14223"/>
                  <a:gd name="connsiteX3" fmla="*/ 8785 w 8911"/>
                  <a:gd name="connsiteY3" fmla="*/ 1651 h 14223"/>
                  <a:gd name="connsiteX4" fmla="*/ 1782 w 8911"/>
                  <a:gd name="connsiteY4" fmla="*/ 1651 h 14223"/>
                  <a:gd name="connsiteX5" fmla="*/ 1782 w 8911"/>
                  <a:gd name="connsiteY5" fmla="*/ 6096 h 14223"/>
                  <a:gd name="connsiteX6" fmla="*/ 7894 w 8911"/>
                  <a:gd name="connsiteY6" fmla="*/ 6096 h 14223"/>
                  <a:gd name="connsiteX7" fmla="*/ 7894 w 8911"/>
                  <a:gd name="connsiteY7" fmla="*/ 7747 h 14223"/>
                  <a:gd name="connsiteX8" fmla="*/ 1782 w 8911"/>
                  <a:gd name="connsiteY8" fmla="*/ 7747 h 14223"/>
                  <a:gd name="connsiteX9" fmla="*/ 1782 w 8911"/>
                  <a:gd name="connsiteY9" fmla="*/ 12573 h 14223"/>
                  <a:gd name="connsiteX10" fmla="*/ 8912 w 8911"/>
                  <a:gd name="connsiteY10" fmla="*/ 12573 h 14223"/>
                  <a:gd name="connsiteX11" fmla="*/ 8912 w 8911"/>
                  <a:gd name="connsiteY11" fmla="*/ 14224 h 14223"/>
                  <a:gd name="connsiteX12" fmla="*/ 0 w 8911"/>
                  <a:gd name="connsiteY12" fmla="*/ 14224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 h="14223">
                    <a:moveTo>
                      <a:pt x="0" y="14224"/>
                    </a:moveTo>
                    <a:lnTo>
                      <a:pt x="0" y="0"/>
                    </a:lnTo>
                    <a:lnTo>
                      <a:pt x="8785" y="0"/>
                    </a:lnTo>
                    <a:lnTo>
                      <a:pt x="8785" y="1651"/>
                    </a:lnTo>
                    <a:lnTo>
                      <a:pt x="1782" y="1651"/>
                    </a:lnTo>
                    <a:lnTo>
                      <a:pt x="1782" y="6096"/>
                    </a:lnTo>
                    <a:lnTo>
                      <a:pt x="7894" y="6096"/>
                    </a:lnTo>
                    <a:lnTo>
                      <a:pt x="7894" y="7747"/>
                    </a:lnTo>
                    <a:lnTo>
                      <a:pt x="1782" y="7747"/>
                    </a:lnTo>
                    <a:lnTo>
                      <a:pt x="1782" y="12573"/>
                    </a:lnTo>
                    <a:lnTo>
                      <a:pt x="8912" y="12573"/>
                    </a:lnTo>
                    <a:lnTo>
                      <a:pt x="8912" y="14224"/>
                    </a:lnTo>
                    <a:lnTo>
                      <a:pt x="0" y="14224"/>
                    </a:lnTo>
                    <a:close/>
                  </a:path>
                </a:pathLst>
              </a:custGeom>
              <a:solidFill>
                <a:srgbClr val="FFFFFF"/>
              </a:solidFill>
              <a:ln w="0" cap="flat">
                <a:noFill/>
                <a:prstDash val="solid"/>
                <a:miter/>
              </a:ln>
            </p:spPr>
            <p:txBody>
              <a:bodyPr rtlCol="0" anchor="ctr"/>
              <a:lstStyle/>
              <a:p>
                <a:endParaRPr lang="en-AD" sz="2400"/>
              </a:p>
            </p:txBody>
          </p:sp>
          <p:sp>
            <p:nvSpPr>
              <p:cNvPr id="113" name="Freeform 112">
                <a:extLst>
                  <a:ext uri="{FF2B5EF4-FFF2-40B4-BE49-F238E27FC236}">
                    <a16:creationId xmlns:a16="http://schemas.microsoft.com/office/drawing/2014/main" id="{59DB5B6A-0866-9F22-6E51-F639FE3FB782}"/>
                  </a:ext>
                </a:extLst>
              </p:cNvPr>
              <p:cNvSpPr/>
              <p:nvPr/>
            </p:nvSpPr>
            <p:spPr>
              <a:xfrm>
                <a:off x="1464765" y="4868798"/>
                <a:ext cx="6874" cy="11176"/>
              </a:xfrm>
              <a:custGeom>
                <a:avLst/>
                <a:gdLst>
                  <a:gd name="connsiteX0" fmla="*/ 2674 w 6874"/>
                  <a:gd name="connsiteY0" fmla="*/ 11176 h 11176"/>
                  <a:gd name="connsiteX1" fmla="*/ 764 w 6874"/>
                  <a:gd name="connsiteY1" fmla="*/ 10414 h 11176"/>
                  <a:gd name="connsiteX2" fmla="*/ 0 w 6874"/>
                  <a:gd name="connsiteY2" fmla="*/ 7874 h 11176"/>
                  <a:gd name="connsiteX3" fmla="*/ 0 w 6874"/>
                  <a:gd name="connsiteY3" fmla="*/ 0 h 11176"/>
                  <a:gd name="connsiteX4" fmla="*/ 1655 w 6874"/>
                  <a:gd name="connsiteY4" fmla="*/ 0 h 11176"/>
                  <a:gd name="connsiteX5" fmla="*/ 1655 w 6874"/>
                  <a:gd name="connsiteY5" fmla="*/ 7747 h 11176"/>
                  <a:gd name="connsiteX6" fmla="*/ 2037 w 6874"/>
                  <a:gd name="connsiteY6" fmla="*/ 9271 h 11176"/>
                  <a:gd name="connsiteX7" fmla="*/ 3183 w 6874"/>
                  <a:gd name="connsiteY7" fmla="*/ 9652 h 11176"/>
                  <a:gd name="connsiteX8" fmla="*/ 4583 w 6874"/>
                  <a:gd name="connsiteY8" fmla="*/ 8890 h 11176"/>
                  <a:gd name="connsiteX9" fmla="*/ 5220 w 6874"/>
                  <a:gd name="connsiteY9" fmla="*/ 6731 h 11176"/>
                  <a:gd name="connsiteX10" fmla="*/ 5220 w 6874"/>
                  <a:gd name="connsiteY10" fmla="*/ 0 h 11176"/>
                  <a:gd name="connsiteX11" fmla="*/ 6875 w 6874"/>
                  <a:gd name="connsiteY11" fmla="*/ 0 h 11176"/>
                  <a:gd name="connsiteX12" fmla="*/ 6875 w 6874"/>
                  <a:gd name="connsiteY12" fmla="*/ 10922 h 11176"/>
                  <a:gd name="connsiteX13" fmla="*/ 5602 w 6874"/>
                  <a:gd name="connsiteY13" fmla="*/ 10922 h 11176"/>
                  <a:gd name="connsiteX14" fmla="*/ 5347 w 6874"/>
                  <a:gd name="connsiteY14" fmla="*/ 9652 h 11176"/>
                  <a:gd name="connsiteX15" fmla="*/ 5347 w 6874"/>
                  <a:gd name="connsiteY15" fmla="*/ 9652 h 11176"/>
                  <a:gd name="connsiteX16" fmla="*/ 4201 w 6874"/>
                  <a:gd name="connsiteY16" fmla="*/ 10795 h 11176"/>
                  <a:gd name="connsiteX17" fmla="*/ 2674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2"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14" name="Freeform 113">
                <a:extLst>
                  <a:ext uri="{FF2B5EF4-FFF2-40B4-BE49-F238E27FC236}">
                    <a16:creationId xmlns:a16="http://schemas.microsoft.com/office/drawing/2014/main" id="{3FDCD468-E287-9E8E-CA79-DE1515A5ACA6}"/>
                  </a:ext>
                </a:extLst>
              </p:cNvPr>
              <p:cNvSpPr/>
              <p:nvPr/>
            </p:nvSpPr>
            <p:spPr>
              <a:xfrm>
                <a:off x="1476096"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7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7"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15" name="Freeform 114">
                <a:extLst>
                  <a:ext uri="{FF2B5EF4-FFF2-40B4-BE49-F238E27FC236}">
                    <a16:creationId xmlns:a16="http://schemas.microsoft.com/office/drawing/2014/main" id="{0197F2E9-158E-3091-E231-D9F6A007E4DB}"/>
                  </a:ext>
                </a:extLst>
              </p:cNvPr>
              <p:cNvSpPr/>
              <p:nvPr/>
            </p:nvSpPr>
            <p:spPr>
              <a:xfrm>
                <a:off x="1483608"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4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4" y="3810"/>
                      <a:pt x="7894" y="5715"/>
                    </a:cubicBezTo>
                    <a:cubicBezTo>
                      <a:pt x="7894"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16" name="Freeform 115">
                <a:extLst>
                  <a:ext uri="{FF2B5EF4-FFF2-40B4-BE49-F238E27FC236}">
                    <a16:creationId xmlns:a16="http://schemas.microsoft.com/office/drawing/2014/main" id="{4B0E6884-3310-7C9B-1D1C-740D225A456B}"/>
                  </a:ext>
                </a:extLst>
              </p:cNvPr>
              <p:cNvSpPr/>
              <p:nvPr/>
            </p:nvSpPr>
            <p:spPr>
              <a:xfrm>
                <a:off x="1495575" y="4868671"/>
                <a:ext cx="7256" cy="14859"/>
              </a:xfrm>
              <a:custGeom>
                <a:avLst/>
                <a:gdLst>
                  <a:gd name="connsiteX0" fmla="*/ 0 w 7256"/>
                  <a:gd name="connsiteY0" fmla="*/ 14732 h 14859"/>
                  <a:gd name="connsiteX1" fmla="*/ 0 w 7256"/>
                  <a:gd name="connsiteY1" fmla="*/ 254 h 14859"/>
                  <a:gd name="connsiteX2" fmla="*/ 1273 w 7256"/>
                  <a:gd name="connsiteY2" fmla="*/ 254 h 14859"/>
                  <a:gd name="connsiteX3" fmla="*/ 1528 w 7256"/>
                  <a:gd name="connsiteY3" fmla="*/ 1524 h 14859"/>
                  <a:gd name="connsiteX4" fmla="*/ 1528 w 7256"/>
                  <a:gd name="connsiteY4" fmla="*/ 1524 h 14859"/>
                  <a:gd name="connsiteX5" fmla="*/ 2546 w 7256"/>
                  <a:gd name="connsiteY5" fmla="*/ 381 h 14859"/>
                  <a:gd name="connsiteX6" fmla="*/ 3947 w 7256"/>
                  <a:gd name="connsiteY6" fmla="*/ 0 h 14859"/>
                  <a:gd name="connsiteX7" fmla="*/ 6366 w 7256"/>
                  <a:gd name="connsiteY7" fmla="*/ 1397 h 14859"/>
                  <a:gd name="connsiteX8" fmla="*/ 7257 w 7256"/>
                  <a:gd name="connsiteY8" fmla="*/ 5715 h 14859"/>
                  <a:gd name="connsiteX9" fmla="*/ 6875 w 7256"/>
                  <a:gd name="connsiteY9" fmla="*/ 9017 h 14859"/>
                  <a:gd name="connsiteX10" fmla="*/ 5729 w 7256"/>
                  <a:gd name="connsiteY10" fmla="*/ 10922 h 14859"/>
                  <a:gd name="connsiteX11" fmla="*/ 4074 w 7256"/>
                  <a:gd name="connsiteY11" fmla="*/ 11557 h 14859"/>
                  <a:gd name="connsiteX12" fmla="*/ 2674 w 7256"/>
                  <a:gd name="connsiteY12" fmla="*/ 11176 h 14859"/>
                  <a:gd name="connsiteX13" fmla="*/ 1782 w 7256"/>
                  <a:gd name="connsiteY13" fmla="*/ 10287 h 14859"/>
                  <a:gd name="connsiteX14" fmla="*/ 1782 w 7256"/>
                  <a:gd name="connsiteY14" fmla="*/ 10287 h 14859"/>
                  <a:gd name="connsiteX15" fmla="*/ 1782 w 7256"/>
                  <a:gd name="connsiteY15" fmla="*/ 14859 h 14859"/>
                  <a:gd name="connsiteX16" fmla="*/ 127 w 7256"/>
                  <a:gd name="connsiteY16" fmla="*/ 14859 h 14859"/>
                  <a:gd name="connsiteX17" fmla="*/ 3692 w 7256"/>
                  <a:gd name="connsiteY17" fmla="*/ 9906 h 14859"/>
                  <a:gd name="connsiteX18" fmla="*/ 5220 w 7256"/>
                  <a:gd name="connsiteY18" fmla="*/ 9017 h 14859"/>
                  <a:gd name="connsiteX19" fmla="*/ 5729 w 7256"/>
                  <a:gd name="connsiteY19" fmla="*/ 6096 h 14859"/>
                  <a:gd name="connsiteX20" fmla="*/ 5729 w 7256"/>
                  <a:gd name="connsiteY20" fmla="*/ 5334 h 14859"/>
                  <a:gd name="connsiteX21" fmla="*/ 5220 w 7256"/>
                  <a:gd name="connsiteY21" fmla="*/ 2413 h 14859"/>
                  <a:gd name="connsiteX22" fmla="*/ 3692 w 7256"/>
                  <a:gd name="connsiteY22" fmla="*/ 1524 h 14859"/>
                  <a:gd name="connsiteX23" fmla="*/ 2164 w 7256"/>
                  <a:gd name="connsiteY23" fmla="*/ 2540 h 14859"/>
                  <a:gd name="connsiteX24" fmla="*/ 1655 w 7256"/>
                  <a:gd name="connsiteY24" fmla="*/ 5334 h 14859"/>
                  <a:gd name="connsiteX25" fmla="*/ 1655 w 7256"/>
                  <a:gd name="connsiteY25" fmla="*/ 6096 h 14859"/>
                  <a:gd name="connsiteX26" fmla="*/ 2164 w 7256"/>
                  <a:gd name="connsiteY26" fmla="*/ 8890 h 14859"/>
                  <a:gd name="connsiteX27" fmla="*/ 3692 w 7256"/>
                  <a:gd name="connsiteY27" fmla="*/ 9906 h 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56" h="14859">
                    <a:moveTo>
                      <a:pt x="0" y="14732"/>
                    </a:moveTo>
                    <a:lnTo>
                      <a:pt x="0" y="254"/>
                    </a:lnTo>
                    <a:lnTo>
                      <a:pt x="1273" y="254"/>
                    </a:lnTo>
                    <a:lnTo>
                      <a:pt x="1528" y="1524"/>
                    </a:lnTo>
                    <a:lnTo>
                      <a:pt x="1528" y="1524"/>
                    </a:lnTo>
                    <a:cubicBezTo>
                      <a:pt x="1528" y="1524"/>
                      <a:pt x="2164" y="635"/>
                      <a:pt x="2546" y="381"/>
                    </a:cubicBezTo>
                    <a:cubicBezTo>
                      <a:pt x="2928" y="127"/>
                      <a:pt x="3437" y="0"/>
                      <a:pt x="3947" y="0"/>
                    </a:cubicBezTo>
                    <a:cubicBezTo>
                      <a:pt x="4965" y="0"/>
                      <a:pt x="5856" y="508"/>
                      <a:pt x="6366" y="1397"/>
                    </a:cubicBezTo>
                    <a:cubicBezTo>
                      <a:pt x="7002" y="2286"/>
                      <a:pt x="7257" y="3810"/>
                      <a:pt x="7257" y="5715"/>
                    </a:cubicBezTo>
                    <a:cubicBezTo>
                      <a:pt x="7257" y="6985"/>
                      <a:pt x="7130" y="8128"/>
                      <a:pt x="6875" y="9017"/>
                    </a:cubicBezTo>
                    <a:cubicBezTo>
                      <a:pt x="6620" y="9906"/>
                      <a:pt x="6238" y="10541"/>
                      <a:pt x="5729" y="10922"/>
                    </a:cubicBezTo>
                    <a:cubicBezTo>
                      <a:pt x="5220" y="11303"/>
                      <a:pt x="4711" y="11557"/>
                      <a:pt x="4074" y="11557"/>
                    </a:cubicBezTo>
                    <a:cubicBezTo>
                      <a:pt x="3565" y="11557"/>
                      <a:pt x="3056" y="11557"/>
                      <a:pt x="2674" y="11176"/>
                    </a:cubicBezTo>
                    <a:cubicBezTo>
                      <a:pt x="2292" y="10922"/>
                      <a:pt x="1910" y="10668"/>
                      <a:pt x="1782" y="10287"/>
                    </a:cubicBezTo>
                    <a:lnTo>
                      <a:pt x="1782" y="10287"/>
                    </a:lnTo>
                    <a:lnTo>
                      <a:pt x="1782" y="14859"/>
                    </a:lnTo>
                    <a:lnTo>
                      <a:pt x="127" y="14859"/>
                    </a:lnTo>
                    <a:close/>
                    <a:moveTo>
                      <a:pt x="3692" y="9906"/>
                    </a:moveTo>
                    <a:cubicBezTo>
                      <a:pt x="4329" y="9906"/>
                      <a:pt x="4838" y="9652"/>
                      <a:pt x="5220" y="9017"/>
                    </a:cubicBezTo>
                    <a:cubicBezTo>
                      <a:pt x="5602" y="8382"/>
                      <a:pt x="5729" y="7493"/>
                      <a:pt x="5729" y="6096"/>
                    </a:cubicBezTo>
                    <a:lnTo>
                      <a:pt x="5729" y="5334"/>
                    </a:lnTo>
                    <a:cubicBezTo>
                      <a:pt x="5729" y="3937"/>
                      <a:pt x="5602" y="3048"/>
                      <a:pt x="5220" y="2413"/>
                    </a:cubicBezTo>
                    <a:cubicBezTo>
                      <a:pt x="4838" y="1778"/>
                      <a:pt x="4456" y="1524"/>
                      <a:pt x="3692" y="1524"/>
                    </a:cubicBezTo>
                    <a:cubicBezTo>
                      <a:pt x="2928" y="1524"/>
                      <a:pt x="2546" y="1905"/>
                      <a:pt x="2164" y="2540"/>
                    </a:cubicBezTo>
                    <a:cubicBezTo>
                      <a:pt x="1782" y="3175"/>
                      <a:pt x="1655" y="4064"/>
                      <a:pt x="1655" y="5334"/>
                    </a:cubicBezTo>
                    <a:lnTo>
                      <a:pt x="1655" y="6096"/>
                    </a:lnTo>
                    <a:cubicBezTo>
                      <a:pt x="1655" y="7366"/>
                      <a:pt x="1782" y="8255"/>
                      <a:pt x="2164" y="8890"/>
                    </a:cubicBezTo>
                    <a:cubicBezTo>
                      <a:pt x="2546" y="9525"/>
                      <a:pt x="2928" y="9906"/>
                      <a:pt x="3692" y="9906"/>
                    </a:cubicBezTo>
                    <a:close/>
                  </a:path>
                </a:pathLst>
              </a:custGeom>
              <a:solidFill>
                <a:srgbClr val="FFFFFF"/>
              </a:solidFill>
              <a:ln w="0" cap="flat">
                <a:noFill/>
                <a:prstDash val="solid"/>
                <a:miter/>
              </a:ln>
            </p:spPr>
            <p:txBody>
              <a:bodyPr rtlCol="0" anchor="ctr"/>
              <a:lstStyle/>
              <a:p>
                <a:endParaRPr lang="en-AD" sz="2400"/>
              </a:p>
            </p:txBody>
          </p:sp>
          <p:sp>
            <p:nvSpPr>
              <p:cNvPr id="117" name="Freeform 116">
                <a:extLst>
                  <a:ext uri="{FF2B5EF4-FFF2-40B4-BE49-F238E27FC236}">
                    <a16:creationId xmlns:a16="http://schemas.microsoft.com/office/drawing/2014/main" id="{252707F6-5855-6F52-38D6-12D9AAC73965}"/>
                  </a:ext>
                </a:extLst>
              </p:cNvPr>
              <p:cNvSpPr/>
              <p:nvPr/>
            </p:nvSpPr>
            <p:spPr>
              <a:xfrm>
                <a:off x="1506906"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655 w 7638"/>
                  <a:gd name="connsiteY16" fmla="*/ 4699 h 11429"/>
                  <a:gd name="connsiteX17" fmla="*/ 5729 w 7638"/>
                  <a:gd name="connsiteY17" fmla="*/ 4699 h 11429"/>
                  <a:gd name="connsiteX18" fmla="*/ 5220 w 7638"/>
                  <a:gd name="connsiteY18" fmla="*/ 2286 h 11429"/>
                  <a:gd name="connsiteX19" fmla="*/ 3819 w 7638"/>
                  <a:gd name="connsiteY19" fmla="*/ 1524 h 11429"/>
                  <a:gd name="connsiteX20" fmla="*/ 2164 w 7638"/>
                  <a:gd name="connsiteY20" fmla="*/ 2286 h 11429"/>
                  <a:gd name="connsiteX21" fmla="*/ 1528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4" y="11430"/>
                      <a:pt x="1655" y="10922"/>
                      <a:pt x="1019" y="10033"/>
                    </a:cubicBezTo>
                    <a:cubicBezTo>
                      <a:pt x="382" y="9144"/>
                      <a:pt x="0" y="7620"/>
                      <a:pt x="0" y="5715"/>
                    </a:cubicBezTo>
                    <a:cubicBezTo>
                      <a:pt x="0" y="3810"/>
                      <a:pt x="382" y="2286"/>
                      <a:pt x="1019" y="1397"/>
                    </a:cubicBezTo>
                    <a:cubicBezTo>
                      <a:pt x="1655" y="508"/>
                      <a:pt x="2674"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4" y="9652"/>
                      <a:pt x="3310" y="9906"/>
                      <a:pt x="4074" y="9906"/>
                    </a:cubicBezTo>
                    <a:cubicBezTo>
                      <a:pt x="4583" y="9906"/>
                      <a:pt x="5093"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655" y="4699"/>
                    </a:moveTo>
                    <a:lnTo>
                      <a:pt x="5729" y="4699"/>
                    </a:lnTo>
                    <a:cubicBezTo>
                      <a:pt x="5729" y="3683"/>
                      <a:pt x="5602" y="2921"/>
                      <a:pt x="5220" y="2286"/>
                    </a:cubicBezTo>
                    <a:cubicBezTo>
                      <a:pt x="4838" y="1651"/>
                      <a:pt x="4456" y="1524"/>
                      <a:pt x="3819" y="1524"/>
                    </a:cubicBezTo>
                    <a:cubicBezTo>
                      <a:pt x="3056" y="1524"/>
                      <a:pt x="2546" y="1778"/>
                      <a:pt x="2164" y="2286"/>
                    </a:cubicBezTo>
                    <a:cubicBezTo>
                      <a:pt x="1782" y="2794"/>
                      <a:pt x="1655" y="3556"/>
                      <a:pt x="1528" y="4699"/>
                    </a:cubicBezTo>
                    <a:close/>
                  </a:path>
                </a:pathLst>
              </a:custGeom>
              <a:solidFill>
                <a:srgbClr val="FFFFFF"/>
              </a:solidFill>
              <a:ln w="0" cap="flat">
                <a:noFill/>
                <a:prstDash val="solid"/>
                <a:miter/>
              </a:ln>
            </p:spPr>
            <p:txBody>
              <a:bodyPr rtlCol="0" anchor="ctr"/>
              <a:lstStyle/>
              <a:p>
                <a:endParaRPr lang="en-AD" sz="2400"/>
              </a:p>
            </p:txBody>
          </p:sp>
          <p:sp>
            <p:nvSpPr>
              <p:cNvPr id="118" name="Freeform 117">
                <a:extLst>
                  <a:ext uri="{FF2B5EF4-FFF2-40B4-BE49-F238E27FC236}">
                    <a16:creationId xmlns:a16="http://schemas.microsoft.com/office/drawing/2014/main" id="{ACC81139-D59D-7D34-506D-A174B24A5D2D}"/>
                  </a:ext>
                </a:extLst>
              </p:cNvPr>
              <p:cNvSpPr/>
              <p:nvPr/>
            </p:nvSpPr>
            <p:spPr>
              <a:xfrm>
                <a:off x="1518237"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8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8" y="9906"/>
                    </a:cubicBezTo>
                    <a:close/>
                  </a:path>
                </a:pathLst>
              </a:custGeom>
              <a:solidFill>
                <a:srgbClr val="FFFFFF"/>
              </a:solidFill>
              <a:ln w="0" cap="flat">
                <a:noFill/>
                <a:prstDash val="solid"/>
                <a:miter/>
              </a:ln>
            </p:spPr>
            <p:txBody>
              <a:bodyPr rtlCol="0" anchor="ctr"/>
              <a:lstStyle/>
              <a:p>
                <a:endParaRPr lang="en-AD" sz="2400"/>
              </a:p>
            </p:txBody>
          </p:sp>
          <p:sp>
            <p:nvSpPr>
              <p:cNvPr id="119" name="Freeform 118">
                <a:extLst>
                  <a:ext uri="{FF2B5EF4-FFF2-40B4-BE49-F238E27FC236}">
                    <a16:creationId xmlns:a16="http://schemas.microsoft.com/office/drawing/2014/main" id="{1869EDCF-A1A5-6142-EDF9-5D2EEA767093}"/>
                  </a:ext>
                </a:extLst>
              </p:cNvPr>
              <p:cNvSpPr/>
              <p:nvPr/>
            </p:nvSpPr>
            <p:spPr>
              <a:xfrm>
                <a:off x="1530332"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3"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20" name="Freeform 119">
                <a:extLst>
                  <a:ext uri="{FF2B5EF4-FFF2-40B4-BE49-F238E27FC236}">
                    <a16:creationId xmlns:a16="http://schemas.microsoft.com/office/drawing/2014/main" id="{B866164F-D42B-AEDC-5D8E-E5B34660E147}"/>
                  </a:ext>
                </a:extLst>
              </p:cNvPr>
              <p:cNvSpPr/>
              <p:nvPr/>
            </p:nvSpPr>
            <p:spPr>
              <a:xfrm>
                <a:off x="1546501" y="4865623"/>
                <a:ext cx="11458" cy="14223"/>
              </a:xfrm>
              <a:custGeom>
                <a:avLst/>
                <a:gdLst>
                  <a:gd name="connsiteX0" fmla="*/ 0 w 11458"/>
                  <a:gd name="connsiteY0" fmla="*/ 14224 h 14223"/>
                  <a:gd name="connsiteX1" fmla="*/ 4583 w 11458"/>
                  <a:gd name="connsiteY1" fmla="*/ 0 h 14223"/>
                  <a:gd name="connsiteX2" fmla="*/ 6875 w 11458"/>
                  <a:gd name="connsiteY2" fmla="*/ 0 h 14223"/>
                  <a:gd name="connsiteX3" fmla="*/ 11458 w 11458"/>
                  <a:gd name="connsiteY3" fmla="*/ 14224 h 14223"/>
                  <a:gd name="connsiteX4" fmla="*/ 9421 w 11458"/>
                  <a:gd name="connsiteY4" fmla="*/ 14224 h 14223"/>
                  <a:gd name="connsiteX5" fmla="*/ 8403 w 11458"/>
                  <a:gd name="connsiteY5" fmla="*/ 11049 h 14223"/>
                  <a:gd name="connsiteX6" fmla="*/ 2801 w 11458"/>
                  <a:gd name="connsiteY6" fmla="*/ 11049 h 14223"/>
                  <a:gd name="connsiteX7" fmla="*/ 1782 w 11458"/>
                  <a:gd name="connsiteY7" fmla="*/ 14224 h 14223"/>
                  <a:gd name="connsiteX8" fmla="*/ 0 w 11458"/>
                  <a:gd name="connsiteY8" fmla="*/ 14224 h 14223"/>
                  <a:gd name="connsiteX9" fmla="*/ 3310 w 11458"/>
                  <a:gd name="connsiteY9" fmla="*/ 9271 h 14223"/>
                  <a:gd name="connsiteX10" fmla="*/ 7894 w 11458"/>
                  <a:gd name="connsiteY10" fmla="*/ 9271 h 14223"/>
                  <a:gd name="connsiteX11" fmla="*/ 5984 w 11458"/>
                  <a:gd name="connsiteY11" fmla="*/ 2921 h 14223"/>
                  <a:gd name="connsiteX12" fmla="*/ 5856 w 11458"/>
                  <a:gd name="connsiteY12" fmla="*/ 2286 h 14223"/>
                  <a:gd name="connsiteX13" fmla="*/ 5729 w 11458"/>
                  <a:gd name="connsiteY13" fmla="*/ 1270 h 14223"/>
                  <a:gd name="connsiteX14" fmla="*/ 5729 w 11458"/>
                  <a:gd name="connsiteY14" fmla="*/ 1270 h 14223"/>
                  <a:gd name="connsiteX15" fmla="*/ 5602 w 11458"/>
                  <a:gd name="connsiteY15" fmla="*/ 2286 h 14223"/>
                  <a:gd name="connsiteX16" fmla="*/ 5475 w 11458"/>
                  <a:gd name="connsiteY16" fmla="*/ 2921 h 14223"/>
                  <a:gd name="connsiteX17" fmla="*/ 3565 w 11458"/>
                  <a:gd name="connsiteY17" fmla="*/ 9271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8" h="14223">
                    <a:moveTo>
                      <a:pt x="0" y="14224"/>
                    </a:moveTo>
                    <a:lnTo>
                      <a:pt x="4583" y="0"/>
                    </a:lnTo>
                    <a:lnTo>
                      <a:pt x="6875" y="0"/>
                    </a:lnTo>
                    <a:lnTo>
                      <a:pt x="11458" y="14224"/>
                    </a:lnTo>
                    <a:lnTo>
                      <a:pt x="9421" y="14224"/>
                    </a:lnTo>
                    <a:lnTo>
                      <a:pt x="8403" y="11049"/>
                    </a:lnTo>
                    <a:lnTo>
                      <a:pt x="2801" y="11049"/>
                    </a:lnTo>
                    <a:lnTo>
                      <a:pt x="1782" y="14224"/>
                    </a:lnTo>
                    <a:lnTo>
                      <a:pt x="0" y="14224"/>
                    </a:lnTo>
                    <a:close/>
                    <a:moveTo>
                      <a:pt x="3310" y="9271"/>
                    </a:moveTo>
                    <a:lnTo>
                      <a:pt x="7894" y="9271"/>
                    </a:lnTo>
                    <a:lnTo>
                      <a:pt x="5984" y="2921"/>
                    </a:lnTo>
                    <a:cubicBezTo>
                      <a:pt x="5984" y="2921"/>
                      <a:pt x="5984" y="2540"/>
                      <a:pt x="5856" y="2286"/>
                    </a:cubicBezTo>
                    <a:cubicBezTo>
                      <a:pt x="5856" y="2032"/>
                      <a:pt x="5856" y="1778"/>
                      <a:pt x="5729" y="1270"/>
                    </a:cubicBezTo>
                    <a:lnTo>
                      <a:pt x="5729" y="1270"/>
                    </a:lnTo>
                    <a:cubicBezTo>
                      <a:pt x="5729" y="1270"/>
                      <a:pt x="5602" y="2032"/>
                      <a:pt x="5602" y="2286"/>
                    </a:cubicBezTo>
                    <a:cubicBezTo>
                      <a:pt x="5602" y="2540"/>
                      <a:pt x="5602" y="2794"/>
                      <a:pt x="5475" y="2921"/>
                    </a:cubicBezTo>
                    <a:lnTo>
                      <a:pt x="3565" y="9271"/>
                    </a:lnTo>
                    <a:close/>
                  </a:path>
                </a:pathLst>
              </a:custGeom>
              <a:solidFill>
                <a:srgbClr val="FFFFFF"/>
              </a:solidFill>
              <a:ln w="0" cap="flat">
                <a:noFill/>
                <a:prstDash val="solid"/>
                <a:miter/>
              </a:ln>
            </p:spPr>
            <p:txBody>
              <a:bodyPr rtlCol="0" anchor="ctr"/>
              <a:lstStyle/>
              <a:p>
                <a:endParaRPr lang="en-AD" sz="2400"/>
              </a:p>
            </p:txBody>
          </p:sp>
          <p:sp>
            <p:nvSpPr>
              <p:cNvPr id="121" name="Freeform 120">
                <a:extLst>
                  <a:ext uri="{FF2B5EF4-FFF2-40B4-BE49-F238E27FC236}">
                    <a16:creationId xmlns:a16="http://schemas.microsoft.com/office/drawing/2014/main" id="{F3F5849E-5D40-B929-8B8B-6E4473714E8A}"/>
                  </a:ext>
                </a:extLst>
              </p:cNvPr>
              <p:cNvSpPr/>
              <p:nvPr/>
            </p:nvSpPr>
            <p:spPr>
              <a:xfrm>
                <a:off x="1560633"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7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7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7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7"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7"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7" y="11430"/>
                    </a:cubicBezTo>
                    <a:close/>
                  </a:path>
                </a:pathLst>
              </a:custGeom>
              <a:solidFill>
                <a:srgbClr val="FFFFFF"/>
              </a:solidFill>
              <a:ln w="0" cap="flat">
                <a:noFill/>
                <a:prstDash val="solid"/>
                <a:miter/>
              </a:ln>
            </p:spPr>
            <p:txBody>
              <a:bodyPr rtlCol="0" anchor="ctr"/>
              <a:lstStyle/>
              <a:p>
                <a:endParaRPr lang="en-AD" sz="2400"/>
              </a:p>
            </p:txBody>
          </p:sp>
          <p:sp>
            <p:nvSpPr>
              <p:cNvPr id="122" name="Freeform 121">
                <a:extLst>
                  <a:ext uri="{FF2B5EF4-FFF2-40B4-BE49-F238E27FC236}">
                    <a16:creationId xmlns:a16="http://schemas.microsoft.com/office/drawing/2014/main" id="{875FFDA4-7794-97A1-AC2F-CAF5F721BED5}"/>
                  </a:ext>
                </a:extLst>
              </p:cNvPr>
              <p:cNvSpPr/>
              <p:nvPr/>
            </p:nvSpPr>
            <p:spPr>
              <a:xfrm>
                <a:off x="1571327"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6"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23" name="Freeform 122">
                <a:extLst>
                  <a:ext uri="{FF2B5EF4-FFF2-40B4-BE49-F238E27FC236}">
                    <a16:creationId xmlns:a16="http://schemas.microsoft.com/office/drawing/2014/main" id="{7D678A01-BE15-848E-F888-E871D1D8AC36}"/>
                  </a:ext>
                </a:extLst>
              </p:cNvPr>
              <p:cNvSpPr/>
              <p:nvPr/>
            </p:nvSpPr>
            <p:spPr>
              <a:xfrm>
                <a:off x="1582149" y="4868545"/>
                <a:ext cx="7893" cy="11429"/>
              </a:xfrm>
              <a:custGeom>
                <a:avLst/>
                <a:gdLst>
                  <a:gd name="connsiteX0" fmla="*/ 3947 w 7893"/>
                  <a:gd name="connsiteY0" fmla="*/ 11430 h 11429"/>
                  <a:gd name="connsiteX1" fmla="*/ 1018 w 7893"/>
                  <a:gd name="connsiteY1" fmla="*/ 10033 h 11429"/>
                  <a:gd name="connsiteX2" fmla="*/ 0 w 7893"/>
                  <a:gd name="connsiteY2" fmla="*/ 5715 h 11429"/>
                  <a:gd name="connsiteX3" fmla="*/ 1018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8" y="10033"/>
                    </a:cubicBezTo>
                    <a:cubicBezTo>
                      <a:pt x="382" y="9144"/>
                      <a:pt x="0" y="7620"/>
                      <a:pt x="0" y="5715"/>
                    </a:cubicBezTo>
                    <a:cubicBezTo>
                      <a:pt x="0" y="3810"/>
                      <a:pt x="382" y="2286"/>
                      <a:pt x="1018"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24" name="Freeform 123">
                <a:extLst>
                  <a:ext uri="{FF2B5EF4-FFF2-40B4-BE49-F238E27FC236}">
                    <a16:creationId xmlns:a16="http://schemas.microsoft.com/office/drawing/2014/main" id="{6E3899DC-9C51-AB9D-17A4-C0062BA35A10}"/>
                  </a:ext>
                </a:extLst>
              </p:cNvPr>
              <p:cNvSpPr/>
              <p:nvPr/>
            </p:nvSpPr>
            <p:spPr>
              <a:xfrm>
                <a:off x="1593735" y="4868545"/>
                <a:ext cx="7002" cy="11429"/>
              </a:xfrm>
              <a:custGeom>
                <a:avLst/>
                <a:gdLst>
                  <a:gd name="connsiteX0" fmla="*/ 3692 w 7002"/>
                  <a:gd name="connsiteY0" fmla="*/ 11430 h 11429"/>
                  <a:gd name="connsiteX1" fmla="*/ 891 w 7002"/>
                  <a:gd name="connsiteY1" fmla="*/ 10033 h 11429"/>
                  <a:gd name="connsiteX2" fmla="*/ 0 w 7002"/>
                  <a:gd name="connsiteY2" fmla="*/ 5715 h 11429"/>
                  <a:gd name="connsiteX3" fmla="*/ 891 w 7002"/>
                  <a:gd name="connsiteY3" fmla="*/ 1397 h 11429"/>
                  <a:gd name="connsiteX4" fmla="*/ 3692 w 7002"/>
                  <a:gd name="connsiteY4" fmla="*/ 0 h 11429"/>
                  <a:gd name="connsiteX5" fmla="*/ 6238 w 7002"/>
                  <a:gd name="connsiteY5" fmla="*/ 1143 h 11429"/>
                  <a:gd name="connsiteX6" fmla="*/ 7002 w 7002"/>
                  <a:gd name="connsiteY6" fmla="*/ 4318 h 11429"/>
                  <a:gd name="connsiteX7" fmla="*/ 5220 w 7002"/>
                  <a:gd name="connsiteY7" fmla="*/ 4318 h 11429"/>
                  <a:gd name="connsiteX8" fmla="*/ 4838 w 7002"/>
                  <a:gd name="connsiteY8" fmla="*/ 2159 h 11429"/>
                  <a:gd name="connsiteX9" fmla="*/ 3565 w 7002"/>
                  <a:gd name="connsiteY9" fmla="*/ 1524 h 11429"/>
                  <a:gd name="connsiteX10" fmla="*/ 2037 w 7002"/>
                  <a:gd name="connsiteY10" fmla="*/ 2540 h 11429"/>
                  <a:gd name="connsiteX11" fmla="*/ 1528 w 7002"/>
                  <a:gd name="connsiteY11" fmla="*/ 5334 h 11429"/>
                  <a:gd name="connsiteX12" fmla="*/ 1528 w 7002"/>
                  <a:gd name="connsiteY12" fmla="*/ 6096 h 11429"/>
                  <a:gd name="connsiteX13" fmla="*/ 2037 w 7002"/>
                  <a:gd name="connsiteY13" fmla="*/ 8890 h 11429"/>
                  <a:gd name="connsiteX14" fmla="*/ 3565 w 7002"/>
                  <a:gd name="connsiteY14" fmla="*/ 9906 h 11429"/>
                  <a:gd name="connsiteX15" fmla="*/ 4838 w 7002"/>
                  <a:gd name="connsiteY15" fmla="*/ 9144 h 11429"/>
                  <a:gd name="connsiteX16" fmla="*/ 5220 w 7002"/>
                  <a:gd name="connsiteY16" fmla="*/ 7112 h 11429"/>
                  <a:gd name="connsiteX17" fmla="*/ 6875 w 7002"/>
                  <a:gd name="connsiteY17" fmla="*/ 7112 h 11429"/>
                  <a:gd name="connsiteX18" fmla="*/ 6493 w 7002"/>
                  <a:gd name="connsiteY18" fmla="*/ 9271 h 11429"/>
                  <a:gd name="connsiteX19" fmla="*/ 5475 w 7002"/>
                  <a:gd name="connsiteY19" fmla="*/ 10795 h 11429"/>
                  <a:gd name="connsiteX20" fmla="*/ 3565 w 7002"/>
                  <a:gd name="connsiteY2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02" h="11429">
                    <a:moveTo>
                      <a:pt x="3692" y="11430"/>
                    </a:moveTo>
                    <a:cubicBezTo>
                      <a:pt x="2419" y="11430"/>
                      <a:pt x="1400" y="10922"/>
                      <a:pt x="891" y="10033"/>
                    </a:cubicBezTo>
                    <a:cubicBezTo>
                      <a:pt x="255" y="9144"/>
                      <a:pt x="0" y="7620"/>
                      <a:pt x="0" y="5715"/>
                    </a:cubicBezTo>
                    <a:cubicBezTo>
                      <a:pt x="0" y="3810"/>
                      <a:pt x="255" y="2286"/>
                      <a:pt x="891" y="1397"/>
                    </a:cubicBezTo>
                    <a:cubicBezTo>
                      <a:pt x="1528" y="508"/>
                      <a:pt x="2419" y="0"/>
                      <a:pt x="3692" y="0"/>
                    </a:cubicBezTo>
                    <a:cubicBezTo>
                      <a:pt x="4838" y="0"/>
                      <a:pt x="5729" y="381"/>
                      <a:pt x="6238" y="1143"/>
                    </a:cubicBezTo>
                    <a:cubicBezTo>
                      <a:pt x="6748" y="1905"/>
                      <a:pt x="7002" y="2921"/>
                      <a:pt x="7002" y="4318"/>
                    </a:cubicBezTo>
                    <a:lnTo>
                      <a:pt x="5220" y="4318"/>
                    </a:lnTo>
                    <a:cubicBezTo>
                      <a:pt x="5220" y="3429"/>
                      <a:pt x="5220" y="2667"/>
                      <a:pt x="4838" y="2159"/>
                    </a:cubicBezTo>
                    <a:cubicBezTo>
                      <a:pt x="4583" y="1651"/>
                      <a:pt x="4201" y="1524"/>
                      <a:pt x="3565" y="1524"/>
                    </a:cubicBezTo>
                    <a:cubicBezTo>
                      <a:pt x="2928" y="1524"/>
                      <a:pt x="2419" y="1905"/>
                      <a:pt x="2037" y="2540"/>
                    </a:cubicBezTo>
                    <a:cubicBezTo>
                      <a:pt x="1782" y="3175"/>
                      <a:pt x="1528" y="4064"/>
                      <a:pt x="1528" y="5334"/>
                    </a:cubicBezTo>
                    <a:lnTo>
                      <a:pt x="1528" y="6096"/>
                    </a:lnTo>
                    <a:cubicBezTo>
                      <a:pt x="1528" y="7366"/>
                      <a:pt x="1655" y="8255"/>
                      <a:pt x="2037" y="8890"/>
                    </a:cubicBezTo>
                    <a:cubicBezTo>
                      <a:pt x="2292" y="9525"/>
                      <a:pt x="2801" y="9906"/>
                      <a:pt x="3565" y="9906"/>
                    </a:cubicBezTo>
                    <a:cubicBezTo>
                      <a:pt x="4201" y="9906"/>
                      <a:pt x="4583" y="9652"/>
                      <a:pt x="4838" y="9144"/>
                    </a:cubicBezTo>
                    <a:cubicBezTo>
                      <a:pt x="5093" y="8636"/>
                      <a:pt x="5220" y="8001"/>
                      <a:pt x="5220" y="7112"/>
                    </a:cubicBezTo>
                    <a:lnTo>
                      <a:pt x="6875" y="7112"/>
                    </a:lnTo>
                    <a:cubicBezTo>
                      <a:pt x="6875" y="7874"/>
                      <a:pt x="6875" y="8636"/>
                      <a:pt x="6493" y="9271"/>
                    </a:cubicBezTo>
                    <a:cubicBezTo>
                      <a:pt x="6238" y="9906"/>
                      <a:pt x="5856" y="10414"/>
                      <a:pt x="5475" y="10795"/>
                    </a:cubicBezTo>
                    <a:cubicBezTo>
                      <a:pt x="4965" y="11176"/>
                      <a:pt x="4329" y="11430"/>
                      <a:pt x="3565" y="11430"/>
                    </a:cubicBezTo>
                    <a:close/>
                  </a:path>
                </a:pathLst>
              </a:custGeom>
              <a:solidFill>
                <a:srgbClr val="FFFFFF"/>
              </a:solidFill>
              <a:ln w="0" cap="flat">
                <a:noFill/>
                <a:prstDash val="solid"/>
                <a:miter/>
              </a:ln>
            </p:spPr>
            <p:txBody>
              <a:bodyPr rtlCol="0" anchor="ctr"/>
              <a:lstStyle/>
              <a:p>
                <a:endParaRPr lang="en-AD" sz="2400"/>
              </a:p>
            </p:txBody>
          </p:sp>
          <p:sp>
            <p:nvSpPr>
              <p:cNvPr id="125" name="Freeform 124">
                <a:extLst>
                  <a:ext uri="{FF2B5EF4-FFF2-40B4-BE49-F238E27FC236}">
                    <a16:creationId xmlns:a16="http://schemas.microsoft.com/office/drawing/2014/main" id="{38DEC20F-B70D-5EE1-D571-667DC5B78D3D}"/>
                  </a:ext>
                </a:extLst>
              </p:cNvPr>
              <p:cNvSpPr/>
              <p:nvPr/>
            </p:nvSpPr>
            <p:spPr>
              <a:xfrm>
                <a:off x="160493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127 w 1782"/>
                  <a:gd name="connsiteY5" fmla="*/ 15113 h 15113"/>
                  <a:gd name="connsiteX6" fmla="*/ 127 w 1782"/>
                  <a:gd name="connsiteY6" fmla="*/ 4191 h 15113"/>
                  <a:gd name="connsiteX7" fmla="*/ 1782 w 1782"/>
                  <a:gd name="connsiteY7" fmla="*/ 4191 h 15113"/>
                  <a:gd name="connsiteX8" fmla="*/ 1782 w 1782"/>
                  <a:gd name="connsiteY8" fmla="*/ 15113 h 15113"/>
                  <a:gd name="connsiteX9" fmla="*/ 127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127" y="15113"/>
                    </a:moveTo>
                    <a:lnTo>
                      <a:pt x="127" y="4191"/>
                    </a:lnTo>
                    <a:lnTo>
                      <a:pt x="1782" y="4191"/>
                    </a:lnTo>
                    <a:lnTo>
                      <a:pt x="1782" y="15113"/>
                    </a:lnTo>
                    <a:lnTo>
                      <a:pt x="127" y="15113"/>
                    </a:lnTo>
                    <a:close/>
                  </a:path>
                </a:pathLst>
              </a:custGeom>
              <a:solidFill>
                <a:srgbClr val="FFFFFF"/>
              </a:solidFill>
              <a:ln w="0" cap="flat">
                <a:noFill/>
                <a:prstDash val="solid"/>
                <a:miter/>
              </a:ln>
            </p:spPr>
            <p:txBody>
              <a:bodyPr rtlCol="0" anchor="ctr"/>
              <a:lstStyle/>
              <a:p>
                <a:endParaRPr lang="en-AD" sz="2400"/>
              </a:p>
            </p:txBody>
          </p:sp>
          <p:sp>
            <p:nvSpPr>
              <p:cNvPr id="126" name="Freeform 125">
                <a:extLst>
                  <a:ext uri="{FF2B5EF4-FFF2-40B4-BE49-F238E27FC236}">
                    <a16:creationId xmlns:a16="http://schemas.microsoft.com/office/drawing/2014/main" id="{6E2D0706-C72B-03D7-0DF0-82F9E780074A}"/>
                  </a:ext>
                </a:extLst>
              </p:cNvPr>
              <p:cNvSpPr/>
              <p:nvPr/>
            </p:nvSpPr>
            <p:spPr>
              <a:xfrm>
                <a:off x="1611049" y="4868671"/>
                <a:ext cx="8530" cy="11303"/>
              </a:xfrm>
              <a:custGeom>
                <a:avLst/>
                <a:gdLst>
                  <a:gd name="connsiteX0" fmla="*/ 2801 w 8530"/>
                  <a:gd name="connsiteY0" fmla="*/ 11303 h 11303"/>
                  <a:gd name="connsiteX1" fmla="*/ 1910 w 8530"/>
                  <a:gd name="connsiteY1" fmla="*/ 11303 h 11303"/>
                  <a:gd name="connsiteX2" fmla="*/ 1019 w 8530"/>
                  <a:gd name="connsiteY2" fmla="*/ 10922 h 11303"/>
                  <a:gd name="connsiteX3" fmla="*/ 255 w 8530"/>
                  <a:gd name="connsiteY3" fmla="*/ 10033 h 11303"/>
                  <a:gd name="connsiteX4" fmla="*/ 0 w 8530"/>
                  <a:gd name="connsiteY4" fmla="*/ 8382 h 11303"/>
                  <a:gd name="connsiteX5" fmla="*/ 764 w 8530"/>
                  <a:gd name="connsiteY5" fmla="*/ 6096 h 11303"/>
                  <a:gd name="connsiteX6" fmla="*/ 2801 w 8530"/>
                  <a:gd name="connsiteY6" fmla="*/ 5080 h 11303"/>
                  <a:gd name="connsiteX7" fmla="*/ 5602 w 8530"/>
                  <a:gd name="connsiteY7" fmla="*/ 4826 h 11303"/>
                  <a:gd name="connsiteX8" fmla="*/ 5602 w 8530"/>
                  <a:gd name="connsiteY8" fmla="*/ 3429 h 11303"/>
                  <a:gd name="connsiteX9" fmla="*/ 5220 w 8530"/>
                  <a:gd name="connsiteY9" fmla="*/ 2159 h 11303"/>
                  <a:gd name="connsiteX10" fmla="*/ 3819 w 8530"/>
                  <a:gd name="connsiteY10" fmla="*/ 1651 h 11303"/>
                  <a:gd name="connsiteX11" fmla="*/ 2546 w 8530"/>
                  <a:gd name="connsiteY11" fmla="*/ 2159 h 11303"/>
                  <a:gd name="connsiteX12" fmla="*/ 2164 w 8530"/>
                  <a:gd name="connsiteY12" fmla="*/ 3302 h 11303"/>
                  <a:gd name="connsiteX13" fmla="*/ 2164 w 8530"/>
                  <a:gd name="connsiteY13" fmla="*/ 3556 h 11303"/>
                  <a:gd name="connsiteX14" fmla="*/ 509 w 8530"/>
                  <a:gd name="connsiteY14" fmla="*/ 3556 h 11303"/>
                  <a:gd name="connsiteX15" fmla="*/ 509 w 8530"/>
                  <a:gd name="connsiteY15" fmla="*/ 3302 h 11303"/>
                  <a:gd name="connsiteX16" fmla="*/ 509 w 8530"/>
                  <a:gd name="connsiteY16" fmla="*/ 3048 h 11303"/>
                  <a:gd name="connsiteX17" fmla="*/ 1528 w 8530"/>
                  <a:gd name="connsiteY17" fmla="*/ 762 h 11303"/>
                  <a:gd name="connsiteX18" fmla="*/ 4074 w 8530"/>
                  <a:gd name="connsiteY18" fmla="*/ 0 h 11303"/>
                  <a:gd name="connsiteX19" fmla="*/ 6620 w 8530"/>
                  <a:gd name="connsiteY19" fmla="*/ 762 h 11303"/>
                  <a:gd name="connsiteX20" fmla="*/ 7384 w 8530"/>
                  <a:gd name="connsiteY20" fmla="*/ 3048 h 11303"/>
                  <a:gd name="connsiteX21" fmla="*/ 7384 w 8530"/>
                  <a:gd name="connsiteY21" fmla="*/ 9144 h 11303"/>
                  <a:gd name="connsiteX22" fmla="*/ 7512 w 8530"/>
                  <a:gd name="connsiteY22" fmla="*/ 9652 h 11303"/>
                  <a:gd name="connsiteX23" fmla="*/ 7894 w 8530"/>
                  <a:gd name="connsiteY23" fmla="*/ 9779 h 11303"/>
                  <a:gd name="connsiteX24" fmla="*/ 8530 w 8530"/>
                  <a:gd name="connsiteY24" fmla="*/ 9779 h 11303"/>
                  <a:gd name="connsiteX25" fmla="*/ 8530 w 8530"/>
                  <a:gd name="connsiteY25" fmla="*/ 10922 h 11303"/>
                  <a:gd name="connsiteX26" fmla="*/ 8148 w 8530"/>
                  <a:gd name="connsiteY26" fmla="*/ 11049 h 11303"/>
                  <a:gd name="connsiteX27" fmla="*/ 7512 w 8530"/>
                  <a:gd name="connsiteY27" fmla="*/ 11049 h 11303"/>
                  <a:gd name="connsiteX28" fmla="*/ 6366 w 8530"/>
                  <a:gd name="connsiteY28" fmla="*/ 10668 h 11303"/>
                  <a:gd name="connsiteX29" fmla="*/ 5729 w 8530"/>
                  <a:gd name="connsiteY29" fmla="*/ 9652 h 11303"/>
                  <a:gd name="connsiteX30" fmla="*/ 5729 w 8530"/>
                  <a:gd name="connsiteY30" fmla="*/ 9652 h 11303"/>
                  <a:gd name="connsiteX31" fmla="*/ 4583 w 8530"/>
                  <a:gd name="connsiteY31" fmla="*/ 10668 h 11303"/>
                  <a:gd name="connsiteX32" fmla="*/ 3056 w 8530"/>
                  <a:gd name="connsiteY32" fmla="*/ 11049 h 11303"/>
                  <a:gd name="connsiteX33" fmla="*/ 3310 w 8530"/>
                  <a:gd name="connsiteY33" fmla="*/ 9906 h 11303"/>
                  <a:gd name="connsiteX34" fmla="*/ 4329 w 8530"/>
                  <a:gd name="connsiteY34" fmla="*/ 9652 h 11303"/>
                  <a:gd name="connsiteX35" fmla="*/ 5220 w 8530"/>
                  <a:gd name="connsiteY35" fmla="*/ 8763 h 11303"/>
                  <a:gd name="connsiteX36" fmla="*/ 5602 w 8530"/>
                  <a:gd name="connsiteY36" fmla="*/ 7239 h 11303"/>
                  <a:gd name="connsiteX37" fmla="*/ 5602 w 8530"/>
                  <a:gd name="connsiteY37" fmla="*/ 6223 h 11303"/>
                  <a:gd name="connsiteX38" fmla="*/ 3692 w 8530"/>
                  <a:gd name="connsiteY38" fmla="*/ 6350 h 11303"/>
                  <a:gd name="connsiteX39" fmla="*/ 2419 w 8530"/>
                  <a:gd name="connsiteY39" fmla="*/ 6985 h 11303"/>
                  <a:gd name="connsiteX40" fmla="*/ 1910 w 8530"/>
                  <a:gd name="connsiteY40" fmla="*/ 8255 h 11303"/>
                  <a:gd name="connsiteX41" fmla="*/ 2292 w 8530"/>
                  <a:gd name="connsiteY41" fmla="*/ 9525 h 11303"/>
                  <a:gd name="connsiteX42" fmla="*/ 3437 w 8530"/>
                  <a:gd name="connsiteY42" fmla="*/ 9906 h 1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30" h="11303">
                    <a:moveTo>
                      <a:pt x="2801" y="11303"/>
                    </a:moveTo>
                    <a:cubicBezTo>
                      <a:pt x="2801" y="11303"/>
                      <a:pt x="2292" y="11303"/>
                      <a:pt x="1910" y="11303"/>
                    </a:cubicBezTo>
                    <a:cubicBezTo>
                      <a:pt x="1528" y="11303"/>
                      <a:pt x="1273" y="11049"/>
                      <a:pt x="1019" y="10922"/>
                    </a:cubicBezTo>
                    <a:cubicBezTo>
                      <a:pt x="764" y="10668"/>
                      <a:pt x="509" y="10414"/>
                      <a:pt x="255" y="10033"/>
                    </a:cubicBezTo>
                    <a:cubicBezTo>
                      <a:pt x="0" y="9652"/>
                      <a:pt x="0" y="9144"/>
                      <a:pt x="0" y="8382"/>
                    </a:cubicBezTo>
                    <a:cubicBezTo>
                      <a:pt x="0" y="7366"/>
                      <a:pt x="255" y="6604"/>
                      <a:pt x="764" y="6096"/>
                    </a:cubicBezTo>
                    <a:cubicBezTo>
                      <a:pt x="1273" y="5588"/>
                      <a:pt x="1910" y="5207"/>
                      <a:pt x="2801" y="5080"/>
                    </a:cubicBezTo>
                    <a:cubicBezTo>
                      <a:pt x="3692" y="4826"/>
                      <a:pt x="4583" y="4826"/>
                      <a:pt x="5602" y="4826"/>
                    </a:cubicBezTo>
                    <a:lnTo>
                      <a:pt x="5602" y="3429"/>
                    </a:lnTo>
                    <a:cubicBezTo>
                      <a:pt x="5602" y="3429"/>
                      <a:pt x="5602" y="2540"/>
                      <a:pt x="5220" y="2159"/>
                    </a:cubicBezTo>
                    <a:cubicBezTo>
                      <a:pt x="4838" y="1778"/>
                      <a:pt x="4583" y="1651"/>
                      <a:pt x="3819" y="1651"/>
                    </a:cubicBezTo>
                    <a:cubicBezTo>
                      <a:pt x="3183" y="1651"/>
                      <a:pt x="2801" y="1778"/>
                      <a:pt x="2546" y="2159"/>
                    </a:cubicBezTo>
                    <a:cubicBezTo>
                      <a:pt x="2292" y="2540"/>
                      <a:pt x="2164" y="2921"/>
                      <a:pt x="2164" y="3302"/>
                    </a:cubicBezTo>
                    <a:lnTo>
                      <a:pt x="2164" y="3556"/>
                    </a:lnTo>
                    <a:lnTo>
                      <a:pt x="509" y="3556"/>
                    </a:lnTo>
                    <a:cubicBezTo>
                      <a:pt x="509" y="3556"/>
                      <a:pt x="509" y="3429"/>
                      <a:pt x="509" y="3302"/>
                    </a:cubicBezTo>
                    <a:lnTo>
                      <a:pt x="509" y="3048"/>
                    </a:lnTo>
                    <a:cubicBezTo>
                      <a:pt x="509" y="2032"/>
                      <a:pt x="891" y="1270"/>
                      <a:pt x="1528" y="762"/>
                    </a:cubicBezTo>
                    <a:cubicBezTo>
                      <a:pt x="2164" y="254"/>
                      <a:pt x="3056" y="0"/>
                      <a:pt x="4074" y="0"/>
                    </a:cubicBezTo>
                    <a:cubicBezTo>
                      <a:pt x="5220" y="0"/>
                      <a:pt x="5984" y="254"/>
                      <a:pt x="6620" y="762"/>
                    </a:cubicBezTo>
                    <a:cubicBezTo>
                      <a:pt x="7130" y="1270"/>
                      <a:pt x="7384" y="2032"/>
                      <a:pt x="7384" y="3048"/>
                    </a:cubicBezTo>
                    <a:lnTo>
                      <a:pt x="7384" y="9144"/>
                    </a:lnTo>
                    <a:cubicBezTo>
                      <a:pt x="7384" y="9144"/>
                      <a:pt x="7384" y="9652"/>
                      <a:pt x="7512" y="9652"/>
                    </a:cubicBezTo>
                    <a:cubicBezTo>
                      <a:pt x="7639" y="9652"/>
                      <a:pt x="7766" y="9779"/>
                      <a:pt x="7894" y="9779"/>
                    </a:cubicBezTo>
                    <a:lnTo>
                      <a:pt x="8530" y="9779"/>
                    </a:lnTo>
                    <a:lnTo>
                      <a:pt x="8530" y="10922"/>
                    </a:lnTo>
                    <a:cubicBezTo>
                      <a:pt x="8530" y="10922"/>
                      <a:pt x="8275" y="10922"/>
                      <a:pt x="8148" y="11049"/>
                    </a:cubicBezTo>
                    <a:cubicBezTo>
                      <a:pt x="8021" y="11176"/>
                      <a:pt x="7766" y="11049"/>
                      <a:pt x="7512" y="11049"/>
                    </a:cubicBezTo>
                    <a:cubicBezTo>
                      <a:pt x="7130" y="11049"/>
                      <a:pt x="6748" y="11049"/>
                      <a:pt x="6366" y="10668"/>
                    </a:cubicBezTo>
                    <a:cubicBezTo>
                      <a:pt x="6111" y="10414"/>
                      <a:pt x="5856" y="10033"/>
                      <a:pt x="5729" y="9652"/>
                    </a:cubicBezTo>
                    <a:lnTo>
                      <a:pt x="5729" y="9652"/>
                    </a:lnTo>
                    <a:cubicBezTo>
                      <a:pt x="5729" y="9652"/>
                      <a:pt x="5093" y="10414"/>
                      <a:pt x="4583" y="10668"/>
                    </a:cubicBezTo>
                    <a:cubicBezTo>
                      <a:pt x="4074" y="10922"/>
                      <a:pt x="3565" y="11049"/>
                      <a:pt x="3056" y="11049"/>
                    </a:cubicBezTo>
                    <a:close/>
                    <a:moveTo>
                      <a:pt x="3310" y="9906"/>
                    </a:moveTo>
                    <a:cubicBezTo>
                      <a:pt x="3310" y="9906"/>
                      <a:pt x="4074" y="9906"/>
                      <a:pt x="4329" y="9652"/>
                    </a:cubicBezTo>
                    <a:cubicBezTo>
                      <a:pt x="4711" y="9398"/>
                      <a:pt x="4965" y="9144"/>
                      <a:pt x="5220" y="8763"/>
                    </a:cubicBezTo>
                    <a:cubicBezTo>
                      <a:pt x="5475" y="8382"/>
                      <a:pt x="5602" y="7874"/>
                      <a:pt x="5602" y="7239"/>
                    </a:cubicBezTo>
                    <a:lnTo>
                      <a:pt x="5602" y="6223"/>
                    </a:lnTo>
                    <a:cubicBezTo>
                      <a:pt x="4838" y="6223"/>
                      <a:pt x="4201" y="6223"/>
                      <a:pt x="3692" y="6350"/>
                    </a:cubicBezTo>
                    <a:cubicBezTo>
                      <a:pt x="3183" y="6350"/>
                      <a:pt x="2674" y="6604"/>
                      <a:pt x="2419" y="6985"/>
                    </a:cubicBezTo>
                    <a:cubicBezTo>
                      <a:pt x="2164" y="7239"/>
                      <a:pt x="1910" y="7747"/>
                      <a:pt x="1910" y="8255"/>
                    </a:cubicBezTo>
                    <a:cubicBezTo>
                      <a:pt x="1910" y="8890"/>
                      <a:pt x="2037" y="9271"/>
                      <a:pt x="2292" y="9525"/>
                    </a:cubicBezTo>
                    <a:cubicBezTo>
                      <a:pt x="2546" y="9779"/>
                      <a:pt x="2928" y="9906"/>
                      <a:pt x="3437" y="9906"/>
                    </a:cubicBezTo>
                    <a:close/>
                  </a:path>
                </a:pathLst>
              </a:custGeom>
              <a:solidFill>
                <a:srgbClr val="FFFFFF"/>
              </a:solidFill>
              <a:ln w="0" cap="flat">
                <a:noFill/>
                <a:prstDash val="solid"/>
                <a:miter/>
              </a:ln>
            </p:spPr>
            <p:txBody>
              <a:bodyPr rtlCol="0" anchor="ctr"/>
              <a:lstStyle/>
              <a:p>
                <a:endParaRPr lang="en-AD" sz="2400"/>
              </a:p>
            </p:txBody>
          </p:sp>
          <p:sp>
            <p:nvSpPr>
              <p:cNvPr id="127" name="Freeform 126">
                <a:extLst>
                  <a:ext uri="{FF2B5EF4-FFF2-40B4-BE49-F238E27FC236}">
                    <a16:creationId xmlns:a16="http://schemas.microsoft.com/office/drawing/2014/main" id="{2B1E063A-889A-C6F4-1A1A-132D097B2756}"/>
                  </a:ext>
                </a:extLst>
              </p:cNvPr>
              <p:cNvSpPr/>
              <p:nvPr/>
            </p:nvSpPr>
            <p:spPr>
              <a:xfrm>
                <a:off x="1622253"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28" name="Freeform 127">
                <a:extLst>
                  <a:ext uri="{FF2B5EF4-FFF2-40B4-BE49-F238E27FC236}">
                    <a16:creationId xmlns:a16="http://schemas.microsoft.com/office/drawing/2014/main" id="{942A95C6-F419-C195-1E8E-1D38A485BCB8}"/>
                  </a:ext>
                </a:extLst>
              </p:cNvPr>
              <p:cNvSpPr/>
              <p:nvPr/>
            </p:nvSpPr>
            <p:spPr>
              <a:xfrm>
                <a:off x="1630274"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29" name="Freeform 128">
                <a:extLst>
                  <a:ext uri="{FF2B5EF4-FFF2-40B4-BE49-F238E27FC236}">
                    <a16:creationId xmlns:a16="http://schemas.microsoft.com/office/drawing/2014/main" id="{73CADDDF-92BD-DB87-7F4B-5CBD8F45E254}"/>
                  </a:ext>
                </a:extLst>
              </p:cNvPr>
              <p:cNvSpPr/>
              <p:nvPr/>
            </p:nvSpPr>
            <p:spPr>
              <a:xfrm>
                <a:off x="1636385"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0" name="Freeform 129">
                <a:extLst>
                  <a:ext uri="{FF2B5EF4-FFF2-40B4-BE49-F238E27FC236}">
                    <a16:creationId xmlns:a16="http://schemas.microsoft.com/office/drawing/2014/main" id="{6A247109-9F8E-6242-D859-D8DF0B939DB6}"/>
                  </a:ext>
                </a:extLst>
              </p:cNvPr>
              <p:cNvSpPr/>
              <p:nvPr/>
            </p:nvSpPr>
            <p:spPr>
              <a:xfrm>
                <a:off x="1648353"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4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4"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4"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1" name="Freeform 130">
                <a:extLst>
                  <a:ext uri="{FF2B5EF4-FFF2-40B4-BE49-F238E27FC236}">
                    <a16:creationId xmlns:a16="http://schemas.microsoft.com/office/drawing/2014/main" id="{FDCE460F-C759-E0F8-1A33-679AF8F951CD}"/>
                  </a:ext>
                </a:extLst>
              </p:cNvPr>
              <p:cNvSpPr/>
              <p:nvPr/>
            </p:nvSpPr>
            <p:spPr>
              <a:xfrm>
                <a:off x="1665667" y="4864734"/>
                <a:ext cx="4583" cy="15113"/>
              </a:xfrm>
              <a:custGeom>
                <a:avLst/>
                <a:gdLst>
                  <a:gd name="connsiteX0" fmla="*/ 1019 w 4583"/>
                  <a:gd name="connsiteY0" fmla="*/ 15113 h 15113"/>
                  <a:gd name="connsiteX1" fmla="*/ 1019 w 4583"/>
                  <a:gd name="connsiteY1" fmla="*/ 5715 h 15113"/>
                  <a:gd name="connsiteX2" fmla="*/ 0 w 4583"/>
                  <a:gd name="connsiteY2" fmla="*/ 5715 h 15113"/>
                  <a:gd name="connsiteX3" fmla="*/ 0 w 4583"/>
                  <a:gd name="connsiteY3" fmla="*/ 4191 h 15113"/>
                  <a:gd name="connsiteX4" fmla="*/ 1019 w 4583"/>
                  <a:gd name="connsiteY4" fmla="*/ 4191 h 15113"/>
                  <a:gd name="connsiteX5" fmla="*/ 1019 w 4583"/>
                  <a:gd name="connsiteY5" fmla="*/ 2413 h 15113"/>
                  <a:gd name="connsiteX6" fmla="*/ 1273 w 4583"/>
                  <a:gd name="connsiteY6" fmla="*/ 1270 h 15113"/>
                  <a:gd name="connsiteX7" fmla="*/ 1910 w 4583"/>
                  <a:gd name="connsiteY7" fmla="*/ 381 h 15113"/>
                  <a:gd name="connsiteX8" fmla="*/ 3183 w 4583"/>
                  <a:gd name="connsiteY8" fmla="*/ 0 h 15113"/>
                  <a:gd name="connsiteX9" fmla="*/ 3947 w 4583"/>
                  <a:gd name="connsiteY9" fmla="*/ 0 h 15113"/>
                  <a:gd name="connsiteX10" fmla="*/ 4583 w 4583"/>
                  <a:gd name="connsiteY10" fmla="*/ 127 h 15113"/>
                  <a:gd name="connsiteX11" fmla="*/ 4583 w 4583"/>
                  <a:gd name="connsiteY11" fmla="*/ 1270 h 15113"/>
                  <a:gd name="connsiteX12" fmla="*/ 3692 w 4583"/>
                  <a:gd name="connsiteY12" fmla="*/ 1270 h 15113"/>
                  <a:gd name="connsiteX13" fmla="*/ 2673 w 4583"/>
                  <a:gd name="connsiteY13" fmla="*/ 2286 h 15113"/>
                  <a:gd name="connsiteX14" fmla="*/ 2673 w 4583"/>
                  <a:gd name="connsiteY14" fmla="*/ 4064 h 15113"/>
                  <a:gd name="connsiteX15" fmla="*/ 4583 w 4583"/>
                  <a:gd name="connsiteY15" fmla="*/ 4064 h 15113"/>
                  <a:gd name="connsiteX16" fmla="*/ 4583 w 4583"/>
                  <a:gd name="connsiteY16" fmla="*/ 5588 h 15113"/>
                  <a:gd name="connsiteX17" fmla="*/ 2673 w 4583"/>
                  <a:gd name="connsiteY17" fmla="*/ 5588 h 15113"/>
                  <a:gd name="connsiteX18" fmla="*/ 2673 w 4583"/>
                  <a:gd name="connsiteY18" fmla="*/ 14986 h 15113"/>
                  <a:gd name="connsiteX19" fmla="*/ 1019 w 4583"/>
                  <a:gd name="connsiteY19" fmla="*/ 14986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83" h="15113">
                    <a:moveTo>
                      <a:pt x="1019" y="15113"/>
                    </a:moveTo>
                    <a:lnTo>
                      <a:pt x="1019" y="5715"/>
                    </a:lnTo>
                    <a:lnTo>
                      <a:pt x="0" y="5715"/>
                    </a:lnTo>
                    <a:lnTo>
                      <a:pt x="0" y="4191"/>
                    </a:lnTo>
                    <a:lnTo>
                      <a:pt x="1019" y="4191"/>
                    </a:lnTo>
                    <a:lnTo>
                      <a:pt x="1019" y="2413"/>
                    </a:lnTo>
                    <a:cubicBezTo>
                      <a:pt x="1019" y="2413"/>
                      <a:pt x="1019" y="1651"/>
                      <a:pt x="1273" y="1270"/>
                    </a:cubicBezTo>
                    <a:cubicBezTo>
                      <a:pt x="1400" y="889"/>
                      <a:pt x="1655" y="508"/>
                      <a:pt x="1910" y="381"/>
                    </a:cubicBezTo>
                    <a:cubicBezTo>
                      <a:pt x="2164" y="127"/>
                      <a:pt x="2673" y="0"/>
                      <a:pt x="3183" y="0"/>
                    </a:cubicBezTo>
                    <a:cubicBezTo>
                      <a:pt x="3438" y="0"/>
                      <a:pt x="3692" y="0"/>
                      <a:pt x="3947" y="0"/>
                    </a:cubicBezTo>
                    <a:cubicBezTo>
                      <a:pt x="4201" y="0"/>
                      <a:pt x="4456" y="0"/>
                      <a:pt x="4583" y="127"/>
                    </a:cubicBezTo>
                    <a:lnTo>
                      <a:pt x="4583" y="1270"/>
                    </a:lnTo>
                    <a:lnTo>
                      <a:pt x="3692" y="1270"/>
                    </a:lnTo>
                    <a:cubicBezTo>
                      <a:pt x="3056" y="1270"/>
                      <a:pt x="2673" y="1651"/>
                      <a:pt x="2673" y="2286"/>
                    </a:cubicBezTo>
                    <a:lnTo>
                      <a:pt x="2673" y="4064"/>
                    </a:lnTo>
                    <a:lnTo>
                      <a:pt x="4583" y="4064"/>
                    </a:lnTo>
                    <a:lnTo>
                      <a:pt x="4583" y="5588"/>
                    </a:lnTo>
                    <a:lnTo>
                      <a:pt x="2673" y="5588"/>
                    </a:lnTo>
                    <a:lnTo>
                      <a:pt x="2673" y="14986"/>
                    </a:lnTo>
                    <a:lnTo>
                      <a:pt x="1019" y="14986"/>
                    </a:lnTo>
                    <a:close/>
                  </a:path>
                </a:pathLst>
              </a:custGeom>
              <a:solidFill>
                <a:srgbClr val="FFFFFF"/>
              </a:solidFill>
              <a:ln w="0" cap="flat">
                <a:noFill/>
                <a:prstDash val="solid"/>
                <a:miter/>
              </a:ln>
            </p:spPr>
            <p:txBody>
              <a:bodyPr rtlCol="0" anchor="ctr"/>
              <a:lstStyle/>
              <a:p>
                <a:endParaRPr lang="en-AD" sz="2400"/>
              </a:p>
            </p:txBody>
          </p:sp>
          <p:sp>
            <p:nvSpPr>
              <p:cNvPr id="132" name="Freeform 131">
                <a:extLst>
                  <a:ext uri="{FF2B5EF4-FFF2-40B4-BE49-F238E27FC236}">
                    <a16:creationId xmlns:a16="http://schemas.microsoft.com/office/drawing/2014/main" id="{A90A7833-A937-9ABB-7780-F2A14713D49F}"/>
                  </a:ext>
                </a:extLst>
              </p:cNvPr>
              <p:cNvSpPr/>
              <p:nvPr/>
            </p:nvSpPr>
            <p:spPr>
              <a:xfrm>
                <a:off x="1673433"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3" y="11430"/>
                      <a:pt x="1655" y="10922"/>
                      <a:pt x="1019" y="10033"/>
                    </a:cubicBezTo>
                    <a:cubicBezTo>
                      <a:pt x="382" y="9144"/>
                      <a:pt x="0" y="7620"/>
                      <a:pt x="0" y="5715"/>
                    </a:cubicBezTo>
                    <a:cubicBezTo>
                      <a:pt x="0" y="3810"/>
                      <a:pt x="382" y="2286"/>
                      <a:pt x="1019" y="1397"/>
                    </a:cubicBezTo>
                    <a:cubicBezTo>
                      <a:pt x="1655" y="508"/>
                      <a:pt x="2673"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3" y="2032"/>
                      <a:pt x="2292" y="2667"/>
                    </a:cubicBezTo>
                    <a:cubicBezTo>
                      <a:pt x="1910" y="3302"/>
                      <a:pt x="1782" y="4191"/>
                      <a:pt x="1782" y="5461"/>
                    </a:cubicBezTo>
                    <a:lnTo>
                      <a:pt x="1782" y="6223"/>
                    </a:lnTo>
                    <a:cubicBezTo>
                      <a:pt x="1782" y="7493"/>
                      <a:pt x="1910" y="8382"/>
                      <a:pt x="2292" y="9017"/>
                    </a:cubicBezTo>
                    <a:cubicBezTo>
                      <a:pt x="2673"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3" name="Freeform 132">
                <a:extLst>
                  <a:ext uri="{FF2B5EF4-FFF2-40B4-BE49-F238E27FC236}">
                    <a16:creationId xmlns:a16="http://schemas.microsoft.com/office/drawing/2014/main" id="{8FB24485-1D09-4BD7-50CE-034C19E90444}"/>
                  </a:ext>
                </a:extLst>
              </p:cNvPr>
              <p:cNvSpPr/>
              <p:nvPr/>
            </p:nvSpPr>
            <p:spPr>
              <a:xfrm>
                <a:off x="1685528"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4" name="Freeform 133">
                <a:extLst>
                  <a:ext uri="{FF2B5EF4-FFF2-40B4-BE49-F238E27FC236}">
                    <a16:creationId xmlns:a16="http://schemas.microsoft.com/office/drawing/2014/main" id="{520E6473-C403-3B3A-34A3-426E9789BFBA}"/>
                  </a:ext>
                </a:extLst>
              </p:cNvPr>
              <p:cNvSpPr/>
              <p:nvPr/>
            </p:nvSpPr>
            <p:spPr>
              <a:xfrm>
                <a:off x="1700806" y="4865623"/>
                <a:ext cx="9548" cy="14223"/>
              </a:xfrm>
              <a:custGeom>
                <a:avLst/>
                <a:gdLst>
                  <a:gd name="connsiteX0" fmla="*/ 0 w 9548"/>
                  <a:gd name="connsiteY0" fmla="*/ 14224 h 14223"/>
                  <a:gd name="connsiteX1" fmla="*/ 0 w 9548"/>
                  <a:gd name="connsiteY1" fmla="*/ 0 h 14223"/>
                  <a:gd name="connsiteX2" fmla="*/ 5475 w 9548"/>
                  <a:gd name="connsiteY2" fmla="*/ 0 h 14223"/>
                  <a:gd name="connsiteX3" fmla="*/ 7384 w 9548"/>
                  <a:gd name="connsiteY3" fmla="*/ 381 h 14223"/>
                  <a:gd name="connsiteX4" fmla="*/ 8657 w 9548"/>
                  <a:gd name="connsiteY4" fmla="*/ 1651 h 14223"/>
                  <a:gd name="connsiteX5" fmla="*/ 9167 w 9548"/>
                  <a:gd name="connsiteY5" fmla="*/ 3429 h 14223"/>
                  <a:gd name="connsiteX6" fmla="*/ 8530 w 9548"/>
                  <a:gd name="connsiteY6" fmla="*/ 5461 h 14223"/>
                  <a:gd name="connsiteX7" fmla="*/ 7002 w 9548"/>
                  <a:gd name="connsiteY7" fmla="*/ 6604 h 14223"/>
                  <a:gd name="connsiteX8" fmla="*/ 7002 w 9548"/>
                  <a:gd name="connsiteY8" fmla="*/ 6604 h 14223"/>
                  <a:gd name="connsiteX9" fmla="*/ 8785 w 9548"/>
                  <a:gd name="connsiteY9" fmla="*/ 8001 h 14223"/>
                  <a:gd name="connsiteX10" fmla="*/ 9549 w 9548"/>
                  <a:gd name="connsiteY10" fmla="*/ 10287 h 14223"/>
                  <a:gd name="connsiteX11" fmla="*/ 9039 w 9548"/>
                  <a:gd name="connsiteY11" fmla="*/ 12319 h 14223"/>
                  <a:gd name="connsiteX12" fmla="*/ 7639 w 9548"/>
                  <a:gd name="connsiteY12" fmla="*/ 13589 h 14223"/>
                  <a:gd name="connsiteX13" fmla="*/ 5602 w 9548"/>
                  <a:gd name="connsiteY13" fmla="*/ 14097 h 14223"/>
                  <a:gd name="connsiteX14" fmla="*/ 127 w 9548"/>
                  <a:gd name="connsiteY14" fmla="*/ 14097 h 14223"/>
                  <a:gd name="connsiteX15" fmla="*/ 1782 w 9548"/>
                  <a:gd name="connsiteY15" fmla="*/ 6096 h 14223"/>
                  <a:gd name="connsiteX16" fmla="*/ 4838 w 9548"/>
                  <a:gd name="connsiteY16" fmla="*/ 6096 h 14223"/>
                  <a:gd name="connsiteX17" fmla="*/ 6493 w 9548"/>
                  <a:gd name="connsiteY17" fmla="*/ 5461 h 14223"/>
                  <a:gd name="connsiteX18" fmla="*/ 7130 w 9548"/>
                  <a:gd name="connsiteY18" fmla="*/ 3937 h 14223"/>
                  <a:gd name="connsiteX19" fmla="*/ 6493 w 9548"/>
                  <a:gd name="connsiteY19" fmla="*/ 2286 h 14223"/>
                  <a:gd name="connsiteX20" fmla="*/ 4965 w 9548"/>
                  <a:gd name="connsiteY20" fmla="*/ 1778 h 14223"/>
                  <a:gd name="connsiteX21" fmla="*/ 1782 w 9548"/>
                  <a:gd name="connsiteY21" fmla="*/ 1778 h 14223"/>
                  <a:gd name="connsiteX22" fmla="*/ 1782 w 9548"/>
                  <a:gd name="connsiteY22" fmla="*/ 6223 h 14223"/>
                  <a:gd name="connsiteX23" fmla="*/ 1782 w 9548"/>
                  <a:gd name="connsiteY23" fmla="*/ 12446 h 14223"/>
                  <a:gd name="connsiteX24" fmla="*/ 5093 w 9548"/>
                  <a:gd name="connsiteY24" fmla="*/ 12446 h 14223"/>
                  <a:gd name="connsiteX25" fmla="*/ 6748 w 9548"/>
                  <a:gd name="connsiteY25" fmla="*/ 11811 h 14223"/>
                  <a:gd name="connsiteX26" fmla="*/ 7384 w 9548"/>
                  <a:gd name="connsiteY26" fmla="*/ 10033 h 14223"/>
                  <a:gd name="connsiteX27" fmla="*/ 6748 w 9548"/>
                  <a:gd name="connsiteY27" fmla="*/ 8382 h 14223"/>
                  <a:gd name="connsiteX28" fmla="*/ 4965 w 9548"/>
                  <a:gd name="connsiteY28" fmla="*/ 7620 h 14223"/>
                  <a:gd name="connsiteX29" fmla="*/ 1782 w 9548"/>
                  <a:gd name="connsiteY29" fmla="*/ 7620 h 14223"/>
                  <a:gd name="connsiteX30" fmla="*/ 1782 w 9548"/>
                  <a:gd name="connsiteY30" fmla="*/ 12446 h 1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8" h="14223">
                    <a:moveTo>
                      <a:pt x="0" y="14224"/>
                    </a:moveTo>
                    <a:lnTo>
                      <a:pt x="0" y="0"/>
                    </a:lnTo>
                    <a:lnTo>
                      <a:pt x="5475" y="0"/>
                    </a:lnTo>
                    <a:cubicBezTo>
                      <a:pt x="6238" y="0"/>
                      <a:pt x="6875" y="127"/>
                      <a:pt x="7384" y="381"/>
                    </a:cubicBezTo>
                    <a:cubicBezTo>
                      <a:pt x="7894" y="635"/>
                      <a:pt x="8403" y="1016"/>
                      <a:pt x="8657" y="1651"/>
                    </a:cubicBezTo>
                    <a:cubicBezTo>
                      <a:pt x="9039" y="2159"/>
                      <a:pt x="9167" y="2794"/>
                      <a:pt x="9167" y="3429"/>
                    </a:cubicBezTo>
                    <a:cubicBezTo>
                      <a:pt x="9167" y="4191"/>
                      <a:pt x="8912" y="4953"/>
                      <a:pt x="8530" y="5461"/>
                    </a:cubicBezTo>
                    <a:cubicBezTo>
                      <a:pt x="8148" y="6096"/>
                      <a:pt x="7639" y="6477"/>
                      <a:pt x="7002" y="6604"/>
                    </a:cubicBezTo>
                    <a:lnTo>
                      <a:pt x="7002" y="6604"/>
                    </a:lnTo>
                    <a:cubicBezTo>
                      <a:pt x="7766" y="6858"/>
                      <a:pt x="8276" y="7366"/>
                      <a:pt x="8785" y="8001"/>
                    </a:cubicBezTo>
                    <a:cubicBezTo>
                      <a:pt x="9294" y="8636"/>
                      <a:pt x="9549" y="9398"/>
                      <a:pt x="9549" y="10287"/>
                    </a:cubicBezTo>
                    <a:cubicBezTo>
                      <a:pt x="9549" y="11049"/>
                      <a:pt x="9421" y="11811"/>
                      <a:pt x="9039" y="12319"/>
                    </a:cubicBezTo>
                    <a:cubicBezTo>
                      <a:pt x="8657" y="12827"/>
                      <a:pt x="8148" y="13335"/>
                      <a:pt x="7639" y="13589"/>
                    </a:cubicBezTo>
                    <a:cubicBezTo>
                      <a:pt x="7002" y="13843"/>
                      <a:pt x="6366" y="14097"/>
                      <a:pt x="5602" y="14097"/>
                    </a:cubicBezTo>
                    <a:lnTo>
                      <a:pt x="127" y="14097"/>
                    </a:lnTo>
                    <a:close/>
                    <a:moveTo>
                      <a:pt x="1782" y="6096"/>
                    </a:moveTo>
                    <a:lnTo>
                      <a:pt x="4838" y="6096"/>
                    </a:lnTo>
                    <a:cubicBezTo>
                      <a:pt x="5475" y="6096"/>
                      <a:pt x="6111" y="5842"/>
                      <a:pt x="6493" y="5461"/>
                    </a:cubicBezTo>
                    <a:cubicBezTo>
                      <a:pt x="6875" y="5080"/>
                      <a:pt x="7130" y="4445"/>
                      <a:pt x="7130" y="3937"/>
                    </a:cubicBezTo>
                    <a:cubicBezTo>
                      <a:pt x="7130" y="3175"/>
                      <a:pt x="6875" y="2667"/>
                      <a:pt x="6493" y="2286"/>
                    </a:cubicBezTo>
                    <a:cubicBezTo>
                      <a:pt x="6111" y="1905"/>
                      <a:pt x="5602" y="1778"/>
                      <a:pt x="4965" y="1778"/>
                    </a:cubicBezTo>
                    <a:lnTo>
                      <a:pt x="1782" y="1778"/>
                    </a:lnTo>
                    <a:lnTo>
                      <a:pt x="1782" y="6223"/>
                    </a:lnTo>
                    <a:close/>
                    <a:moveTo>
                      <a:pt x="1782" y="12446"/>
                    </a:moveTo>
                    <a:lnTo>
                      <a:pt x="5093" y="12446"/>
                    </a:lnTo>
                    <a:cubicBezTo>
                      <a:pt x="5729" y="12446"/>
                      <a:pt x="6366" y="12192"/>
                      <a:pt x="6748" y="11811"/>
                    </a:cubicBezTo>
                    <a:cubicBezTo>
                      <a:pt x="7130" y="11430"/>
                      <a:pt x="7384" y="10795"/>
                      <a:pt x="7384" y="10033"/>
                    </a:cubicBezTo>
                    <a:cubicBezTo>
                      <a:pt x="7384" y="9398"/>
                      <a:pt x="7130" y="8763"/>
                      <a:pt x="6748" y="8382"/>
                    </a:cubicBezTo>
                    <a:cubicBezTo>
                      <a:pt x="6366" y="8001"/>
                      <a:pt x="5729" y="7620"/>
                      <a:pt x="4965" y="7620"/>
                    </a:cubicBezTo>
                    <a:lnTo>
                      <a:pt x="1782" y="7620"/>
                    </a:lnTo>
                    <a:lnTo>
                      <a:pt x="1782" y="12446"/>
                    </a:lnTo>
                    <a:close/>
                  </a:path>
                </a:pathLst>
              </a:custGeom>
              <a:solidFill>
                <a:srgbClr val="FFFFFF"/>
              </a:solidFill>
              <a:ln w="0" cap="flat">
                <a:noFill/>
                <a:prstDash val="solid"/>
                <a:miter/>
              </a:ln>
            </p:spPr>
            <p:txBody>
              <a:bodyPr rtlCol="0" anchor="ctr"/>
              <a:lstStyle/>
              <a:p>
                <a:endParaRPr lang="en-AD" sz="2400"/>
              </a:p>
            </p:txBody>
          </p:sp>
          <p:sp>
            <p:nvSpPr>
              <p:cNvPr id="135" name="Freeform 134">
                <a:extLst>
                  <a:ext uri="{FF2B5EF4-FFF2-40B4-BE49-F238E27FC236}">
                    <a16:creationId xmlns:a16="http://schemas.microsoft.com/office/drawing/2014/main" id="{E3F4EF59-0D1F-9CEC-18F1-D94892F70BCA}"/>
                  </a:ext>
                </a:extLst>
              </p:cNvPr>
              <p:cNvSpPr/>
              <p:nvPr/>
            </p:nvSpPr>
            <p:spPr>
              <a:xfrm>
                <a:off x="1714556"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6" name="Freeform 135">
                <a:extLst>
                  <a:ext uri="{FF2B5EF4-FFF2-40B4-BE49-F238E27FC236}">
                    <a16:creationId xmlns:a16="http://schemas.microsoft.com/office/drawing/2014/main" id="{C38741A1-C050-5EC4-9D6C-32051D997F94}"/>
                  </a:ext>
                </a:extLst>
              </p:cNvPr>
              <p:cNvSpPr/>
              <p:nvPr/>
            </p:nvSpPr>
            <p:spPr>
              <a:xfrm>
                <a:off x="1720922" y="4868545"/>
                <a:ext cx="7893" cy="11429"/>
              </a:xfrm>
              <a:custGeom>
                <a:avLst/>
                <a:gdLst>
                  <a:gd name="connsiteX0" fmla="*/ 3947 w 7893"/>
                  <a:gd name="connsiteY0" fmla="*/ 11430 h 11429"/>
                  <a:gd name="connsiteX1" fmla="*/ 1019 w 7893"/>
                  <a:gd name="connsiteY1" fmla="*/ 10033 h 11429"/>
                  <a:gd name="connsiteX2" fmla="*/ 0 w 7893"/>
                  <a:gd name="connsiteY2" fmla="*/ 5715 h 11429"/>
                  <a:gd name="connsiteX3" fmla="*/ 1019 w 7893"/>
                  <a:gd name="connsiteY3" fmla="*/ 1397 h 11429"/>
                  <a:gd name="connsiteX4" fmla="*/ 3947 w 7893"/>
                  <a:gd name="connsiteY4" fmla="*/ 0 h 11429"/>
                  <a:gd name="connsiteX5" fmla="*/ 6875 w 7893"/>
                  <a:gd name="connsiteY5" fmla="*/ 1397 h 11429"/>
                  <a:gd name="connsiteX6" fmla="*/ 7893 w 7893"/>
                  <a:gd name="connsiteY6" fmla="*/ 5715 h 11429"/>
                  <a:gd name="connsiteX7" fmla="*/ 6875 w 7893"/>
                  <a:gd name="connsiteY7" fmla="*/ 10033 h 11429"/>
                  <a:gd name="connsiteX8" fmla="*/ 3947 w 7893"/>
                  <a:gd name="connsiteY8" fmla="*/ 11430 h 11429"/>
                  <a:gd name="connsiteX9" fmla="*/ 3947 w 7893"/>
                  <a:gd name="connsiteY9" fmla="*/ 10033 h 11429"/>
                  <a:gd name="connsiteX10" fmla="*/ 5602 w 7893"/>
                  <a:gd name="connsiteY10" fmla="*/ 9017 h 11429"/>
                  <a:gd name="connsiteX11" fmla="*/ 6111 w 7893"/>
                  <a:gd name="connsiteY11" fmla="*/ 6223 h 11429"/>
                  <a:gd name="connsiteX12" fmla="*/ 6111 w 7893"/>
                  <a:gd name="connsiteY12" fmla="*/ 5461 h 11429"/>
                  <a:gd name="connsiteX13" fmla="*/ 5602 w 7893"/>
                  <a:gd name="connsiteY13" fmla="*/ 2667 h 11429"/>
                  <a:gd name="connsiteX14" fmla="*/ 3947 w 7893"/>
                  <a:gd name="connsiteY14" fmla="*/ 1651 h 11429"/>
                  <a:gd name="connsiteX15" fmla="*/ 2292 w 7893"/>
                  <a:gd name="connsiteY15" fmla="*/ 2667 h 11429"/>
                  <a:gd name="connsiteX16" fmla="*/ 1782 w 7893"/>
                  <a:gd name="connsiteY16" fmla="*/ 5461 h 11429"/>
                  <a:gd name="connsiteX17" fmla="*/ 1782 w 7893"/>
                  <a:gd name="connsiteY17" fmla="*/ 6223 h 11429"/>
                  <a:gd name="connsiteX18" fmla="*/ 2292 w 7893"/>
                  <a:gd name="connsiteY18" fmla="*/ 9017 h 11429"/>
                  <a:gd name="connsiteX19" fmla="*/ 3947 w 7893"/>
                  <a:gd name="connsiteY19" fmla="*/ 10033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3" h="11429">
                    <a:moveTo>
                      <a:pt x="3947" y="11430"/>
                    </a:moveTo>
                    <a:cubicBezTo>
                      <a:pt x="2674" y="11430"/>
                      <a:pt x="1655" y="10922"/>
                      <a:pt x="1019" y="10033"/>
                    </a:cubicBezTo>
                    <a:cubicBezTo>
                      <a:pt x="382" y="9144"/>
                      <a:pt x="0" y="7620"/>
                      <a:pt x="0" y="5715"/>
                    </a:cubicBezTo>
                    <a:cubicBezTo>
                      <a:pt x="0" y="3810"/>
                      <a:pt x="382" y="2286"/>
                      <a:pt x="1019" y="1397"/>
                    </a:cubicBezTo>
                    <a:cubicBezTo>
                      <a:pt x="1655" y="508"/>
                      <a:pt x="2674" y="0"/>
                      <a:pt x="3947" y="0"/>
                    </a:cubicBezTo>
                    <a:cubicBezTo>
                      <a:pt x="5220" y="0"/>
                      <a:pt x="6238" y="508"/>
                      <a:pt x="6875" y="1397"/>
                    </a:cubicBezTo>
                    <a:cubicBezTo>
                      <a:pt x="7512" y="2286"/>
                      <a:pt x="7893" y="3810"/>
                      <a:pt x="7893" y="5715"/>
                    </a:cubicBezTo>
                    <a:cubicBezTo>
                      <a:pt x="7893" y="7620"/>
                      <a:pt x="7512" y="9144"/>
                      <a:pt x="6875" y="10033"/>
                    </a:cubicBezTo>
                    <a:cubicBezTo>
                      <a:pt x="6238" y="10922"/>
                      <a:pt x="5220" y="11430"/>
                      <a:pt x="3947" y="11430"/>
                    </a:cubicBezTo>
                    <a:close/>
                    <a:moveTo>
                      <a:pt x="3947" y="10033"/>
                    </a:moveTo>
                    <a:cubicBezTo>
                      <a:pt x="4711" y="10033"/>
                      <a:pt x="5220" y="9652"/>
                      <a:pt x="5602" y="9017"/>
                    </a:cubicBezTo>
                    <a:cubicBezTo>
                      <a:pt x="5984" y="8382"/>
                      <a:pt x="6111" y="7493"/>
                      <a:pt x="6111" y="6223"/>
                    </a:cubicBezTo>
                    <a:lnTo>
                      <a:pt x="6111" y="5461"/>
                    </a:lnTo>
                    <a:cubicBezTo>
                      <a:pt x="6111" y="4191"/>
                      <a:pt x="5984" y="3302"/>
                      <a:pt x="5602" y="2667"/>
                    </a:cubicBezTo>
                    <a:cubicBezTo>
                      <a:pt x="5220" y="2032"/>
                      <a:pt x="4711" y="1651"/>
                      <a:pt x="3947" y="1651"/>
                    </a:cubicBezTo>
                    <a:cubicBezTo>
                      <a:pt x="3183" y="1651"/>
                      <a:pt x="2674" y="2032"/>
                      <a:pt x="2292" y="2667"/>
                    </a:cubicBezTo>
                    <a:cubicBezTo>
                      <a:pt x="1910" y="3302"/>
                      <a:pt x="1782" y="4191"/>
                      <a:pt x="1782" y="5461"/>
                    </a:cubicBezTo>
                    <a:lnTo>
                      <a:pt x="1782" y="6223"/>
                    </a:lnTo>
                    <a:cubicBezTo>
                      <a:pt x="1782" y="7493"/>
                      <a:pt x="1910" y="8382"/>
                      <a:pt x="2292" y="9017"/>
                    </a:cubicBezTo>
                    <a:cubicBezTo>
                      <a:pt x="2674" y="9652"/>
                      <a:pt x="3183" y="10033"/>
                      <a:pt x="3947" y="10033"/>
                    </a:cubicBezTo>
                    <a:close/>
                  </a:path>
                </a:pathLst>
              </a:custGeom>
              <a:solidFill>
                <a:srgbClr val="FFFFFF"/>
              </a:solidFill>
              <a:ln w="0" cap="flat">
                <a:noFill/>
                <a:prstDash val="solid"/>
                <a:miter/>
              </a:ln>
            </p:spPr>
            <p:txBody>
              <a:bodyPr rtlCol="0" anchor="ctr"/>
              <a:lstStyle/>
              <a:p>
                <a:endParaRPr lang="en-AD" sz="2400"/>
              </a:p>
            </p:txBody>
          </p:sp>
          <p:sp>
            <p:nvSpPr>
              <p:cNvPr id="137" name="Freeform 136">
                <a:extLst>
                  <a:ext uri="{FF2B5EF4-FFF2-40B4-BE49-F238E27FC236}">
                    <a16:creationId xmlns:a16="http://schemas.microsoft.com/office/drawing/2014/main" id="{A4D560B1-77B8-6439-677A-803421B1CA46}"/>
                  </a:ext>
                </a:extLst>
              </p:cNvPr>
              <p:cNvSpPr/>
              <p:nvPr/>
            </p:nvSpPr>
            <p:spPr>
              <a:xfrm>
                <a:off x="1733398"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38" name="Freeform 137">
                <a:extLst>
                  <a:ext uri="{FF2B5EF4-FFF2-40B4-BE49-F238E27FC236}">
                    <a16:creationId xmlns:a16="http://schemas.microsoft.com/office/drawing/2014/main" id="{3E4649C2-0D6F-169F-23D7-581795A4B8DA}"/>
                  </a:ext>
                </a:extLst>
              </p:cNvPr>
              <p:cNvSpPr/>
              <p:nvPr/>
            </p:nvSpPr>
            <p:spPr>
              <a:xfrm>
                <a:off x="1740274" y="4868671"/>
                <a:ext cx="6874" cy="11176"/>
              </a:xfrm>
              <a:custGeom>
                <a:avLst/>
                <a:gdLst>
                  <a:gd name="connsiteX0" fmla="*/ 0 w 6874"/>
                  <a:gd name="connsiteY0" fmla="*/ 11176 h 11176"/>
                  <a:gd name="connsiteX1" fmla="*/ 0 w 6874"/>
                  <a:gd name="connsiteY1" fmla="*/ 254 h 11176"/>
                  <a:gd name="connsiteX2" fmla="*/ 1273 w 6874"/>
                  <a:gd name="connsiteY2" fmla="*/ 254 h 11176"/>
                  <a:gd name="connsiteX3" fmla="*/ 1528 w 6874"/>
                  <a:gd name="connsiteY3" fmla="*/ 1524 h 11176"/>
                  <a:gd name="connsiteX4" fmla="*/ 1528 w 6874"/>
                  <a:gd name="connsiteY4" fmla="*/ 1524 h 11176"/>
                  <a:gd name="connsiteX5" fmla="*/ 2673 w 6874"/>
                  <a:gd name="connsiteY5" fmla="*/ 381 h 11176"/>
                  <a:gd name="connsiteX6" fmla="*/ 4201 w 6874"/>
                  <a:gd name="connsiteY6" fmla="*/ 0 h 11176"/>
                  <a:gd name="connsiteX7" fmla="*/ 6111 w 6874"/>
                  <a:gd name="connsiteY7" fmla="*/ 762 h 11176"/>
                  <a:gd name="connsiteX8" fmla="*/ 6875 w 6874"/>
                  <a:gd name="connsiteY8" fmla="*/ 3302 h 11176"/>
                  <a:gd name="connsiteX9" fmla="*/ 6875 w 6874"/>
                  <a:gd name="connsiteY9" fmla="*/ 11176 h 11176"/>
                  <a:gd name="connsiteX10" fmla="*/ 5220 w 6874"/>
                  <a:gd name="connsiteY10" fmla="*/ 11176 h 11176"/>
                  <a:gd name="connsiteX11" fmla="*/ 5220 w 6874"/>
                  <a:gd name="connsiteY11" fmla="*/ 3429 h 11176"/>
                  <a:gd name="connsiteX12" fmla="*/ 4838 w 6874"/>
                  <a:gd name="connsiteY12" fmla="*/ 1905 h 11176"/>
                  <a:gd name="connsiteX13" fmla="*/ 3692 w 6874"/>
                  <a:gd name="connsiteY13" fmla="*/ 1524 h 11176"/>
                  <a:gd name="connsiteX14" fmla="*/ 2292 w 6874"/>
                  <a:gd name="connsiteY14" fmla="*/ 2286 h 11176"/>
                  <a:gd name="connsiteX15" fmla="*/ 1655 w 6874"/>
                  <a:gd name="connsiteY15" fmla="*/ 4445 h 11176"/>
                  <a:gd name="connsiteX16" fmla="*/ 1655 w 6874"/>
                  <a:gd name="connsiteY16" fmla="*/ 11176 h 11176"/>
                  <a:gd name="connsiteX17" fmla="*/ 0 w 6874"/>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4" h="11176">
                    <a:moveTo>
                      <a:pt x="0" y="11176"/>
                    </a:moveTo>
                    <a:lnTo>
                      <a:pt x="0" y="254"/>
                    </a:lnTo>
                    <a:lnTo>
                      <a:pt x="1273" y="254"/>
                    </a:lnTo>
                    <a:lnTo>
                      <a:pt x="1528" y="1524"/>
                    </a:lnTo>
                    <a:lnTo>
                      <a:pt x="1528" y="1524"/>
                    </a:lnTo>
                    <a:cubicBezTo>
                      <a:pt x="1528" y="1524"/>
                      <a:pt x="2164" y="635"/>
                      <a:pt x="2673" y="381"/>
                    </a:cubicBezTo>
                    <a:cubicBezTo>
                      <a:pt x="3183" y="127"/>
                      <a:pt x="3692" y="0"/>
                      <a:pt x="4201" y="0"/>
                    </a:cubicBezTo>
                    <a:cubicBezTo>
                      <a:pt x="4965" y="0"/>
                      <a:pt x="5729" y="254"/>
                      <a:pt x="6111" y="762"/>
                    </a:cubicBezTo>
                    <a:cubicBezTo>
                      <a:pt x="6620" y="1270"/>
                      <a:pt x="6875" y="2159"/>
                      <a:pt x="6875" y="3302"/>
                    </a:cubicBezTo>
                    <a:lnTo>
                      <a:pt x="6875" y="11176"/>
                    </a:lnTo>
                    <a:lnTo>
                      <a:pt x="5220" y="11176"/>
                    </a:lnTo>
                    <a:lnTo>
                      <a:pt x="5220" y="3429"/>
                    </a:lnTo>
                    <a:cubicBezTo>
                      <a:pt x="5220" y="2667"/>
                      <a:pt x="5092" y="2159"/>
                      <a:pt x="4838" y="1905"/>
                    </a:cubicBezTo>
                    <a:cubicBezTo>
                      <a:pt x="4583" y="1651"/>
                      <a:pt x="4201" y="1524"/>
                      <a:pt x="3692" y="1524"/>
                    </a:cubicBezTo>
                    <a:cubicBezTo>
                      <a:pt x="3183" y="1524"/>
                      <a:pt x="2673" y="1778"/>
                      <a:pt x="2292" y="2286"/>
                    </a:cubicBezTo>
                    <a:cubicBezTo>
                      <a:pt x="1910" y="2794"/>
                      <a:pt x="1655" y="3556"/>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39" name="Freeform 138">
                <a:extLst>
                  <a:ext uri="{FF2B5EF4-FFF2-40B4-BE49-F238E27FC236}">
                    <a16:creationId xmlns:a16="http://schemas.microsoft.com/office/drawing/2014/main" id="{70C9160D-8E77-8734-FA03-55D6A78B96B6}"/>
                  </a:ext>
                </a:extLst>
              </p:cNvPr>
              <p:cNvSpPr/>
              <p:nvPr/>
            </p:nvSpPr>
            <p:spPr>
              <a:xfrm>
                <a:off x="1751604" y="4864608"/>
                <a:ext cx="7129" cy="15366"/>
              </a:xfrm>
              <a:custGeom>
                <a:avLst/>
                <a:gdLst>
                  <a:gd name="connsiteX0" fmla="*/ 3310 w 7129"/>
                  <a:gd name="connsiteY0" fmla="*/ 15367 h 15366"/>
                  <a:gd name="connsiteX1" fmla="*/ 891 w 7129"/>
                  <a:gd name="connsiteY1" fmla="*/ 13970 h 15366"/>
                  <a:gd name="connsiteX2" fmla="*/ 0 w 7129"/>
                  <a:gd name="connsiteY2" fmla="*/ 9652 h 15366"/>
                  <a:gd name="connsiteX3" fmla="*/ 382 w 7129"/>
                  <a:gd name="connsiteY3" fmla="*/ 6350 h 15366"/>
                  <a:gd name="connsiteX4" fmla="*/ 1528 w 7129"/>
                  <a:gd name="connsiteY4" fmla="*/ 4445 h 15366"/>
                  <a:gd name="connsiteX5" fmla="*/ 3183 w 7129"/>
                  <a:gd name="connsiteY5" fmla="*/ 3810 h 15366"/>
                  <a:gd name="connsiteX6" fmla="*/ 4583 w 7129"/>
                  <a:gd name="connsiteY6" fmla="*/ 4191 h 15366"/>
                  <a:gd name="connsiteX7" fmla="*/ 5474 w 7129"/>
                  <a:gd name="connsiteY7" fmla="*/ 5080 h 15366"/>
                  <a:gd name="connsiteX8" fmla="*/ 5474 w 7129"/>
                  <a:gd name="connsiteY8" fmla="*/ 5080 h 15366"/>
                  <a:gd name="connsiteX9" fmla="*/ 5474 w 7129"/>
                  <a:gd name="connsiteY9" fmla="*/ 0 h 15366"/>
                  <a:gd name="connsiteX10" fmla="*/ 7130 w 7129"/>
                  <a:gd name="connsiteY10" fmla="*/ 0 h 15366"/>
                  <a:gd name="connsiteX11" fmla="*/ 7130 w 7129"/>
                  <a:gd name="connsiteY11" fmla="*/ 14986 h 15366"/>
                  <a:gd name="connsiteX12" fmla="*/ 5856 w 7129"/>
                  <a:gd name="connsiteY12" fmla="*/ 14986 h 15366"/>
                  <a:gd name="connsiteX13" fmla="*/ 5602 w 7129"/>
                  <a:gd name="connsiteY13" fmla="*/ 13716 h 15366"/>
                  <a:gd name="connsiteX14" fmla="*/ 5602 w 7129"/>
                  <a:gd name="connsiteY14" fmla="*/ 13716 h 15366"/>
                  <a:gd name="connsiteX15" fmla="*/ 4583 w 7129"/>
                  <a:gd name="connsiteY15" fmla="*/ 14859 h 15366"/>
                  <a:gd name="connsiteX16" fmla="*/ 3183 w 7129"/>
                  <a:gd name="connsiteY16" fmla="*/ 15240 h 15366"/>
                  <a:gd name="connsiteX17" fmla="*/ 3692 w 7129"/>
                  <a:gd name="connsiteY17" fmla="*/ 13970 h 15366"/>
                  <a:gd name="connsiteX18" fmla="*/ 5220 w 7129"/>
                  <a:gd name="connsiteY18" fmla="*/ 12954 h 15366"/>
                  <a:gd name="connsiteX19" fmla="*/ 5729 w 7129"/>
                  <a:gd name="connsiteY19" fmla="*/ 10160 h 15366"/>
                  <a:gd name="connsiteX20" fmla="*/ 5729 w 7129"/>
                  <a:gd name="connsiteY20" fmla="*/ 9398 h 15366"/>
                  <a:gd name="connsiteX21" fmla="*/ 5220 w 7129"/>
                  <a:gd name="connsiteY21" fmla="*/ 6477 h 15366"/>
                  <a:gd name="connsiteX22" fmla="*/ 3692 w 7129"/>
                  <a:gd name="connsiteY22" fmla="*/ 5461 h 15366"/>
                  <a:gd name="connsiteX23" fmla="*/ 2164 w 7129"/>
                  <a:gd name="connsiteY23" fmla="*/ 6350 h 15366"/>
                  <a:gd name="connsiteX24" fmla="*/ 1655 w 7129"/>
                  <a:gd name="connsiteY24" fmla="*/ 9271 h 15366"/>
                  <a:gd name="connsiteX25" fmla="*/ 1655 w 7129"/>
                  <a:gd name="connsiteY25" fmla="*/ 10033 h 15366"/>
                  <a:gd name="connsiteX26" fmla="*/ 2164 w 7129"/>
                  <a:gd name="connsiteY26" fmla="*/ 12954 h 15366"/>
                  <a:gd name="connsiteX27" fmla="*/ 3692 w 7129"/>
                  <a:gd name="connsiteY27" fmla="*/ 13843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29" h="15366">
                    <a:moveTo>
                      <a:pt x="3310" y="15367"/>
                    </a:moveTo>
                    <a:cubicBezTo>
                      <a:pt x="2292" y="15367"/>
                      <a:pt x="1400" y="14859"/>
                      <a:pt x="891" y="13970"/>
                    </a:cubicBezTo>
                    <a:cubicBezTo>
                      <a:pt x="255" y="13081"/>
                      <a:pt x="0" y="11557"/>
                      <a:pt x="0" y="9652"/>
                    </a:cubicBezTo>
                    <a:cubicBezTo>
                      <a:pt x="0" y="8382"/>
                      <a:pt x="127" y="7239"/>
                      <a:pt x="382" y="6350"/>
                    </a:cubicBezTo>
                    <a:cubicBezTo>
                      <a:pt x="637" y="5461"/>
                      <a:pt x="1019" y="4953"/>
                      <a:pt x="1528" y="4445"/>
                    </a:cubicBezTo>
                    <a:cubicBezTo>
                      <a:pt x="2037" y="4064"/>
                      <a:pt x="2546" y="3810"/>
                      <a:pt x="3183" y="3810"/>
                    </a:cubicBezTo>
                    <a:cubicBezTo>
                      <a:pt x="3692" y="3810"/>
                      <a:pt x="4201" y="3810"/>
                      <a:pt x="4583" y="4191"/>
                    </a:cubicBezTo>
                    <a:cubicBezTo>
                      <a:pt x="4965" y="4445"/>
                      <a:pt x="5347" y="4699"/>
                      <a:pt x="5474" y="5080"/>
                    </a:cubicBezTo>
                    <a:lnTo>
                      <a:pt x="5474" y="5080"/>
                    </a:lnTo>
                    <a:lnTo>
                      <a:pt x="5474" y="0"/>
                    </a:lnTo>
                    <a:lnTo>
                      <a:pt x="7130" y="0"/>
                    </a:lnTo>
                    <a:lnTo>
                      <a:pt x="7130" y="14986"/>
                    </a:lnTo>
                    <a:lnTo>
                      <a:pt x="5856" y="14986"/>
                    </a:lnTo>
                    <a:lnTo>
                      <a:pt x="5602" y="13716"/>
                    </a:lnTo>
                    <a:lnTo>
                      <a:pt x="5602" y="13716"/>
                    </a:lnTo>
                    <a:cubicBezTo>
                      <a:pt x="5602" y="13716"/>
                      <a:pt x="4965" y="14605"/>
                      <a:pt x="4583" y="14859"/>
                    </a:cubicBezTo>
                    <a:cubicBezTo>
                      <a:pt x="4201" y="15113"/>
                      <a:pt x="3692" y="15240"/>
                      <a:pt x="3183" y="15240"/>
                    </a:cubicBezTo>
                    <a:close/>
                    <a:moveTo>
                      <a:pt x="3692" y="13970"/>
                    </a:moveTo>
                    <a:cubicBezTo>
                      <a:pt x="4329" y="13970"/>
                      <a:pt x="4838" y="13589"/>
                      <a:pt x="5220" y="12954"/>
                    </a:cubicBezTo>
                    <a:cubicBezTo>
                      <a:pt x="5602" y="12319"/>
                      <a:pt x="5729" y="11430"/>
                      <a:pt x="5729" y="10160"/>
                    </a:cubicBezTo>
                    <a:lnTo>
                      <a:pt x="5729" y="9398"/>
                    </a:lnTo>
                    <a:cubicBezTo>
                      <a:pt x="5729" y="8128"/>
                      <a:pt x="5602" y="7112"/>
                      <a:pt x="5220" y="6477"/>
                    </a:cubicBezTo>
                    <a:cubicBezTo>
                      <a:pt x="4838" y="5842"/>
                      <a:pt x="4456" y="5461"/>
                      <a:pt x="3692" y="5461"/>
                    </a:cubicBezTo>
                    <a:cubicBezTo>
                      <a:pt x="2928" y="5461"/>
                      <a:pt x="2546" y="5715"/>
                      <a:pt x="2164" y="6350"/>
                    </a:cubicBezTo>
                    <a:cubicBezTo>
                      <a:pt x="1782" y="6985"/>
                      <a:pt x="1655" y="7874"/>
                      <a:pt x="1655" y="9271"/>
                    </a:cubicBezTo>
                    <a:lnTo>
                      <a:pt x="1655" y="10033"/>
                    </a:lnTo>
                    <a:cubicBezTo>
                      <a:pt x="1655" y="11430"/>
                      <a:pt x="1782" y="12319"/>
                      <a:pt x="2164" y="12954"/>
                    </a:cubicBezTo>
                    <a:cubicBezTo>
                      <a:pt x="2546" y="13589"/>
                      <a:pt x="2928" y="13843"/>
                      <a:pt x="3692" y="13843"/>
                    </a:cubicBezTo>
                    <a:close/>
                  </a:path>
                </a:pathLst>
              </a:custGeom>
              <a:solidFill>
                <a:srgbClr val="FFFFFF"/>
              </a:solidFill>
              <a:ln w="0" cap="flat">
                <a:noFill/>
                <a:prstDash val="solid"/>
                <a:miter/>
              </a:ln>
            </p:spPr>
            <p:txBody>
              <a:bodyPr rtlCol="0" anchor="ctr"/>
              <a:lstStyle/>
              <a:p>
                <a:endParaRPr lang="en-AD" sz="2400"/>
              </a:p>
            </p:txBody>
          </p:sp>
          <p:sp>
            <p:nvSpPr>
              <p:cNvPr id="140" name="Freeform 139">
                <a:extLst>
                  <a:ext uri="{FF2B5EF4-FFF2-40B4-BE49-F238E27FC236}">
                    <a16:creationId xmlns:a16="http://schemas.microsoft.com/office/drawing/2014/main" id="{B548623A-37DE-C94B-E475-5680F1D72A86}"/>
                  </a:ext>
                </a:extLst>
              </p:cNvPr>
              <p:cNvSpPr/>
              <p:nvPr/>
            </p:nvSpPr>
            <p:spPr>
              <a:xfrm>
                <a:off x="1763827" y="4868798"/>
                <a:ext cx="6875" cy="11176"/>
              </a:xfrm>
              <a:custGeom>
                <a:avLst/>
                <a:gdLst>
                  <a:gd name="connsiteX0" fmla="*/ 2674 w 6875"/>
                  <a:gd name="connsiteY0" fmla="*/ 11176 h 11176"/>
                  <a:gd name="connsiteX1" fmla="*/ 764 w 6875"/>
                  <a:gd name="connsiteY1" fmla="*/ 10414 h 11176"/>
                  <a:gd name="connsiteX2" fmla="*/ 0 w 6875"/>
                  <a:gd name="connsiteY2" fmla="*/ 7874 h 11176"/>
                  <a:gd name="connsiteX3" fmla="*/ 0 w 6875"/>
                  <a:gd name="connsiteY3" fmla="*/ 0 h 11176"/>
                  <a:gd name="connsiteX4" fmla="*/ 1655 w 6875"/>
                  <a:gd name="connsiteY4" fmla="*/ 0 h 11176"/>
                  <a:gd name="connsiteX5" fmla="*/ 1655 w 6875"/>
                  <a:gd name="connsiteY5" fmla="*/ 7747 h 11176"/>
                  <a:gd name="connsiteX6" fmla="*/ 2037 w 6875"/>
                  <a:gd name="connsiteY6" fmla="*/ 9271 h 11176"/>
                  <a:gd name="connsiteX7" fmla="*/ 3183 w 6875"/>
                  <a:gd name="connsiteY7" fmla="*/ 9652 h 11176"/>
                  <a:gd name="connsiteX8" fmla="*/ 4583 w 6875"/>
                  <a:gd name="connsiteY8" fmla="*/ 8890 h 11176"/>
                  <a:gd name="connsiteX9" fmla="*/ 5220 w 6875"/>
                  <a:gd name="connsiteY9" fmla="*/ 6731 h 11176"/>
                  <a:gd name="connsiteX10" fmla="*/ 5220 w 6875"/>
                  <a:gd name="connsiteY10" fmla="*/ 0 h 11176"/>
                  <a:gd name="connsiteX11" fmla="*/ 6875 w 6875"/>
                  <a:gd name="connsiteY11" fmla="*/ 0 h 11176"/>
                  <a:gd name="connsiteX12" fmla="*/ 6875 w 6875"/>
                  <a:gd name="connsiteY12" fmla="*/ 10922 h 11176"/>
                  <a:gd name="connsiteX13" fmla="*/ 5602 w 6875"/>
                  <a:gd name="connsiteY13" fmla="*/ 10922 h 11176"/>
                  <a:gd name="connsiteX14" fmla="*/ 5347 w 6875"/>
                  <a:gd name="connsiteY14" fmla="*/ 9652 h 11176"/>
                  <a:gd name="connsiteX15" fmla="*/ 5347 w 6875"/>
                  <a:gd name="connsiteY15" fmla="*/ 9652 h 11176"/>
                  <a:gd name="connsiteX16" fmla="*/ 4201 w 6875"/>
                  <a:gd name="connsiteY16" fmla="*/ 10795 h 11176"/>
                  <a:gd name="connsiteX17" fmla="*/ 2674 w 6875"/>
                  <a:gd name="connsiteY17"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5" h="11176">
                    <a:moveTo>
                      <a:pt x="2674" y="11176"/>
                    </a:moveTo>
                    <a:cubicBezTo>
                      <a:pt x="1910" y="11176"/>
                      <a:pt x="1146" y="10922"/>
                      <a:pt x="764" y="10414"/>
                    </a:cubicBezTo>
                    <a:cubicBezTo>
                      <a:pt x="255" y="9906"/>
                      <a:pt x="0" y="9017"/>
                      <a:pt x="0" y="7874"/>
                    </a:cubicBezTo>
                    <a:lnTo>
                      <a:pt x="0" y="0"/>
                    </a:lnTo>
                    <a:lnTo>
                      <a:pt x="1655" y="0"/>
                    </a:lnTo>
                    <a:lnTo>
                      <a:pt x="1655" y="7747"/>
                    </a:lnTo>
                    <a:cubicBezTo>
                      <a:pt x="1655" y="8509"/>
                      <a:pt x="1783" y="9017"/>
                      <a:pt x="2037" y="9271"/>
                    </a:cubicBezTo>
                    <a:cubicBezTo>
                      <a:pt x="2292" y="9525"/>
                      <a:pt x="2674" y="9652"/>
                      <a:pt x="3183" y="9652"/>
                    </a:cubicBezTo>
                    <a:cubicBezTo>
                      <a:pt x="3692" y="9652"/>
                      <a:pt x="4201" y="9398"/>
                      <a:pt x="4583" y="8890"/>
                    </a:cubicBezTo>
                    <a:cubicBezTo>
                      <a:pt x="4965" y="8382"/>
                      <a:pt x="5220" y="7620"/>
                      <a:pt x="5220" y="6731"/>
                    </a:cubicBezTo>
                    <a:lnTo>
                      <a:pt x="5220" y="0"/>
                    </a:lnTo>
                    <a:lnTo>
                      <a:pt x="6875" y="0"/>
                    </a:lnTo>
                    <a:lnTo>
                      <a:pt x="6875" y="10922"/>
                    </a:lnTo>
                    <a:lnTo>
                      <a:pt x="5602" y="10922"/>
                    </a:lnTo>
                    <a:lnTo>
                      <a:pt x="5347" y="9652"/>
                    </a:lnTo>
                    <a:lnTo>
                      <a:pt x="5347" y="9652"/>
                    </a:lnTo>
                    <a:cubicBezTo>
                      <a:pt x="5347" y="9652"/>
                      <a:pt x="4711" y="10541"/>
                      <a:pt x="4201" y="10795"/>
                    </a:cubicBezTo>
                    <a:cubicBezTo>
                      <a:pt x="3692" y="11049"/>
                      <a:pt x="3183" y="11176"/>
                      <a:pt x="2674" y="11176"/>
                    </a:cubicBezTo>
                    <a:close/>
                  </a:path>
                </a:pathLst>
              </a:custGeom>
              <a:solidFill>
                <a:srgbClr val="FFFFFF"/>
              </a:solidFill>
              <a:ln w="0" cap="flat">
                <a:noFill/>
                <a:prstDash val="solid"/>
                <a:miter/>
              </a:ln>
            </p:spPr>
            <p:txBody>
              <a:bodyPr rtlCol="0" anchor="ctr"/>
              <a:lstStyle/>
              <a:p>
                <a:endParaRPr lang="en-AD" sz="2400"/>
              </a:p>
            </p:txBody>
          </p:sp>
          <p:sp>
            <p:nvSpPr>
              <p:cNvPr id="141" name="Freeform 140">
                <a:extLst>
                  <a:ext uri="{FF2B5EF4-FFF2-40B4-BE49-F238E27FC236}">
                    <a16:creationId xmlns:a16="http://schemas.microsoft.com/office/drawing/2014/main" id="{C9618CDB-95D5-F525-9D47-95FC09242DEE}"/>
                  </a:ext>
                </a:extLst>
              </p:cNvPr>
              <p:cNvSpPr/>
              <p:nvPr/>
            </p:nvSpPr>
            <p:spPr>
              <a:xfrm>
                <a:off x="177503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2" name="Freeform 141">
                <a:extLst>
                  <a:ext uri="{FF2B5EF4-FFF2-40B4-BE49-F238E27FC236}">
                    <a16:creationId xmlns:a16="http://schemas.microsoft.com/office/drawing/2014/main" id="{08D68C73-001F-A9F9-7893-B21BED37FC6D}"/>
                  </a:ext>
                </a:extLst>
              </p:cNvPr>
              <p:cNvSpPr/>
              <p:nvPr/>
            </p:nvSpPr>
            <p:spPr>
              <a:xfrm>
                <a:off x="1785597" y="4865878"/>
                <a:ext cx="4074" cy="14096"/>
              </a:xfrm>
              <a:custGeom>
                <a:avLst/>
                <a:gdLst>
                  <a:gd name="connsiteX0" fmla="*/ 2801 w 4074"/>
                  <a:gd name="connsiteY0" fmla="*/ 14097 h 14096"/>
                  <a:gd name="connsiteX1" fmla="*/ 1655 w 4074"/>
                  <a:gd name="connsiteY1" fmla="*/ 13716 h 14096"/>
                  <a:gd name="connsiteX2" fmla="*/ 1019 w 4074"/>
                  <a:gd name="connsiteY2" fmla="*/ 12827 h 14096"/>
                  <a:gd name="connsiteX3" fmla="*/ 891 w 4074"/>
                  <a:gd name="connsiteY3" fmla="*/ 11684 h 14096"/>
                  <a:gd name="connsiteX4" fmla="*/ 891 w 4074"/>
                  <a:gd name="connsiteY4" fmla="*/ 4572 h 14096"/>
                  <a:gd name="connsiteX5" fmla="*/ 0 w 4074"/>
                  <a:gd name="connsiteY5" fmla="*/ 4572 h 14096"/>
                  <a:gd name="connsiteX6" fmla="*/ 0 w 4074"/>
                  <a:gd name="connsiteY6" fmla="*/ 3048 h 14096"/>
                  <a:gd name="connsiteX7" fmla="*/ 891 w 4074"/>
                  <a:gd name="connsiteY7" fmla="*/ 3048 h 14096"/>
                  <a:gd name="connsiteX8" fmla="*/ 1273 w 4074"/>
                  <a:gd name="connsiteY8" fmla="*/ 0 h 14096"/>
                  <a:gd name="connsiteX9" fmla="*/ 2546 w 4074"/>
                  <a:gd name="connsiteY9" fmla="*/ 0 h 14096"/>
                  <a:gd name="connsiteX10" fmla="*/ 2546 w 4074"/>
                  <a:gd name="connsiteY10" fmla="*/ 3048 h 14096"/>
                  <a:gd name="connsiteX11" fmla="*/ 4074 w 4074"/>
                  <a:gd name="connsiteY11" fmla="*/ 3048 h 14096"/>
                  <a:gd name="connsiteX12" fmla="*/ 4074 w 4074"/>
                  <a:gd name="connsiteY12" fmla="*/ 4572 h 14096"/>
                  <a:gd name="connsiteX13" fmla="*/ 2546 w 4074"/>
                  <a:gd name="connsiteY13" fmla="*/ 4572 h 14096"/>
                  <a:gd name="connsiteX14" fmla="*/ 2546 w 4074"/>
                  <a:gd name="connsiteY14" fmla="*/ 11684 h 14096"/>
                  <a:gd name="connsiteX15" fmla="*/ 3565 w 4074"/>
                  <a:gd name="connsiteY15" fmla="*/ 12700 h 14096"/>
                  <a:gd name="connsiteX16" fmla="*/ 4074 w 4074"/>
                  <a:gd name="connsiteY16" fmla="*/ 12700 h 14096"/>
                  <a:gd name="connsiteX17" fmla="*/ 4074 w 4074"/>
                  <a:gd name="connsiteY17" fmla="*/ 13843 h 14096"/>
                  <a:gd name="connsiteX18" fmla="*/ 3565 w 4074"/>
                  <a:gd name="connsiteY18" fmla="*/ 14097 h 14096"/>
                  <a:gd name="connsiteX19" fmla="*/ 2928 w 4074"/>
                  <a:gd name="connsiteY19" fmla="*/ 14097 h 1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74" h="14096">
                    <a:moveTo>
                      <a:pt x="2801" y="14097"/>
                    </a:moveTo>
                    <a:cubicBezTo>
                      <a:pt x="2801" y="14097"/>
                      <a:pt x="1910" y="14097"/>
                      <a:pt x="1655" y="13716"/>
                    </a:cubicBezTo>
                    <a:cubicBezTo>
                      <a:pt x="1400" y="13462"/>
                      <a:pt x="1146" y="13208"/>
                      <a:pt x="1019" y="12827"/>
                    </a:cubicBezTo>
                    <a:cubicBezTo>
                      <a:pt x="1019" y="12446"/>
                      <a:pt x="891" y="12065"/>
                      <a:pt x="891" y="11684"/>
                    </a:cubicBezTo>
                    <a:lnTo>
                      <a:pt x="891" y="4572"/>
                    </a:lnTo>
                    <a:lnTo>
                      <a:pt x="0" y="4572"/>
                    </a:lnTo>
                    <a:lnTo>
                      <a:pt x="0" y="3048"/>
                    </a:lnTo>
                    <a:lnTo>
                      <a:pt x="891" y="3048"/>
                    </a:lnTo>
                    <a:lnTo>
                      <a:pt x="1273" y="0"/>
                    </a:lnTo>
                    <a:lnTo>
                      <a:pt x="2546" y="0"/>
                    </a:lnTo>
                    <a:lnTo>
                      <a:pt x="2546" y="3048"/>
                    </a:lnTo>
                    <a:lnTo>
                      <a:pt x="4074" y="3048"/>
                    </a:lnTo>
                    <a:lnTo>
                      <a:pt x="4074" y="4572"/>
                    </a:lnTo>
                    <a:lnTo>
                      <a:pt x="2546" y="4572"/>
                    </a:lnTo>
                    <a:lnTo>
                      <a:pt x="2546" y="11684"/>
                    </a:lnTo>
                    <a:cubicBezTo>
                      <a:pt x="2546" y="12319"/>
                      <a:pt x="2928" y="12700"/>
                      <a:pt x="3565" y="12700"/>
                    </a:cubicBezTo>
                    <a:lnTo>
                      <a:pt x="4074" y="12700"/>
                    </a:lnTo>
                    <a:lnTo>
                      <a:pt x="4074" y="13843"/>
                    </a:lnTo>
                    <a:cubicBezTo>
                      <a:pt x="4074" y="13843"/>
                      <a:pt x="3692" y="13970"/>
                      <a:pt x="3565" y="14097"/>
                    </a:cubicBezTo>
                    <a:cubicBezTo>
                      <a:pt x="3310" y="14097"/>
                      <a:pt x="3056" y="14097"/>
                      <a:pt x="2928" y="14097"/>
                    </a:cubicBezTo>
                    <a:close/>
                  </a:path>
                </a:pathLst>
              </a:custGeom>
              <a:solidFill>
                <a:srgbClr val="FFFFFF"/>
              </a:solidFill>
              <a:ln w="0" cap="flat">
                <a:noFill/>
                <a:prstDash val="solid"/>
                <a:miter/>
              </a:ln>
            </p:spPr>
            <p:txBody>
              <a:bodyPr rtlCol="0" anchor="ctr"/>
              <a:lstStyle/>
              <a:p>
                <a:endParaRPr lang="en-AD" sz="2400"/>
              </a:p>
            </p:txBody>
          </p:sp>
          <p:sp>
            <p:nvSpPr>
              <p:cNvPr id="143" name="Freeform 142">
                <a:extLst>
                  <a:ext uri="{FF2B5EF4-FFF2-40B4-BE49-F238E27FC236}">
                    <a16:creationId xmlns:a16="http://schemas.microsoft.com/office/drawing/2014/main" id="{A18DE7DF-BCB9-E41A-6B46-4A4EDA377EC2}"/>
                  </a:ext>
                </a:extLst>
              </p:cNvPr>
              <p:cNvSpPr/>
              <p:nvPr/>
            </p:nvSpPr>
            <p:spPr>
              <a:xfrm>
                <a:off x="1793364" y="4868671"/>
                <a:ext cx="4201" cy="11176"/>
              </a:xfrm>
              <a:custGeom>
                <a:avLst/>
                <a:gdLst>
                  <a:gd name="connsiteX0" fmla="*/ 127 w 4201"/>
                  <a:gd name="connsiteY0" fmla="*/ 11176 h 11176"/>
                  <a:gd name="connsiteX1" fmla="*/ 127 w 4201"/>
                  <a:gd name="connsiteY1" fmla="*/ 254 h 11176"/>
                  <a:gd name="connsiteX2" fmla="*/ 1400 w 4201"/>
                  <a:gd name="connsiteY2" fmla="*/ 254 h 11176"/>
                  <a:gd name="connsiteX3" fmla="*/ 1655 w 4201"/>
                  <a:gd name="connsiteY3" fmla="*/ 1651 h 11176"/>
                  <a:gd name="connsiteX4" fmla="*/ 1655 w 4201"/>
                  <a:gd name="connsiteY4" fmla="*/ 1651 h 11176"/>
                  <a:gd name="connsiteX5" fmla="*/ 2292 w 4201"/>
                  <a:gd name="connsiteY5" fmla="*/ 508 h 11176"/>
                  <a:gd name="connsiteX6" fmla="*/ 3438 w 4201"/>
                  <a:gd name="connsiteY6" fmla="*/ 0 h 11176"/>
                  <a:gd name="connsiteX7" fmla="*/ 4201 w 4201"/>
                  <a:gd name="connsiteY7" fmla="*/ 127 h 11176"/>
                  <a:gd name="connsiteX8" fmla="*/ 4201 w 4201"/>
                  <a:gd name="connsiteY8" fmla="*/ 1905 h 11176"/>
                  <a:gd name="connsiteX9" fmla="*/ 3692 w 4201"/>
                  <a:gd name="connsiteY9" fmla="*/ 1905 h 11176"/>
                  <a:gd name="connsiteX10" fmla="*/ 2674 w 4201"/>
                  <a:gd name="connsiteY10" fmla="*/ 2159 h 11176"/>
                  <a:gd name="connsiteX11" fmla="*/ 1910 w 4201"/>
                  <a:gd name="connsiteY11" fmla="*/ 2921 h 11176"/>
                  <a:gd name="connsiteX12" fmla="*/ 1655 w 4201"/>
                  <a:gd name="connsiteY12" fmla="*/ 4445 h 11176"/>
                  <a:gd name="connsiteX13" fmla="*/ 1655 w 4201"/>
                  <a:gd name="connsiteY13" fmla="*/ 11176 h 11176"/>
                  <a:gd name="connsiteX14" fmla="*/ 0 w 4201"/>
                  <a:gd name="connsiteY14" fmla="*/ 11176 h 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1" h="11176">
                    <a:moveTo>
                      <a:pt x="127" y="11176"/>
                    </a:moveTo>
                    <a:lnTo>
                      <a:pt x="127" y="254"/>
                    </a:lnTo>
                    <a:lnTo>
                      <a:pt x="1400" y="254"/>
                    </a:lnTo>
                    <a:lnTo>
                      <a:pt x="1655" y="1651"/>
                    </a:lnTo>
                    <a:lnTo>
                      <a:pt x="1655" y="1651"/>
                    </a:lnTo>
                    <a:cubicBezTo>
                      <a:pt x="1655" y="1651"/>
                      <a:pt x="2037" y="889"/>
                      <a:pt x="2292" y="508"/>
                    </a:cubicBezTo>
                    <a:cubicBezTo>
                      <a:pt x="2546" y="127"/>
                      <a:pt x="2928" y="0"/>
                      <a:pt x="3438" y="0"/>
                    </a:cubicBezTo>
                    <a:cubicBezTo>
                      <a:pt x="3692" y="0"/>
                      <a:pt x="3947" y="0"/>
                      <a:pt x="4201" y="127"/>
                    </a:cubicBezTo>
                    <a:lnTo>
                      <a:pt x="4201" y="1905"/>
                    </a:lnTo>
                    <a:lnTo>
                      <a:pt x="3692" y="1905"/>
                    </a:lnTo>
                    <a:cubicBezTo>
                      <a:pt x="3692" y="1905"/>
                      <a:pt x="3056" y="1905"/>
                      <a:pt x="2674" y="2159"/>
                    </a:cubicBezTo>
                    <a:cubicBezTo>
                      <a:pt x="2419" y="2286"/>
                      <a:pt x="2164" y="2540"/>
                      <a:pt x="1910" y="2921"/>
                    </a:cubicBezTo>
                    <a:cubicBezTo>
                      <a:pt x="1782" y="3302"/>
                      <a:pt x="1655" y="3810"/>
                      <a:pt x="1655" y="4445"/>
                    </a:cubicBezTo>
                    <a:lnTo>
                      <a:pt x="1655" y="11176"/>
                    </a:lnTo>
                    <a:lnTo>
                      <a:pt x="0" y="11176"/>
                    </a:lnTo>
                    <a:close/>
                  </a:path>
                </a:pathLst>
              </a:custGeom>
              <a:solidFill>
                <a:srgbClr val="FFFFFF"/>
              </a:solidFill>
              <a:ln w="0" cap="flat">
                <a:noFill/>
                <a:prstDash val="solid"/>
                <a:miter/>
              </a:ln>
            </p:spPr>
            <p:txBody>
              <a:bodyPr rtlCol="0" anchor="ctr"/>
              <a:lstStyle/>
              <a:p>
                <a:endParaRPr lang="en-AD" sz="2400"/>
              </a:p>
            </p:txBody>
          </p:sp>
          <p:sp>
            <p:nvSpPr>
              <p:cNvPr id="144" name="Freeform 143">
                <a:extLst>
                  <a:ext uri="{FF2B5EF4-FFF2-40B4-BE49-F238E27FC236}">
                    <a16:creationId xmlns:a16="http://schemas.microsoft.com/office/drawing/2014/main" id="{29551BFA-7203-4CFC-94E1-7554E125569D}"/>
                  </a:ext>
                </a:extLst>
              </p:cNvPr>
              <p:cNvSpPr/>
              <p:nvPr/>
            </p:nvSpPr>
            <p:spPr>
              <a:xfrm>
                <a:off x="1801639" y="4864734"/>
                <a:ext cx="1782" cy="15113"/>
              </a:xfrm>
              <a:custGeom>
                <a:avLst/>
                <a:gdLst>
                  <a:gd name="connsiteX0" fmla="*/ 0 w 1782"/>
                  <a:gd name="connsiteY0" fmla="*/ 2032 h 15113"/>
                  <a:gd name="connsiteX1" fmla="*/ 0 w 1782"/>
                  <a:gd name="connsiteY1" fmla="*/ 0 h 15113"/>
                  <a:gd name="connsiteX2" fmla="*/ 1782 w 1782"/>
                  <a:gd name="connsiteY2" fmla="*/ 0 h 15113"/>
                  <a:gd name="connsiteX3" fmla="*/ 1782 w 1782"/>
                  <a:gd name="connsiteY3" fmla="*/ 2032 h 15113"/>
                  <a:gd name="connsiteX4" fmla="*/ 0 w 1782"/>
                  <a:gd name="connsiteY4" fmla="*/ 2032 h 15113"/>
                  <a:gd name="connsiteX5" fmla="*/ 0 w 1782"/>
                  <a:gd name="connsiteY5" fmla="*/ 15113 h 15113"/>
                  <a:gd name="connsiteX6" fmla="*/ 0 w 1782"/>
                  <a:gd name="connsiteY6" fmla="*/ 4191 h 15113"/>
                  <a:gd name="connsiteX7" fmla="*/ 1655 w 1782"/>
                  <a:gd name="connsiteY7" fmla="*/ 4191 h 15113"/>
                  <a:gd name="connsiteX8" fmla="*/ 1655 w 1782"/>
                  <a:gd name="connsiteY8" fmla="*/ 15113 h 15113"/>
                  <a:gd name="connsiteX9" fmla="*/ 0 w 1782"/>
                  <a:gd name="connsiteY9" fmla="*/ 15113 h 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2" h="15113">
                    <a:moveTo>
                      <a:pt x="0" y="2032"/>
                    </a:moveTo>
                    <a:lnTo>
                      <a:pt x="0" y="0"/>
                    </a:lnTo>
                    <a:lnTo>
                      <a:pt x="1782" y="0"/>
                    </a:lnTo>
                    <a:lnTo>
                      <a:pt x="1782" y="2032"/>
                    </a:lnTo>
                    <a:lnTo>
                      <a:pt x="0" y="2032"/>
                    </a:lnTo>
                    <a:close/>
                    <a:moveTo>
                      <a:pt x="0" y="15113"/>
                    </a:moveTo>
                    <a:lnTo>
                      <a:pt x="0" y="4191"/>
                    </a:lnTo>
                    <a:lnTo>
                      <a:pt x="1655" y="4191"/>
                    </a:lnTo>
                    <a:lnTo>
                      <a:pt x="1655" y="15113"/>
                    </a:lnTo>
                    <a:lnTo>
                      <a:pt x="0" y="15113"/>
                    </a:lnTo>
                    <a:close/>
                  </a:path>
                </a:pathLst>
              </a:custGeom>
              <a:solidFill>
                <a:srgbClr val="FFFFFF"/>
              </a:solidFill>
              <a:ln w="0" cap="flat">
                <a:noFill/>
                <a:prstDash val="solid"/>
                <a:miter/>
              </a:ln>
            </p:spPr>
            <p:txBody>
              <a:bodyPr rtlCol="0" anchor="ctr"/>
              <a:lstStyle/>
              <a:p>
                <a:endParaRPr lang="en-AD" sz="2400"/>
              </a:p>
            </p:txBody>
          </p:sp>
          <p:sp>
            <p:nvSpPr>
              <p:cNvPr id="145" name="Freeform 144">
                <a:extLst>
                  <a:ext uri="{FF2B5EF4-FFF2-40B4-BE49-F238E27FC236}">
                    <a16:creationId xmlns:a16="http://schemas.microsoft.com/office/drawing/2014/main" id="{5A34BFF7-C79D-A63B-5A93-F7B714826EA9}"/>
                  </a:ext>
                </a:extLst>
              </p:cNvPr>
              <p:cNvSpPr/>
              <p:nvPr/>
            </p:nvSpPr>
            <p:spPr>
              <a:xfrm>
                <a:off x="1808132" y="4868545"/>
                <a:ext cx="7638" cy="11429"/>
              </a:xfrm>
              <a:custGeom>
                <a:avLst/>
                <a:gdLst>
                  <a:gd name="connsiteX0" fmla="*/ 4074 w 7638"/>
                  <a:gd name="connsiteY0" fmla="*/ 11430 h 11429"/>
                  <a:gd name="connsiteX1" fmla="*/ 1019 w 7638"/>
                  <a:gd name="connsiteY1" fmla="*/ 10033 h 11429"/>
                  <a:gd name="connsiteX2" fmla="*/ 0 w 7638"/>
                  <a:gd name="connsiteY2" fmla="*/ 5715 h 11429"/>
                  <a:gd name="connsiteX3" fmla="*/ 1019 w 7638"/>
                  <a:gd name="connsiteY3" fmla="*/ 1397 h 11429"/>
                  <a:gd name="connsiteX4" fmla="*/ 4074 w 7638"/>
                  <a:gd name="connsiteY4" fmla="*/ 0 h 11429"/>
                  <a:gd name="connsiteX5" fmla="*/ 6748 w 7638"/>
                  <a:gd name="connsiteY5" fmla="*/ 1143 h 11429"/>
                  <a:gd name="connsiteX6" fmla="*/ 7639 w 7638"/>
                  <a:gd name="connsiteY6" fmla="*/ 5080 h 11429"/>
                  <a:gd name="connsiteX7" fmla="*/ 7639 w 7638"/>
                  <a:gd name="connsiteY7" fmla="*/ 6223 h 11429"/>
                  <a:gd name="connsiteX8" fmla="*/ 1655 w 7638"/>
                  <a:gd name="connsiteY8" fmla="*/ 6223 h 11429"/>
                  <a:gd name="connsiteX9" fmla="*/ 2292 w 7638"/>
                  <a:gd name="connsiteY9" fmla="*/ 9017 h 11429"/>
                  <a:gd name="connsiteX10" fmla="*/ 4074 w 7638"/>
                  <a:gd name="connsiteY10" fmla="*/ 9906 h 11429"/>
                  <a:gd name="connsiteX11" fmla="*/ 5347 w 7638"/>
                  <a:gd name="connsiteY11" fmla="*/ 9271 h 11429"/>
                  <a:gd name="connsiteX12" fmla="*/ 5856 w 7638"/>
                  <a:gd name="connsiteY12" fmla="*/ 7493 h 11429"/>
                  <a:gd name="connsiteX13" fmla="*/ 7512 w 7638"/>
                  <a:gd name="connsiteY13" fmla="*/ 7493 h 11429"/>
                  <a:gd name="connsiteX14" fmla="*/ 6493 w 7638"/>
                  <a:gd name="connsiteY14" fmla="*/ 10414 h 11429"/>
                  <a:gd name="connsiteX15" fmla="*/ 3947 w 7638"/>
                  <a:gd name="connsiteY15" fmla="*/ 11430 h 11429"/>
                  <a:gd name="connsiteX16" fmla="*/ 1782 w 7638"/>
                  <a:gd name="connsiteY16" fmla="*/ 4699 h 11429"/>
                  <a:gd name="connsiteX17" fmla="*/ 5856 w 7638"/>
                  <a:gd name="connsiteY17" fmla="*/ 4699 h 11429"/>
                  <a:gd name="connsiteX18" fmla="*/ 5347 w 7638"/>
                  <a:gd name="connsiteY18" fmla="*/ 2286 h 11429"/>
                  <a:gd name="connsiteX19" fmla="*/ 3947 w 7638"/>
                  <a:gd name="connsiteY19" fmla="*/ 1524 h 11429"/>
                  <a:gd name="connsiteX20" fmla="*/ 2292 w 7638"/>
                  <a:gd name="connsiteY20" fmla="*/ 2286 h 11429"/>
                  <a:gd name="connsiteX21" fmla="*/ 1655 w 7638"/>
                  <a:gd name="connsiteY21" fmla="*/ 4699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38" h="11429">
                    <a:moveTo>
                      <a:pt x="4074" y="11430"/>
                    </a:moveTo>
                    <a:cubicBezTo>
                      <a:pt x="2673" y="11430"/>
                      <a:pt x="1655" y="10922"/>
                      <a:pt x="1019" y="10033"/>
                    </a:cubicBezTo>
                    <a:cubicBezTo>
                      <a:pt x="382" y="9144"/>
                      <a:pt x="0" y="7620"/>
                      <a:pt x="0" y="5715"/>
                    </a:cubicBezTo>
                    <a:cubicBezTo>
                      <a:pt x="0" y="3810"/>
                      <a:pt x="382" y="2286"/>
                      <a:pt x="1019" y="1397"/>
                    </a:cubicBezTo>
                    <a:cubicBezTo>
                      <a:pt x="1655" y="508"/>
                      <a:pt x="2673" y="0"/>
                      <a:pt x="4074" y="0"/>
                    </a:cubicBezTo>
                    <a:cubicBezTo>
                      <a:pt x="5220" y="0"/>
                      <a:pt x="6111" y="381"/>
                      <a:pt x="6748" y="1143"/>
                    </a:cubicBezTo>
                    <a:cubicBezTo>
                      <a:pt x="7384" y="1905"/>
                      <a:pt x="7639" y="3302"/>
                      <a:pt x="7639" y="5080"/>
                    </a:cubicBezTo>
                    <a:lnTo>
                      <a:pt x="7639" y="6223"/>
                    </a:lnTo>
                    <a:lnTo>
                      <a:pt x="1655" y="6223"/>
                    </a:lnTo>
                    <a:cubicBezTo>
                      <a:pt x="1655" y="7493"/>
                      <a:pt x="1910" y="8382"/>
                      <a:pt x="2292" y="9017"/>
                    </a:cubicBezTo>
                    <a:cubicBezTo>
                      <a:pt x="2673" y="9652"/>
                      <a:pt x="3310" y="9906"/>
                      <a:pt x="4074" y="9906"/>
                    </a:cubicBezTo>
                    <a:cubicBezTo>
                      <a:pt x="4583" y="9906"/>
                      <a:pt x="5092" y="9652"/>
                      <a:pt x="5347" y="9271"/>
                    </a:cubicBezTo>
                    <a:cubicBezTo>
                      <a:pt x="5602" y="8890"/>
                      <a:pt x="5856" y="8255"/>
                      <a:pt x="5856" y="7493"/>
                    </a:cubicBezTo>
                    <a:lnTo>
                      <a:pt x="7512" y="7493"/>
                    </a:lnTo>
                    <a:cubicBezTo>
                      <a:pt x="7512" y="8763"/>
                      <a:pt x="7130" y="9652"/>
                      <a:pt x="6493" y="10414"/>
                    </a:cubicBezTo>
                    <a:cubicBezTo>
                      <a:pt x="5856" y="11176"/>
                      <a:pt x="4965" y="11430"/>
                      <a:pt x="3947" y="11430"/>
                    </a:cubicBezTo>
                    <a:close/>
                    <a:moveTo>
                      <a:pt x="1782" y="4699"/>
                    </a:moveTo>
                    <a:lnTo>
                      <a:pt x="5856" y="4699"/>
                    </a:lnTo>
                    <a:cubicBezTo>
                      <a:pt x="5856" y="3683"/>
                      <a:pt x="5729" y="2921"/>
                      <a:pt x="5347" y="2286"/>
                    </a:cubicBezTo>
                    <a:cubicBezTo>
                      <a:pt x="4965" y="1651"/>
                      <a:pt x="4583" y="1524"/>
                      <a:pt x="3947" y="1524"/>
                    </a:cubicBezTo>
                    <a:cubicBezTo>
                      <a:pt x="3183" y="1524"/>
                      <a:pt x="2673" y="1778"/>
                      <a:pt x="2292" y="2286"/>
                    </a:cubicBezTo>
                    <a:cubicBezTo>
                      <a:pt x="1910" y="2794"/>
                      <a:pt x="1782" y="3556"/>
                      <a:pt x="1655" y="4699"/>
                    </a:cubicBezTo>
                    <a:close/>
                  </a:path>
                </a:pathLst>
              </a:custGeom>
              <a:solidFill>
                <a:srgbClr val="FFFFFF"/>
              </a:solidFill>
              <a:ln w="0" cap="flat">
                <a:noFill/>
                <a:prstDash val="solid"/>
                <a:miter/>
              </a:ln>
            </p:spPr>
            <p:txBody>
              <a:bodyPr rtlCol="0" anchor="ctr"/>
              <a:lstStyle/>
              <a:p>
                <a:endParaRPr lang="en-AD" sz="2400"/>
              </a:p>
            </p:txBody>
          </p:sp>
          <p:sp>
            <p:nvSpPr>
              <p:cNvPr id="146" name="Freeform 145">
                <a:extLst>
                  <a:ext uri="{FF2B5EF4-FFF2-40B4-BE49-F238E27FC236}">
                    <a16:creationId xmlns:a16="http://schemas.microsoft.com/office/drawing/2014/main" id="{518B0942-0181-341E-464D-5A852F8B5C1C}"/>
                  </a:ext>
                </a:extLst>
              </p:cNvPr>
              <p:cNvSpPr/>
              <p:nvPr/>
            </p:nvSpPr>
            <p:spPr>
              <a:xfrm>
                <a:off x="1819590" y="4869053"/>
                <a:ext cx="7002" cy="11429"/>
              </a:xfrm>
              <a:custGeom>
                <a:avLst/>
                <a:gdLst>
                  <a:gd name="connsiteX0" fmla="*/ 3565 w 7002"/>
                  <a:gd name="connsiteY0" fmla="*/ 10922 h 11429"/>
                  <a:gd name="connsiteX1" fmla="*/ 1528 w 7002"/>
                  <a:gd name="connsiteY1" fmla="*/ 10414 h 11429"/>
                  <a:gd name="connsiteX2" fmla="*/ 382 w 7002"/>
                  <a:gd name="connsiteY2" fmla="*/ 9271 h 11429"/>
                  <a:gd name="connsiteX3" fmla="*/ 0 w 7002"/>
                  <a:gd name="connsiteY3" fmla="*/ 7747 h 11429"/>
                  <a:gd name="connsiteX4" fmla="*/ 0 w 7002"/>
                  <a:gd name="connsiteY4" fmla="*/ 7366 h 11429"/>
                  <a:gd name="connsiteX5" fmla="*/ 0 w 7002"/>
                  <a:gd name="connsiteY5" fmla="*/ 7366 h 11429"/>
                  <a:gd name="connsiteX6" fmla="*/ 1782 w 7002"/>
                  <a:gd name="connsiteY6" fmla="*/ 7366 h 11429"/>
                  <a:gd name="connsiteX7" fmla="*/ 1782 w 7002"/>
                  <a:gd name="connsiteY7" fmla="*/ 7620 h 11429"/>
                  <a:gd name="connsiteX8" fmla="*/ 2292 w 7002"/>
                  <a:gd name="connsiteY8" fmla="*/ 9144 h 11429"/>
                  <a:gd name="connsiteX9" fmla="*/ 3565 w 7002"/>
                  <a:gd name="connsiteY9" fmla="*/ 9652 h 11429"/>
                  <a:gd name="connsiteX10" fmla="*/ 4711 w 7002"/>
                  <a:gd name="connsiteY10" fmla="*/ 9271 h 11429"/>
                  <a:gd name="connsiteX11" fmla="*/ 5220 w 7002"/>
                  <a:gd name="connsiteY11" fmla="*/ 8128 h 11429"/>
                  <a:gd name="connsiteX12" fmla="*/ 4838 w 7002"/>
                  <a:gd name="connsiteY12" fmla="*/ 7112 h 11429"/>
                  <a:gd name="connsiteX13" fmla="*/ 3947 w 7002"/>
                  <a:gd name="connsiteY13" fmla="*/ 6477 h 11429"/>
                  <a:gd name="connsiteX14" fmla="*/ 2801 w 7002"/>
                  <a:gd name="connsiteY14" fmla="*/ 5969 h 11429"/>
                  <a:gd name="connsiteX15" fmla="*/ 1655 w 7002"/>
                  <a:gd name="connsiteY15" fmla="*/ 5461 h 11429"/>
                  <a:gd name="connsiteX16" fmla="*/ 764 w 7002"/>
                  <a:gd name="connsiteY16" fmla="*/ 4572 h 11429"/>
                  <a:gd name="connsiteX17" fmla="*/ 382 w 7002"/>
                  <a:gd name="connsiteY17" fmla="*/ 3048 h 11429"/>
                  <a:gd name="connsiteX18" fmla="*/ 764 w 7002"/>
                  <a:gd name="connsiteY18" fmla="*/ 1397 h 11429"/>
                  <a:gd name="connsiteX19" fmla="*/ 1910 w 7002"/>
                  <a:gd name="connsiteY19" fmla="*/ 381 h 11429"/>
                  <a:gd name="connsiteX20" fmla="*/ 3692 w 7002"/>
                  <a:gd name="connsiteY20" fmla="*/ 0 h 11429"/>
                  <a:gd name="connsiteX21" fmla="*/ 5347 w 7002"/>
                  <a:gd name="connsiteY21" fmla="*/ 381 h 11429"/>
                  <a:gd name="connsiteX22" fmla="*/ 6366 w 7002"/>
                  <a:gd name="connsiteY22" fmla="*/ 1524 h 11429"/>
                  <a:gd name="connsiteX23" fmla="*/ 6748 w 7002"/>
                  <a:gd name="connsiteY23" fmla="*/ 3048 h 11429"/>
                  <a:gd name="connsiteX24" fmla="*/ 6748 w 7002"/>
                  <a:gd name="connsiteY24" fmla="*/ 3302 h 11429"/>
                  <a:gd name="connsiteX25" fmla="*/ 6748 w 7002"/>
                  <a:gd name="connsiteY25" fmla="*/ 3429 h 11429"/>
                  <a:gd name="connsiteX26" fmla="*/ 4965 w 7002"/>
                  <a:gd name="connsiteY26" fmla="*/ 3429 h 11429"/>
                  <a:gd name="connsiteX27" fmla="*/ 4583 w 7002"/>
                  <a:gd name="connsiteY27" fmla="*/ 2032 h 11429"/>
                  <a:gd name="connsiteX28" fmla="*/ 3438 w 7002"/>
                  <a:gd name="connsiteY28" fmla="*/ 1524 h 11429"/>
                  <a:gd name="connsiteX29" fmla="*/ 2546 w 7002"/>
                  <a:gd name="connsiteY29" fmla="*/ 1778 h 11429"/>
                  <a:gd name="connsiteX30" fmla="*/ 2164 w 7002"/>
                  <a:gd name="connsiteY30" fmla="*/ 2413 h 11429"/>
                  <a:gd name="connsiteX31" fmla="*/ 2164 w 7002"/>
                  <a:gd name="connsiteY31" fmla="*/ 3048 h 11429"/>
                  <a:gd name="connsiteX32" fmla="*/ 2546 w 7002"/>
                  <a:gd name="connsiteY32" fmla="*/ 3937 h 11429"/>
                  <a:gd name="connsiteX33" fmla="*/ 3438 w 7002"/>
                  <a:gd name="connsiteY33" fmla="*/ 4445 h 11429"/>
                  <a:gd name="connsiteX34" fmla="*/ 4583 w 7002"/>
                  <a:gd name="connsiteY34" fmla="*/ 4826 h 11429"/>
                  <a:gd name="connsiteX35" fmla="*/ 5729 w 7002"/>
                  <a:gd name="connsiteY35" fmla="*/ 5334 h 11429"/>
                  <a:gd name="connsiteX36" fmla="*/ 6620 w 7002"/>
                  <a:gd name="connsiteY36" fmla="*/ 6350 h 11429"/>
                  <a:gd name="connsiteX37" fmla="*/ 7002 w 7002"/>
                  <a:gd name="connsiteY37" fmla="*/ 8001 h 11429"/>
                  <a:gd name="connsiteX38" fmla="*/ 6493 w 7002"/>
                  <a:gd name="connsiteY38" fmla="*/ 9906 h 11429"/>
                  <a:gd name="connsiteX39" fmla="*/ 5220 w 7002"/>
                  <a:gd name="connsiteY39" fmla="*/ 11049 h 11429"/>
                  <a:gd name="connsiteX40" fmla="*/ 3438 w 7002"/>
                  <a:gd name="connsiteY40" fmla="*/ 11430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02" h="11429">
                    <a:moveTo>
                      <a:pt x="3565" y="10922"/>
                    </a:moveTo>
                    <a:cubicBezTo>
                      <a:pt x="2674" y="10922"/>
                      <a:pt x="2037" y="10795"/>
                      <a:pt x="1528" y="10414"/>
                    </a:cubicBezTo>
                    <a:cubicBezTo>
                      <a:pt x="1019" y="10160"/>
                      <a:pt x="637" y="9652"/>
                      <a:pt x="382" y="9271"/>
                    </a:cubicBezTo>
                    <a:cubicBezTo>
                      <a:pt x="127" y="8763"/>
                      <a:pt x="0" y="8255"/>
                      <a:pt x="0" y="7747"/>
                    </a:cubicBezTo>
                    <a:cubicBezTo>
                      <a:pt x="0" y="7620"/>
                      <a:pt x="0" y="7493"/>
                      <a:pt x="0" y="7366"/>
                    </a:cubicBezTo>
                    <a:cubicBezTo>
                      <a:pt x="0" y="7366"/>
                      <a:pt x="0" y="7366"/>
                      <a:pt x="0" y="7366"/>
                    </a:cubicBezTo>
                    <a:lnTo>
                      <a:pt x="1782" y="7366"/>
                    </a:lnTo>
                    <a:lnTo>
                      <a:pt x="1782" y="7620"/>
                    </a:lnTo>
                    <a:cubicBezTo>
                      <a:pt x="1782" y="8255"/>
                      <a:pt x="1910" y="8763"/>
                      <a:pt x="2292" y="9144"/>
                    </a:cubicBezTo>
                    <a:cubicBezTo>
                      <a:pt x="2674" y="9398"/>
                      <a:pt x="3056" y="9652"/>
                      <a:pt x="3565" y="9652"/>
                    </a:cubicBezTo>
                    <a:cubicBezTo>
                      <a:pt x="3947" y="9652"/>
                      <a:pt x="4456" y="9525"/>
                      <a:pt x="4711" y="9271"/>
                    </a:cubicBezTo>
                    <a:cubicBezTo>
                      <a:pt x="4965" y="9017"/>
                      <a:pt x="5220" y="8636"/>
                      <a:pt x="5220" y="8128"/>
                    </a:cubicBezTo>
                    <a:cubicBezTo>
                      <a:pt x="5220" y="7620"/>
                      <a:pt x="5220" y="7366"/>
                      <a:pt x="4838" y="7112"/>
                    </a:cubicBezTo>
                    <a:cubicBezTo>
                      <a:pt x="4456" y="6858"/>
                      <a:pt x="4329" y="6604"/>
                      <a:pt x="3947" y="6477"/>
                    </a:cubicBezTo>
                    <a:cubicBezTo>
                      <a:pt x="3565" y="6350"/>
                      <a:pt x="3183" y="6223"/>
                      <a:pt x="2801" y="5969"/>
                    </a:cubicBezTo>
                    <a:cubicBezTo>
                      <a:pt x="2419" y="5842"/>
                      <a:pt x="1910" y="5588"/>
                      <a:pt x="1655" y="5461"/>
                    </a:cubicBezTo>
                    <a:cubicBezTo>
                      <a:pt x="1273" y="5207"/>
                      <a:pt x="1019" y="4953"/>
                      <a:pt x="764" y="4572"/>
                    </a:cubicBezTo>
                    <a:cubicBezTo>
                      <a:pt x="509" y="4191"/>
                      <a:pt x="382" y="3683"/>
                      <a:pt x="382" y="3048"/>
                    </a:cubicBezTo>
                    <a:cubicBezTo>
                      <a:pt x="382" y="2413"/>
                      <a:pt x="509" y="1778"/>
                      <a:pt x="764" y="1397"/>
                    </a:cubicBezTo>
                    <a:cubicBezTo>
                      <a:pt x="1019" y="889"/>
                      <a:pt x="1400" y="635"/>
                      <a:pt x="1910" y="381"/>
                    </a:cubicBezTo>
                    <a:cubicBezTo>
                      <a:pt x="2419" y="127"/>
                      <a:pt x="3056" y="0"/>
                      <a:pt x="3692" y="0"/>
                    </a:cubicBezTo>
                    <a:cubicBezTo>
                      <a:pt x="4329" y="0"/>
                      <a:pt x="4965" y="127"/>
                      <a:pt x="5347" y="381"/>
                    </a:cubicBezTo>
                    <a:cubicBezTo>
                      <a:pt x="5857" y="635"/>
                      <a:pt x="6111" y="1016"/>
                      <a:pt x="6366" y="1524"/>
                    </a:cubicBezTo>
                    <a:cubicBezTo>
                      <a:pt x="6620" y="2032"/>
                      <a:pt x="6748" y="2540"/>
                      <a:pt x="6748" y="3048"/>
                    </a:cubicBezTo>
                    <a:cubicBezTo>
                      <a:pt x="6748" y="3048"/>
                      <a:pt x="6748" y="3175"/>
                      <a:pt x="6748" y="3302"/>
                    </a:cubicBezTo>
                    <a:cubicBezTo>
                      <a:pt x="6748" y="3302"/>
                      <a:pt x="6748" y="3429"/>
                      <a:pt x="6748" y="3429"/>
                    </a:cubicBezTo>
                    <a:lnTo>
                      <a:pt x="4965" y="3429"/>
                    </a:lnTo>
                    <a:cubicBezTo>
                      <a:pt x="4965" y="3429"/>
                      <a:pt x="4965" y="2413"/>
                      <a:pt x="4583" y="2032"/>
                    </a:cubicBezTo>
                    <a:cubicBezTo>
                      <a:pt x="4329" y="1651"/>
                      <a:pt x="3947" y="1524"/>
                      <a:pt x="3438" y="1524"/>
                    </a:cubicBezTo>
                    <a:cubicBezTo>
                      <a:pt x="3056" y="1524"/>
                      <a:pt x="2674" y="1524"/>
                      <a:pt x="2546" y="1778"/>
                    </a:cubicBezTo>
                    <a:cubicBezTo>
                      <a:pt x="2292" y="1905"/>
                      <a:pt x="2164" y="2159"/>
                      <a:pt x="2164" y="2413"/>
                    </a:cubicBezTo>
                    <a:cubicBezTo>
                      <a:pt x="2164" y="2667"/>
                      <a:pt x="2164" y="2921"/>
                      <a:pt x="2164" y="3048"/>
                    </a:cubicBezTo>
                    <a:cubicBezTo>
                      <a:pt x="2164" y="3429"/>
                      <a:pt x="2164" y="3810"/>
                      <a:pt x="2546" y="3937"/>
                    </a:cubicBezTo>
                    <a:cubicBezTo>
                      <a:pt x="2801" y="4191"/>
                      <a:pt x="3056" y="4318"/>
                      <a:pt x="3438" y="4445"/>
                    </a:cubicBezTo>
                    <a:cubicBezTo>
                      <a:pt x="3819" y="4572"/>
                      <a:pt x="4201" y="4699"/>
                      <a:pt x="4583" y="4826"/>
                    </a:cubicBezTo>
                    <a:cubicBezTo>
                      <a:pt x="4965" y="4953"/>
                      <a:pt x="5475" y="5207"/>
                      <a:pt x="5729" y="5334"/>
                    </a:cubicBezTo>
                    <a:cubicBezTo>
                      <a:pt x="6111" y="5588"/>
                      <a:pt x="6366" y="5842"/>
                      <a:pt x="6620" y="6350"/>
                    </a:cubicBezTo>
                    <a:cubicBezTo>
                      <a:pt x="6875" y="6731"/>
                      <a:pt x="7002" y="7366"/>
                      <a:pt x="7002" y="8001"/>
                    </a:cubicBezTo>
                    <a:cubicBezTo>
                      <a:pt x="7002" y="8763"/>
                      <a:pt x="6875" y="9398"/>
                      <a:pt x="6493" y="9906"/>
                    </a:cubicBezTo>
                    <a:cubicBezTo>
                      <a:pt x="6238" y="10414"/>
                      <a:pt x="5729" y="10795"/>
                      <a:pt x="5220" y="11049"/>
                    </a:cubicBezTo>
                    <a:cubicBezTo>
                      <a:pt x="4711" y="11303"/>
                      <a:pt x="4074" y="11430"/>
                      <a:pt x="3438" y="11430"/>
                    </a:cubicBezTo>
                    <a:close/>
                  </a:path>
                </a:pathLst>
              </a:custGeom>
              <a:solidFill>
                <a:srgbClr val="FFFFFF"/>
              </a:solidFill>
              <a:ln w="0" cap="flat">
                <a:noFill/>
                <a:prstDash val="solid"/>
                <a:miter/>
              </a:ln>
            </p:spPr>
            <p:txBody>
              <a:bodyPr rtlCol="0" anchor="ctr"/>
              <a:lstStyle/>
              <a:p>
                <a:endParaRPr lang="en-AD" sz="2400"/>
              </a:p>
            </p:txBody>
          </p:sp>
          <p:sp>
            <p:nvSpPr>
              <p:cNvPr id="147" name="Freeform 146">
                <a:extLst>
                  <a:ext uri="{FF2B5EF4-FFF2-40B4-BE49-F238E27FC236}">
                    <a16:creationId xmlns:a16="http://schemas.microsoft.com/office/drawing/2014/main" id="{A0F4A810-1619-2DDB-F336-96F732D0D907}"/>
                  </a:ext>
                </a:extLst>
              </p:cNvPr>
              <p:cNvSpPr/>
              <p:nvPr/>
            </p:nvSpPr>
            <p:spPr>
              <a:xfrm>
                <a:off x="1651366" y="4541317"/>
                <a:ext cx="229474" cy="213509"/>
              </a:xfrm>
              <a:custGeom>
                <a:avLst/>
                <a:gdLst>
                  <a:gd name="connsiteX0" fmla="*/ 201835 w 229474"/>
                  <a:gd name="connsiteY0" fmla="*/ 159333 h 213509"/>
                  <a:gd name="connsiteX1" fmla="*/ 159440 w 229474"/>
                  <a:gd name="connsiteY1" fmla="*/ 140283 h 213509"/>
                  <a:gd name="connsiteX2" fmla="*/ 146454 w 229474"/>
                  <a:gd name="connsiteY2" fmla="*/ 108660 h 213509"/>
                  <a:gd name="connsiteX3" fmla="*/ 110933 w 229474"/>
                  <a:gd name="connsiteY3" fmla="*/ 75386 h 213509"/>
                  <a:gd name="connsiteX4" fmla="*/ 98074 w 229474"/>
                  <a:gd name="connsiteY4" fmla="*/ 44271 h 213509"/>
                  <a:gd name="connsiteX5" fmla="*/ 64591 w 229474"/>
                  <a:gd name="connsiteY5" fmla="*/ 4012 h 213509"/>
                  <a:gd name="connsiteX6" fmla="*/ 52878 w 229474"/>
                  <a:gd name="connsiteY6" fmla="*/ 1726 h 213509"/>
                  <a:gd name="connsiteX7" fmla="*/ 59625 w 229474"/>
                  <a:gd name="connsiteY7" fmla="*/ 15188 h 213509"/>
                  <a:gd name="connsiteX8" fmla="*/ 16084 w 229474"/>
                  <a:gd name="connsiteY8" fmla="*/ 60654 h 213509"/>
                  <a:gd name="connsiteX9" fmla="*/ 10991 w 229474"/>
                  <a:gd name="connsiteY9" fmla="*/ 57352 h 213509"/>
                  <a:gd name="connsiteX10" fmla="*/ 297 w 229474"/>
                  <a:gd name="connsiteY10" fmla="*/ 59765 h 213509"/>
                  <a:gd name="connsiteX11" fmla="*/ 29197 w 229474"/>
                  <a:gd name="connsiteY11" fmla="*/ 75894 h 213509"/>
                  <a:gd name="connsiteX12" fmla="*/ 70065 w 229474"/>
                  <a:gd name="connsiteY12" fmla="*/ 79069 h 213509"/>
                  <a:gd name="connsiteX13" fmla="*/ 78977 w 229474"/>
                  <a:gd name="connsiteY13" fmla="*/ 84784 h 213509"/>
                  <a:gd name="connsiteX14" fmla="*/ 90563 w 229474"/>
                  <a:gd name="connsiteY14" fmla="*/ 99262 h 213509"/>
                  <a:gd name="connsiteX15" fmla="*/ 98074 w 229474"/>
                  <a:gd name="connsiteY15" fmla="*/ 139013 h 213509"/>
                  <a:gd name="connsiteX16" fmla="*/ 86998 w 229474"/>
                  <a:gd name="connsiteY16" fmla="*/ 142823 h 213509"/>
                  <a:gd name="connsiteX17" fmla="*/ 78977 w 229474"/>
                  <a:gd name="connsiteY17" fmla="*/ 157809 h 213509"/>
                  <a:gd name="connsiteX18" fmla="*/ 96674 w 229474"/>
                  <a:gd name="connsiteY18" fmla="*/ 157809 h 213509"/>
                  <a:gd name="connsiteX19" fmla="*/ 108132 w 229474"/>
                  <a:gd name="connsiteY19" fmla="*/ 143839 h 213509"/>
                  <a:gd name="connsiteX20" fmla="*/ 123155 w 229474"/>
                  <a:gd name="connsiteY20" fmla="*/ 147141 h 213509"/>
                  <a:gd name="connsiteX21" fmla="*/ 141106 w 229474"/>
                  <a:gd name="connsiteY21" fmla="*/ 163524 h 213509"/>
                  <a:gd name="connsiteX22" fmla="*/ 142380 w 229474"/>
                  <a:gd name="connsiteY22" fmla="*/ 173430 h 213509"/>
                  <a:gd name="connsiteX23" fmla="*/ 145690 w 229474"/>
                  <a:gd name="connsiteY23" fmla="*/ 198830 h 213509"/>
                  <a:gd name="connsiteX24" fmla="*/ 146454 w 229474"/>
                  <a:gd name="connsiteY24" fmla="*/ 213435 h 213509"/>
                  <a:gd name="connsiteX25" fmla="*/ 160076 w 229474"/>
                  <a:gd name="connsiteY25" fmla="*/ 179907 h 213509"/>
                  <a:gd name="connsiteX26" fmla="*/ 164532 w 229474"/>
                  <a:gd name="connsiteY26" fmla="*/ 174065 h 213509"/>
                  <a:gd name="connsiteX27" fmla="*/ 195215 w 229474"/>
                  <a:gd name="connsiteY27" fmla="*/ 164159 h 213509"/>
                  <a:gd name="connsiteX28" fmla="*/ 206546 w 229474"/>
                  <a:gd name="connsiteY28" fmla="*/ 174065 h 213509"/>
                  <a:gd name="connsiteX29" fmla="*/ 228572 w 229474"/>
                  <a:gd name="connsiteY29" fmla="*/ 191718 h 213509"/>
                  <a:gd name="connsiteX30" fmla="*/ 201708 w 229474"/>
                  <a:gd name="connsiteY30" fmla="*/ 159587 h 213509"/>
                  <a:gd name="connsiteX31" fmla="*/ 26524 w 229474"/>
                  <a:gd name="connsiteY31" fmla="*/ 64972 h 213509"/>
                  <a:gd name="connsiteX32" fmla="*/ 24105 w 229474"/>
                  <a:gd name="connsiteY32" fmla="*/ 63702 h 213509"/>
                  <a:gd name="connsiteX33" fmla="*/ 65609 w 229474"/>
                  <a:gd name="connsiteY33" fmla="*/ 20522 h 213509"/>
                  <a:gd name="connsiteX34" fmla="*/ 77195 w 229474"/>
                  <a:gd name="connsiteY34" fmla="*/ 32206 h 213509"/>
                  <a:gd name="connsiteX35" fmla="*/ 26651 w 229474"/>
                  <a:gd name="connsiteY35" fmla="*/ 64972 h 213509"/>
                  <a:gd name="connsiteX36" fmla="*/ 35818 w 229474"/>
                  <a:gd name="connsiteY36" fmla="*/ 68020 h 213509"/>
                  <a:gd name="connsiteX37" fmla="*/ 82287 w 229474"/>
                  <a:gd name="connsiteY37" fmla="*/ 40334 h 213509"/>
                  <a:gd name="connsiteX38" fmla="*/ 92345 w 229474"/>
                  <a:gd name="connsiteY38" fmla="*/ 54558 h 213509"/>
                  <a:gd name="connsiteX39" fmla="*/ 42438 w 229474"/>
                  <a:gd name="connsiteY39" fmla="*/ 69798 h 213509"/>
                  <a:gd name="connsiteX40" fmla="*/ 35818 w 229474"/>
                  <a:gd name="connsiteY40" fmla="*/ 68020 h 213509"/>
                  <a:gd name="connsiteX41" fmla="*/ 60135 w 229474"/>
                  <a:gd name="connsiteY41" fmla="*/ 71957 h 213509"/>
                  <a:gd name="connsiteX42" fmla="*/ 96037 w 229474"/>
                  <a:gd name="connsiteY42" fmla="*/ 62813 h 213509"/>
                  <a:gd name="connsiteX43" fmla="*/ 100621 w 229474"/>
                  <a:gd name="connsiteY43" fmla="*/ 72973 h 213509"/>
                  <a:gd name="connsiteX44" fmla="*/ 83051 w 229474"/>
                  <a:gd name="connsiteY44" fmla="*/ 71957 h 213509"/>
                  <a:gd name="connsiteX45" fmla="*/ 60135 w 229474"/>
                  <a:gd name="connsiteY45" fmla="*/ 71957 h 213509"/>
                  <a:gd name="connsiteX46" fmla="*/ 82797 w 229474"/>
                  <a:gd name="connsiteY46" fmla="*/ 79069 h 213509"/>
                  <a:gd name="connsiteX47" fmla="*/ 96419 w 229474"/>
                  <a:gd name="connsiteY47" fmla="*/ 80466 h 213509"/>
                  <a:gd name="connsiteX48" fmla="*/ 103931 w 229474"/>
                  <a:gd name="connsiteY48" fmla="*/ 82371 h 213509"/>
                  <a:gd name="connsiteX49" fmla="*/ 105331 w 229474"/>
                  <a:gd name="connsiteY49" fmla="*/ 92150 h 213509"/>
                  <a:gd name="connsiteX50" fmla="*/ 82797 w 229474"/>
                  <a:gd name="connsiteY50" fmla="*/ 79069 h 213509"/>
                  <a:gd name="connsiteX51" fmla="*/ 101766 w 229474"/>
                  <a:gd name="connsiteY51" fmla="*/ 130758 h 213509"/>
                  <a:gd name="connsiteX52" fmla="*/ 97310 w 229474"/>
                  <a:gd name="connsiteY52" fmla="*/ 108279 h 213509"/>
                  <a:gd name="connsiteX53" fmla="*/ 105331 w 229474"/>
                  <a:gd name="connsiteY53" fmla="*/ 117677 h 213509"/>
                  <a:gd name="connsiteX54" fmla="*/ 101766 w 229474"/>
                  <a:gd name="connsiteY54" fmla="*/ 130758 h 213509"/>
                  <a:gd name="connsiteX55" fmla="*/ 106095 w 229474"/>
                  <a:gd name="connsiteY55" fmla="*/ 110057 h 213509"/>
                  <a:gd name="connsiteX56" fmla="*/ 92345 w 229474"/>
                  <a:gd name="connsiteY56" fmla="*/ 92531 h 213509"/>
                  <a:gd name="connsiteX57" fmla="*/ 106095 w 229474"/>
                  <a:gd name="connsiteY57" fmla="*/ 99770 h 213509"/>
                  <a:gd name="connsiteX58" fmla="*/ 106095 w 229474"/>
                  <a:gd name="connsiteY58" fmla="*/ 109930 h 213509"/>
                  <a:gd name="connsiteX59" fmla="*/ 135250 w 229474"/>
                  <a:gd name="connsiteY59" fmla="*/ 105739 h 213509"/>
                  <a:gd name="connsiteX60" fmla="*/ 115898 w 229474"/>
                  <a:gd name="connsiteY60" fmla="*/ 118058 h 213509"/>
                  <a:gd name="connsiteX61" fmla="*/ 115898 w 229474"/>
                  <a:gd name="connsiteY61" fmla="*/ 106755 h 213509"/>
                  <a:gd name="connsiteX62" fmla="*/ 127611 w 229474"/>
                  <a:gd name="connsiteY62" fmla="*/ 97230 h 213509"/>
                  <a:gd name="connsiteX63" fmla="*/ 135123 w 229474"/>
                  <a:gd name="connsiteY63" fmla="*/ 105739 h 213509"/>
                  <a:gd name="connsiteX64" fmla="*/ 122901 w 229474"/>
                  <a:gd name="connsiteY64" fmla="*/ 93674 h 213509"/>
                  <a:gd name="connsiteX65" fmla="*/ 115898 w 229474"/>
                  <a:gd name="connsiteY65" fmla="*/ 99262 h 213509"/>
                  <a:gd name="connsiteX66" fmla="*/ 114243 w 229474"/>
                  <a:gd name="connsiteY66" fmla="*/ 88086 h 213509"/>
                  <a:gd name="connsiteX67" fmla="*/ 122773 w 229474"/>
                  <a:gd name="connsiteY67" fmla="*/ 93674 h 213509"/>
                  <a:gd name="connsiteX68" fmla="*/ 114243 w 229474"/>
                  <a:gd name="connsiteY68" fmla="*/ 126440 h 213509"/>
                  <a:gd name="connsiteX69" fmla="*/ 139579 w 229474"/>
                  <a:gd name="connsiteY69" fmla="*/ 112089 h 213509"/>
                  <a:gd name="connsiteX70" fmla="*/ 144926 w 229474"/>
                  <a:gd name="connsiteY70" fmla="*/ 121360 h 213509"/>
                  <a:gd name="connsiteX71" fmla="*/ 114371 w 229474"/>
                  <a:gd name="connsiteY71" fmla="*/ 130631 h 213509"/>
                  <a:gd name="connsiteX72" fmla="*/ 114371 w 229474"/>
                  <a:gd name="connsiteY72" fmla="*/ 126313 h 213509"/>
                  <a:gd name="connsiteX73" fmla="*/ 116917 w 229474"/>
                  <a:gd name="connsiteY73" fmla="*/ 135711 h 213509"/>
                  <a:gd name="connsiteX74" fmla="*/ 147854 w 229474"/>
                  <a:gd name="connsiteY74" fmla="*/ 127456 h 213509"/>
                  <a:gd name="connsiteX75" fmla="*/ 152056 w 229474"/>
                  <a:gd name="connsiteY75" fmla="*/ 139013 h 213509"/>
                  <a:gd name="connsiteX76" fmla="*/ 116917 w 229474"/>
                  <a:gd name="connsiteY76" fmla="*/ 135584 h 213509"/>
                  <a:gd name="connsiteX77" fmla="*/ 149255 w 229474"/>
                  <a:gd name="connsiteY77" fmla="*/ 190321 h 213509"/>
                  <a:gd name="connsiteX78" fmla="*/ 146581 w 229474"/>
                  <a:gd name="connsiteY78" fmla="*/ 169112 h 213509"/>
                  <a:gd name="connsiteX79" fmla="*/ 152947 w 229474"/>
                  <a:gd name="connsiteY79" fmla="*/ 175208 h 213509"/>
                  <a:gd name="connsiteX80" fmla="*/ 149255 w 229474"/>
                  <a:gd name="connsiteY80" fmla="*/ 190321 h 213509"/>
                  <a:gd name="connsiteX81" fmla="*/ 153965 w 229474"/>
                  <a:gd name="connsiteY81" fmla="*/ 169112 h 213509"/>
                  <a:gd name="connsiteX82" fmla="*/ 137669 w 229474"/>
                  <a:gd name="connsiteY82" fmla="*/ 153618 h 213509"/>
                  <a:gd name="connsiteX83" fmla="*/ 153965 w 229474"/>
                  <a:gd name="connsiteY83" fmla="*/ 160095 h 213509"/>
                  <a:gd name="connsiteX84" fmla="*/ 153965 w 229474"/>
                  <a:gd name="connsiteY84" fmla="*/ 169112 h 213509"/>
                  <a:gd name="connsiteX85" fmla="*/ 153965 w 229474"/>
                  <a:gd name="connsiteY85" fmla="*/ 154126 h 213509"/>
                  <a:gd name="connsiteX86" fmla="*/ 128630 w 229474"/>
                  <a:gd name="connsiteY86" fmla="*/ 142823 h 213509"/>
                  <a:gd name="connsiteX87" fmla="*/ 144799 w 229474"/>
                  <a:gd name="connsiteY87" fmla="*/ 143712 h 213509"/>
                  <a:gd name="connsiteX88" fmla="*/ 153965 w 229474"/>
                  <a:gd name="connsiteY88" fmla="*/ 145998 h 213509"/>
                  <a:gd name="connsiteX89" fmla="*/ 153965 w 229474"/>
                  <a:gd name="connsiteY89" fmla="*/ 153999 h 213509"/>
                  <a:gd name="connsiteX90" fmla="*/ 161732 w 229474"/>
                  <a:gd name="connsiteY90" fmla="*/ 167842 h 213509"/>
                  <a:gd name="connsiteX91" fmla="*/ 161732 w 229474"/>
                  <a:gd name="connsiteY91" fmla="*/ 160730 h 213509"/>
                  <a:gd name="connsiteX92" fmla="*/ 160713 w 229474"/>
                  <a:gd name="connsiteY92" fmla="*/ 147776 h 213509"/>
                  <a:gd name="connsiteX93" fmla="*/ 166951 w 229474"/>
                  <a:gd name="connsiteY93" fmla="*/ 148919 h 213509"/>
                  <a:gd name="connsiteX94" fmla="*/ 173190 w 229474"/>
                  <a:gd name="connsiteY94" fmla="*/ 151967 h 213509"/>
                  <a:gd name="connsiteX95" fmla="*/ 161604 w 229474"/>
                  <a:gd name="connsiteY95" fmla="*/ 167842 h 213509"/>
                  <a:gd name="connsiteX96" fmla="*/ 170389 w 229474"/>
                  <a:gd name="connsiteY96" fmla="*/ 166953 h 213509"/>
                  <a:gd name="connsiteX97" fmla="*/ 179555 w 229474"/>
                  <a:gd name="connsiteY97" fmla="*/ 155015 h 213509"/>
                  <a:gd name="connsiteX98" fmla="*/ 189104 w 229474"/>
                  <a:gd name="connsiteY98" fmla="*/ 160095 h 213509"/>
                  <a:gd name="connsiteX99" fmla="*/ 170389 w 229474"/>
                  <a:gd name="connsiteY99" fmla="*/ 167080 h 21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474" h="213509">
                    <a:moveTo>
                      <a:pt x="201835" y="159333"/>
                    </a:moveTo>
                    <a:cubicBezTo>
                      <a:pt x="185539" y="147776"/>
                      <a:pt x="159440" y="140283"/>
                      <a:pt x="159440" y="140283"/>
                    </a:cubicBezTo>
                    <a:cubicBezTo>
                      <a:pt x="159440" y="140283"/>
                      <a:pt x="154475" y="124154"/>
                      <a:pt x="146454" y="108660"/>
                    </a:cubicBezTo>
                    <a:cubicBezTo>
                      <a:pt x="136014" y="88086"/>
                      <a:pt x="110933" y="75386"/>
                      <a:pt x="110933" y="75386"/>
                    </a:cubicBezTo>
                    <a:cubicBezTo>
                      <a:pt x="110933" y="75386"/>
                      <a:pt x="103931" y="56082"/>
                      <a:pt x="98074" y="44271"/>
                    </a:cubicBezTo>
                    <a:cubicBezTo>
                      <a:pt x="89417" y="26999"/>
                      <a:pt x="68028" y="6679"/>
                      <a:pt x="64591" y="4012"/>
                    </a:cubicBezTo>
                    <a:cubicBezTo>
                      <a:pt x="61408" y="1472"/>
                      <a:pt x="56697" y="-2211"/>
                      <a:pt x="52878" y="1726"/>
                    </a:cubicBezTo>
                    <a:cubicBezTo>
                      <a:pt x="49058" y="5536"/>
                      <a:pt x="59625" y="15188"/>
                      <a:pt x="59625" y="15188"/>
                    </a:cubicBezTo>
                    <a:lnTo>
                      <a:pt x="16084" y="60654"/>
                    </a:lnTo>
                    <a:cubicBezTo>
                      <a:pt x="16084" y="60654"/>
                      <a:pt x="13410" y="58368"/>
                      <a:pt x="10991" y="57352"/>
                    </a:cubicBezTo>
                    <a:cubicBezTo>
                      <a:pt x="8572" y="56336"/>
                      <a:pt x="2461" y="54431"/>
                      <a:pt x="297" y="59765"/>
                    </a:cubicBezTo>
                    <a:cubicBezTo>
                      <a:pt x="-1868" y="65226"/>
                      <a:pt x="7809" y="71957"/>
                      <a:pt x="29197" y="75894"/>
                    </a:cubicBezTo>
                    <a:cubicBezTo>
                      <a:pt x="50586" y="79704"/>
                      <a:pt x="70065" y="79069"/>
                      <a:pt x="70065" y="79069"/>
                    </a:cubicBezTo>
                    <a:cubicBezTo>
                      <a:pt x="70065" y="79069"/>
                      <a:pt x="73630" y="81228"/>
                      <a:pt x="78977" y="84784"/>
                    </a:cubicBezTo>
                    <a:cubicBezTo>
                      <a:pt x="84452" y="88467"/>
                      <a:pt x="89035" y="97611"/>
                      <a:pt x="90563" y="99262"/>
                    </a:cubicBezTo>
                    <a:cubicBezTo>
                      <a:pt x="92091" y="100913"/>
                      <a:pt x="98074" y="139013"/>
                      <a:pt x="98074" y="139013"/>
                    </a:cubicBezTo>
                    <a:cubicBezTo>
                      <a:pt x="98074" y="139013"/>
                      <a:pt x="92600" y="139902"/>
                      <a:pt x="86998" y="142823"/>
                    </a:cubicBezTo>
                    <a:cubicBezTo>
                      <a:pt x="81523" y="145617"/>
                      <a:pt x="75412" y="151967"/>
                      <a:pt x="78977" y="157809"/>
                    </a:cubicBezTo>
                    <a:cubicBezTo>
                      <a:pt x="82542" y="163651"/>
                      <a:pt x="89290" y="162635"/>
                      <a:pt x="96674" y="157809"/>
                    </a:cubicBezTo>
                    <a:cubicBezTo>
                      <a:pt x="103931" y="152983"/>
                      <a:pt x="108132" y="143839"/>
                      <a:pt x="108132" y="143839"/>
                    </a:cubicBezTo>
                    <a:cubicBezTo>
                      <a:pt x="108132" y="143839"/>
                      <a:pt x="116280" y="143458"/>
                      <a:pt x="123155" y="147141"/>
                    </a:cubicBezTo>
                    <a:cubicBezTo>
                      <a:pt x="130030" y="150824"/>
                      <a:pt x="141106" y="163524"/>
                      <a:pt x="141106" y="163524"/>
                    </a:cubicBezTo>
                    <a:cubicBezTo>
                      <a:pt x="141106" y="163524"/>
                      <a:pt x="141616" y="166445"/>
                      <a:pt x="142380" y="173430"/>
                    </a:cubicBezTo>
                    <a:cubicBezTo>
                      <a:pt x="143144" y="180415"/>
                      <a:pt x="145690" y="198830"/>
                      <a:pt x="145690" y="198830"/>
                    </a:cubicBezTo>
                    <a:cubicBezTo>
                      <a:pt x="145690" y="198830"/>
                      <a:pt x="137160" y="211530"/>
                      <a:pt x="146454" y="213435"/>
                    </a:cubicBezTo>
                    <a:cubicBezTo>
                      <a:pt x="155620" y="215340"/>
                      <a:pt x="160076" y="179907"/>
                      <a:pt x="160076" y="179907"/>
                    </a:cubicBezTo>
                    <a:cubicBezTo>
                      <a:pt x="160076" y="179907"/>
                      <a:pt x="162113" y="174700"/>
                      <a:pt x="164532" y="174065"/>
                    </a:cubicBezTo>
                    <a:cubicBezTo>
                      <a:pt x="166951" y="173430"/>
                      <a:pt x="195215" y="164159"/>
                      <a:pt x="195215" y="164159"/>
                    </a:cubicBezTo>
                    <a:cubicBezTo>
                      <a:pt x="195215" y="164159"/>
                      <a:pt x="198143" y="167080"/>
                      <a:pt x="206546" y="174065"/>
                    </a:cubicBezTo>
                    <a:cubicBezTo>
                      <a:pt x="214949" y="181050"/>
                      <a:pt x="223606" y="196544"/>
                      <a:pt x="228572" y="191718"/>
                    </a:cubicBezTo>
                    <a:cubicBezTo>
                      <a:pt x="233409" y="186892"/>
                      <a:pt x="218004" y="171017"/>
                      <a:pt x="201708" y="159587"/>
                    </a:cubicBezTo>
                    <a:close/>
                    <a:moveTo>
                      <a:pt x="26524" y="64972"/>
                    </a:moveTo>
                    <a:lnTo>
                      <a:pt x="24105" y="63702"/>
                    </a:lnTo>
                    <a:lnTo>
                      <a:pt x="65609" y="20522"/>
                    </a:lnTo>
                    <a:lnTo>
                      <a:pt x="77195" y="32206"/>
                    </a:lnTo>
                    <a:lnTo>
                      <a:pt x="26651" y="64972"/>
                    </a:lnTo>
                    <a:close/>
                    <a:moveTo>
                      <a:pt x="35818" y="68020"/>
                    </a:moveTo>
                    <a:lnTo>
                      <a:pt x="82287" y="40334"/>
                    </a:lnTo>
                    <a:lnTo>
                      <a:pt x="92345" y="54558"/>
                    </a:lnTo>
                    <a:lnTo>
                      <a:pt x="42438" y="69798"/>
                    </a:lnTo>
                    <a:lnTo>
                      <a:pt x="35818" y="68020"/>
                    </a:lnTo>
                    <a:close/>
                    <a:moveTo>
                      <a:pt x="60135" y="71957"/>
                    </a:moveTo>
                    <a:lnTo>
                      <a:pt x="96037" y="62813"/>
                    </a:lnTo>
                    <a:lnTo>
                      <a:pt x="100621" y="72973"/>
                    </a:lnTo>
                    <a:cubicBezTo>
                      <a:pt x="100621" y="72973"/>
                      <a:pt x="92091" y="72592"/>
                      <a:pt x="83051" y="71957"/>
                    </a:cubicBezTo>
                    <a:cubicBezTo>
                      <a:pt x="74139" y="71195"/>
                      <a:pt x="60135" y="71957"/>
                      <a:pt x="60135" y="71957"/>
                    </a:cubicBezTo>
                    <a:close/>
                    <a:moveTo>
                      <a:pt x="82797" y="79069"/>
                    </a:moveTo>
                    <a:cubicBezTo>
                      <a:pt x="82797" y="79069"/>
                      <a:pt x="91327" y="79450"/>
                      <a:pt x="96419" y="80466"/>
                    </a:cubicBezTo>
                    <a:cubicBezTo>
                      <a:pt x="101512" y="81482"/>
                      <a:pt x="103931" y="82371"/>
                      <a:pt x="103931" y="82371"/>
                    </a:cubicBezTo>
                    <a:lnTo>
                      <a:pt x="105331" y="92150"/>
                    </a:lnTo>
                    <a:lnTo>
                      <a:pt x="82797" y="79069"/>
                    </a:lnTo>
                    <a:close/>
                    <a:moveTo>
                      <a:pt x="101766" y="130758"/>
                    </a:moveTo>
                    <a:lnTo>
                      <a:pt x="97310" y="108279"/>
                    </a:lnTo>
                    <a:lnTo>
                      <a:pt x="105331" y="117677"/>
                    </a:lnTo>
                    <a:lnTo>
                      <a:pt x="101766" y="130758"/>
                    </a:lnTo>
                    <a:close/>
                    <a:moveTo>
                      <a:pt x="106095" y="110057"/>
                    </a:moveTo>
                    <a:lnTo>
                      <a:pt x="92345" y="92531"/>
                    </a:lnTo>
                    <a:lnTo>
                      <a:pt x="106095" y="99770"/>
                    </a:lnTo>
                    <a:lnTo>
                      <a:pt x="106095" y="109930"/>
                    </a:lnTo>
                    <a:close/>
                    <a:moveTo>
                      <a:pt x="135250" y="105739"/>
                    </a:moveTo>
                    <a:lnTo>
                      <a:pt x="115898" y="118058"/>
                    </a:lnTo>
                    <a:lnTo>
                      <a:pt x="115898" y="106755"/>
                    </a:lnTo>
                    <a:lnTo>
                      <a:pt x="127611" y="97230"/>
                    </a:lnTo>
                    <a:lnTo>
                      <a:pt x="135123" y="105739"/>
                    </a:lnTo>
                    <a:close/>
                    <a:moveTo>
                      <a:pt x="122901" y="93674"/>
                    </a:moveTo>
                    <a:lnTo>
                      <a:pt x="115898" y="99262"/>
                    </a:lnTo>
                    <a:lnTo>
                      <a:pt x="114243" y="88086"/>
                    </a:lnTo>
                    <a:lnTo>
                      <a:pt x="122773" y="93674"/>
                    </a:lnTo>
                    <a:close/>
                    <a:moveTo>
                      <a:pt x="114243" y="126440"/>
                    </a:moveTo>
                    <a:lnTo>
                      <a:pt x="139579" y="112089"/>
                    </a:lnTo>
                    <a:lnTo>
                      <a:pt x="144926" y="121360"/>
                    </a:lnTo>
                    <a:lnTo>
                      <a:pt x="114371" y="130631"/>
                    </a:lnTo>
                    <a:lnTo>
                      <a:pt x="114371" y="126313"/>
                    </a:lnTo>
                    <a:close/>
                    <a:moveTo>
                      <a:pt x="116917" y="135711"/>
                    </a:moveTo>
                    <a:lnTo>
                      <a:pt x="147854" y="127456"/>
                    </a:lnTo>
                    <a:lnTo>
                      <a:pt x="152056" y="139013"/>
                    </a:lnTo>
                    <a:lnTo>
                      <a:pt x="116917" y="135584"/>
                    </a:lnTo>
                    <a:close/>
                    <a:moveTo>
                      <a:pt x="149255" y="190321"/>
                    </a:moveTo>
                    <a:lnTo>
                      <a:pt x="146581" y="169112"/>
                    </a:lnTo>
                    <a:lnTo>
                      <a:pt x="152947" y="175208"/>
                    </a:lnTo>
                    <a:lnTo>
                      <a:pt x="149255" y="190321"/>
                    </a:lnTo>
                    <a:close/>
                    <a:moveTo>
                      <a:pt x="153965" y="169112"/>
                    </a:moveTo>
                    <a:lnTo>
                      <a:pt x="137669" y="153618"/>
                    </a:lnTo>
                    <a:lnTo>
                      <a:pt x="153965" y="160095"/>
                    </a:lnTo>
                    <a:lnTo>
                      <a:pt x="153965" y="169112"/>
                    </a:lnTo>
                    <a:close/>
                    <a:moveTo>
                      <a:pt x="153965" y="154126"/>
                    </a:moveTo>
                    <a:lnTo>
                      <a:pt x="128630" y="142823"/>
                    </a:lnTo>
                    <a:cubicBezTo>
                      <a:pt x="128630" y="142823"/>
                      <a:pt x="139579" y="142823"/>
                      <a:pt x="144799" y="143712"/>
                    </a:cubicBezTo>
                    <a:cubicBezTo>
                      <a:pt x="150019" y="144474"/>
                      <a:pt x="153965" y="145998"/>
                      <a:pt x="153965" y="145998"/>
                    </a:cubicBezTo>
                    <a:lnTo>
                      <a:pt x="153965" y="153999"/>
                    </a:lnTo>
                    <a:close/>
                    <a:moveTo>
                      <a:pt x="161732" y="167842"/>
                    </a:moveTo>
                    <a:lnTo>
                      <a:pt x="161732" y="160730"/>
                    </a:lnTo>
                    <a:cubicBezTo>
                      <a:pt x="161732" y="157555"/>
                      <a:pt x="160713" y="147776"/>
                      <a:pt x="160713" y="147776"/>
                    </a:cubicBezTo>
                    <a:cubicBezTo>
                      <a:pt x="160713" y="147776"/>
                      <a:pt x="162495" y="147395"/>
                      <a:pt x="166951" y="148919"/>
                    </a:cubicBezTo>
                    <a:cubicBezTo>
                      <a:pt x="171407" y="150443"/>
                      <a:pt x="173190" y="151967"/>
                      <a:pt x="173190" y="151967"/>
                    </a:cubicBezTo>
                    <a:lnTo>
                      <a:pt x="161604" y="167842"/>
                    </a:lnTo>
                    <a:close/>
                    <a:moveTo>
                      <a:pt x="170389" y="166953"/>
                    </a:moveTo>
                    <a:lnTo>
                      <a:pt x="179555" y="155015"/>
                    </a:lnTo>
                    <a:lnTo>
                      <a:pt x="189104" y="160095"/>
                    </a:lnTo>
                    <a:lnTo>
                      <a:pt x="170389" y="167080"/>
                    </a:lnTo>
                    <a:close/>
                  </a:path>
                </a:pathLst>
              </a:custGeom>
              <a:solidFill>
                <a:srgbClr val="FFFFFF"/>
              </a:solidFill>
              <a:ln w="0" cap="flat">
                <a:noFill/>
                <a:prstDash val="solid"/>
                <a:miter/>
              </a:ln>
            </p:spPr>
            <p:txBody>
              <a:bodyPr rtlCol="0" anchor="ctr"/>
              <a:lstStyle/>
              <a:p>
                <a:endParaRPr lang="en-AD" sz="2400"/>
              </a:p>
            </p:txBody>
          </p:sp>
        </p:grpSp>
        <p:grpSp>
          <p:nvGrpSpPr>
            <p:cNvPr id="148" name="Group 147">
              <a:extLst>
                <a:ext uri="{FF2B5EF4-FFF2-40B4-BE49-F238E27FC236}">
                  <a16:creationId xmlns:a16="http://schemas.microsoft.com/office/drawing/2014/main" id="{DEEC9297-37D9-7E06-E732-4CA4EB7D2C2B}"/>
                </a:ext>
              </a:extLst>
            </p:cNvPr>
            <p:cNvGrpSpPr/>
            <p:nvPr userDrawn="1"/>
          </p:nvGrpSpPr>
          <p:grpSpPr>
            <a:xfrm>
              <a:off x="3544478" y="4177195"/>
              <a:ext cx="745416" cy="122935"/>
              <a:chOff x="2055895" y="4723384"/>
              <a:chExt cx="745416" cy="122935"/>
            </a:xfrm>
          </p:grpSpPr>
          <p:sp>
            <p:nvSpPr>
              <p:cNvPr id="149" name="Freeform 148">
                <a:extLst>
                  <a:ext uri="{FF2B5EF4-FFF2-40B4-BE49-F238E27FC236}">
                    <a16:creationId xmlns:a16="http://schemas.microsoft.com/office/drawing/2014/main" id="{FDDF0770-7BB1-6775-D3C3-B512E8AC98FD}"/>
                  </a:ext>
                </a:extLst>
              </p:cNvPr>
              <p:cNvSpPr/>
              <p:nvPr/>
            </p:nvSpPr>
            <p:spPr>
              <a:xfrm>
                <a:off x="2153154" y="4723510"/>
                <a:ext cx="61110" cy="59690"/>
              </a:xfrm>
              <a:custGeom>
                <a:avLst/>
                <a:gdLst>
                  <a:gd name="connsiteX0" fmla="*/ 52708 w 61110"/>
                  <a:gd name="connsiteY0" fmla="*/ 0 h 59690"/>
                  <a:gd name="connsiteX1" fmla="*/ 61111 w 61110"/>
                  <a:gd name="connsiteY1" fmla="*/ 0 h 59690"/>
                  <a:gd name="connsiteX2" fmla="*/ 61111 w 61110"/>
                  <a:gd name="connsiteY2" fmla="*/ 59690 h 59690"/>
                  <a:gd name="connsiteX3" fmla="*/ 52708 w 61110"/>
                  <a:gd name="connsiteY3" fmla="*/ 59690 h 59690"/>
                  <a:gd name="connsiteX4" fmla="*/ 52708 w 61110"/>
                  <a:gd name="connsiteY4" fmla="*/ 18796 h 59690"/>
                  <a:gd name="connsiteX5" fmla="*/ 34120 w 61110"/>
                  <a:gd name="connsiteY5" fmla="*/ 59690 h 59690"/>
                  <a:gd name="connsiteX6" fmla="*/ 26991 w 61110"/>
                  <a:gd name="connsiteY6" fmla="*/ 59690 h 59690"/>
                  <a:gd name="connsiteX7" fmla="*/ 8403 w 61110"/>
                  <a:gd name="connsiteY7" fmla="*/ 18796 h 59690"/>
                  <a:gd name="connsiteX8" fmla="*/ 8403 w 61110"/>
                  <a:gd name="connsiteY8" fmla="*/ 59690 h 59690"/>
                  <a:gd name="connsiteX9" fmla="*/ 0 w 61110"/>
                  <a:gd name="connsiteY9" fmla="*/ 59690 h 59690"/>
                  <a:gd name="connsiteX10" fmla="*/ 0 w 61110"/>
                  <a:gd name="connsiteY10" fmla="*/ 0 h 59690"/>
                  <a:gd name="connsiteX11" fmla="*/ 8403 w 61110"/>
                  <a:gd name="connsiteY11" fmla="*/ 0 h 59690"/>
                  <a:gd name="connsiteX12" fmla="*/ 30556 w 61110"/>
                  <a:gd name="connsiteY12" fmla="*/ 47752 h 59690"/>
                  <a:gd name="connsiteX13" fmla="*/ 52708 w 61110"/>
                  <a:gd name="connsiteY13"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10" h="59690">
                    <a:moveTo>
                      <a:pt x="52708" y="0"/>
                    </a:moveTo>
                    <a:lnTo>
                      <a:pt x="61111" y="0"/>
                    </a:lnTo>
                    <a:lnTo>
                      <a:pt x="61111" y="59690"/>
                    </a:lnTo>
                    <a:lnTo>
                      <a:pt x="52708" y="59690"/>
                    </a:lnTo>
                    <a:lnTo>
                      <a:pt x="52708" y="18796"/>
                    </a:lnTo>
                    <a:lnTo>
                      <a:pt x="34120" y="59690"/>
                    </a:lnTo>
                    <a:lnTo>
                      <a:pt x="26991" y="59690"/>
                    </a:lnTo>
                    <a:lnTo>
                      <a:pt x="8403" y="18796"/>
                    </a:lnTo>
                    <a:lnTo>
                      <a:pt x="8403" y="59690"/>
                    </a:lnTo>
                    <a:lnTo>
                      <a:pt x="0" y="59690"/>
                    </a:lnTo>
                    <a:lnTo>
                      <a:pt x="0" y="0"/>
                    </a:lnTo>
                    <a:lnTo>
                      <a:pt x="8403" y="0"/>
                    </a:lnTo>
                    <a:lnTo>
                      <a:pt x="30556" y="47752"/>
                    </a:lnTo>
                    <a:lnTo>
                      <a:pt x="52708" y="0"/>
                    </a:lnTo>
                    <a:close/>
                  </a:path>
                </a:pathLst>
              </a:custGeom>
              <a:solidFill>
                <a:srgbClr val="FFFFFF"/>
              </a:solidFill>
              <a:ln w="0" cap="flat">
                <a:noFill/>
                <a:prstDash val="solid"/>
                <a:miter/>
              </a:ln>
            </p:spPr>
            <p:txBody>
              <a:bodyPr rtlCol="0" anchor="ctr"/>
              <a:lstStyle/>
              <a:p>
                <a:endParaRPr lang="en-AD" sz="2400"/>
              </a:p>
            </p:txBody>
          </p:sp>
          <p:sp>
            <p:nvSpPr>
              <p:cNvPr id="150" name="Freeform 149">
                <a:extLst>
                  <a:ext uri="{FF2B5EF4-FFF2-40B4-BE49-F238E27FC236}">
                    <a16:creationId xmlns:a16="http://schemas.microsoft.com/office/drawing/2014/main" id="{F0D48609-2DA9-725B-005E-CAAD042B4030}"/>
                  </a:ext>
                </a:extLst>
              </p:cNvPr>
              <p:cNvSpPr/>
              <p:nvPr/>
            </p:nvSpPr>
            <p:spPr>
              <a:xfrm>
                <a:off x="2222031"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5 w 43796"/>
                  <a:gd name="connsiteY13" fmla="*/ 43942 h 43941"/>
                  <a:gd name="connsiteX14" fmla="*/ 6366 w 43796"/>
                  <a:gd name="connsiteY14" fmla="*/ 37592 h 43941"/>
                  <a:gd name="connsiteX15" fmla="*/ 9039 w 43796"/>
                  <a:gd name="connsiteY15" fmla="*/ 18161 h 43941"/>
                  <a:gd name="connsiteX16" fmla="*/ 34884 w 43796"/>
                  <a:gd name="connsiteY16" fmla="*/ 18161 h 43941"/>
                  <a:gd name="connsiteX17" fmla="*/ 30173 w 43796"/>
                  <a:gd name="connsiteY17" fmla="*/ 10922 h 43941"/>
                  <a:gd name="connsiteX18" fmla="*/ 22153 w 43796"/>
                  <a:gd name="connsiteY18" fmla="*/ 8001 h 43941"/>
                  <a:gd name="connsiteX19" fmla="*/ 13750 w 43796"/>
                  <a:gd name="connsiteY19" fmla="*/ 10795 h 43941"/>
                  <a:gd name="connsiteX20" fmla="*/ 9039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4"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5" y="43942"/>
                    </a:cubicBezTo>
                    <a:cubicBezTo>
                      <a:pt x="15914" y="43942"/>
                      <a:pt x="10694" y="41783"/>
                      <a:pt x="6366" y="37592"/>
                    </a:cubicBezTo>
                    <a:close/>
                    <a:moveTo>
                      <a:pt x="9039" y="18161"/>
                    </a:moveTo>
                    <a:lnTo>
                      <a:pt x="34884" y="18161"/>
                    </a:lnTo>
                    <a:cubicBezTo>
                      <a:pt x="34120" y="15240"/>
                      <a:pt x="32465" y="12827"/>
                      <a:pt x="30173" y="10922"/>
                    </a:cubicBezTo>
                    <a:cubicBezTo>
                      <a:pt x="27755" y="9017"/>
                      <a:pt x="25081" y="8001"/>
                      <a:pt x="22153" y="8001"/>
                    </a:cubicBezTo>
                    <a:cubicBezTo>
                      <a:pt x="18842" y="8001"/>
                      <a:pt x="16169" y="8890"/>
                      <a:pt x="13750" y="10795"/>
                    </a:cubicBezTo>
                    <a:cubicBezTo>
                      <a:pt x="11458" y="12700"/>
                      <a:pt x="9931" y="15113"/>
                      <a:pt x="9039" y="18161"/>
                    </a:cubicBezTo>
                    <a:close/>
                  </a:path>
                </a:pathLst>
              </a:custGeom>
              <a:solidFill>
                <a:srgbClr val="FFFFFF"/>
              </a:solidFill>
              <a:ln w="0" cap="flat">
                <a:noFill/>
                <a:prstDash val="solid"/>
                <a:miter/>
              </a:ln>
            </p:spPr>
            <p:txBody>
              <a:bodyPr rtlCol="0" anchor="ctr"/>
              <a:lstStyle/>
              <a:p>
                <a:endParaRPr lang="en-AD" sz="2400"/>
              </a:p>
            </p:txBody>
          </p:sp>
          <p:sp>
            <p:nvSpPr>
              <p:cNvPr id="151" name="Freeform 150">
                <a:extLst>
                  <a:ext uri="{FF2B5EF4-FFF2-40B4-BE49-F238E27FC236}">
                    <a16:creationId xmlns:a16="http://schemas.microsoft.com/office/drawing/2014/main" id="{FC2DF16F-629D-865A-7AE3-C9EEA8E8376B}"/>
                  </a:ext>
                </a:extLst>
              </p:cNvPr>
              <p:cNvSpPr/>
              <p:nvPr/>
            </p:nvSpPr>
            <p:spPr>
              <a:xfrm>
                <a:off x="2273211" y="4723384"/>
                <a:ext cx="44178" cy="60578"/>
              </a:xfrm>
              <a:custGeom>
                <a:avLst/>
                <a:gdLst>
                  <a:gd name="connsiteX0" fmla="*/ 44051 w 44178"/>
                  <a:gd name="connsiteY0" fmla="*/ 38481 h 60578"/>
                  <a:gd name="connsiteX1" fmla="*/ 37685 w 44178"/>
                  <a:gd name="connsiteY1" fmla="*/ 54102 h 60578"/>
                  <a:gd name="connsiteX2" fmla="*/ 22153 w 44178"/>
                  <a:gd name="connsiteY2" fmla="*/ 60579 h 60578"/>
                  <a:gd name="connsiteX3" fmla="*/ 6493 w 44178"/>
                  <a:gd name="connsiteY3" fmla="*/ 54102 h 60578"/>
                  <a:gd name="connsiteX4" fmla="*/ 0 w 44178"/>
                  <a:gd name="connsiteY4" fmla="*/ 38481 h 60578"/>
                  <a:gd name="connsiteX5" fmla="*/ 6493 w 44178"/>
                  <a:gd name="connsiteY5" fmla="*/ 22860 h 60578"/>
                  <a:gd name="connsiteX6" fmla="*/ 22153 w 44178"/>
                  <a:gd name="connsiteY6" fmla="*/ 16383 h 60578"/>
                  <a:gd name="connsiteX7" fmla="*/ 35648 w 44178"/>
                  <a:gd name="connsiteY7" fmla="*/ 22479 h 60578"/>
                  <a:gd name="connsiteX8" fmla="*/ 35648 w 44178"/>
                  <a:gd name="connsiteY8" fmla="*/ 0 h 60578"/>
                  <a:gd name="connsiteX9" fmla="*/ 44178 w 44178"/>
                  <a:gd name="connsiteY9" fmla="*/ 0 h 60578"/>
                  <a:gd name="connsiteX10" fmla="*/ 44178 w 44178"/>
                  <a:gd name="connsiteY10" fmla="*/ 38354 h 60578"/>
                  <a:gd name="connsiteX11" fmla="*/ 22025 w 44178"/>
                  <a:gd name="connsiteY11" fmla="*/ 24511 h 60578"/>
                  <a:gd name="connsiteX12" fmla="*/ 12222 w 44178"/>
                  <a:gd name="connsiteY12" fmla="*/ 28575 h 60578"/>
                  <a:gd name="connsiteX13" fmla="*/ 8275 w 44178"/>
                  <a:gd name="connsiteY13" fmla="*/ 38481 h 60578"/>
                  <a:gd name="connsiteX14" fmla="*/ 12222 w 44178"/>
                  <a:gd name="connsiteY14" fmla="*/ 48387 h 60578"/>
                  <a:gd name="connsiteX15" fmla="*/ 22025 w 44178"/>
                  <a:gd name="connsiteY15" fmla="*/ 52451 h 60578"/>
                  <a:gd name="connsiteX16" fmla="*/ 31829 w 44178"/>
                  <a:gd name="connsiteY16" fmla="*/ 48387 h 60578"/>
                  <a:gd name="connsiteX17" fmla="*/ 35775 w 44178"/>
                  <a:gd name="connsiteY17" fmla="*/ 38481 h 60578"/>
                  <a:gd name="connsiteX18" fmla="*/ 31829 w 44178"/>
                  <a:gd name="connsiteY18" fmla="*/ 28575 h 60578"/>
                  <a:gd name="connsiteX19" fmla="*/ 22153 w 44178"/>
                  <a:gd name="connsiteY19" fmla="*/ 24511 h 6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8">
                    <a:moveTo>
                      <a:pt x="44051" y="38481"/>
                    </a:moveTo>
                    <a:cubicBezTo>
                      <a:pt x="44051" y="44577"/>
                      <a:pt x="41886" y="49784"/>
                      <a:pt x="37685" y="54102"/>
                    </a:cubicBezTo>
                    <a:cubicBezTo>
                      <a:pt x="33356" y="58420"/>
                      <a:pt x="28264" y="60579"/>
                      <a:pt x="22153" y="60579"/>
                    </a:cubicBezTo>
                    <a:cubicBezTo>
                      <a:pt x="16042" y="60579"/>
                      <a:pt x="10822" y="58420"/>
                      <a:pt x="6493" y="54102"/>
                    </a:cubicBezTo>
                    <a:cubicBezTo>
                      <a:pt x="2164" y="49784"/>
                      <a:pt x="0" y="44577"/>
                      <a:pt x="0" y="38481"/>
                    </a:cubicBezTo>
                    <a:cubicBezTo>
                      <a:pt x="0" y="32385"/>
                      <a:pt x="2164" y="27178"/>
                      <a:pt x="6493" y="22860"/>
                    </a:cubicBezTo>
                    <a:cubicBezTo>
                      <a:pt x="10822" y="18542"/>
                      <a:pt x="16042" y="16383"/>
                      <a:pt x="22153" y="16383"/>
                    </a:cubicBezTo>
                    <a:cubicBezTo>
                      <a:pt x="27627" y="16383"/>
                      <a:pt x="32211" y="18415"/>
                      <a:pt x="35648" y="22479"/>
                    </a:cubicBezTo>
                    <a:lnTo>
                      <a:pt x="35648" y="0"/>
                    </a:lnTo>
                    <a:lnTo>
                      <a:pt x="44178" y="0"/>
                    </a:lnTo>
                    <a:lnTo>
                      <a:pt x="44178" y="38354"/>
                    </a:lnTo>
                    <a:close/>
                    <a:moveTo>
                      <a:pt x="22025" y="24511"/>
                    </a:moveTo>
                    <a:cubicBezTo>
                      <a:pt x="18206" y="24511"/>
                      <a:pt x="14896" y="25908"/>
                      <a:pt x="12222" y="28575"/>
                    </a:cubicBezTo>
                    <a:cubicBezTo>
                      <a:pt x="9549" y="31242"/>
                      <a:pt x="8275" y="34544"/>
                      <a:pt x="8275" y="38481"/>
                    </a:cubicBezTo>
                    <a:cubicBezTo>
                      <a:pt x="8275" y="42418"/>
                      <a:pt x="9549" y="45720"/>
                      <a:pt x="12222" y="48387"/>
                    </a:cubicBezTo>
                    <a:cubicBezTo>
                      <a:pt x="14769" y="51054"/>
                      <a:pt x="18079" y="52451"/>
                      <a:pt x="22025" y="52451"/>
                    </a:cubicBezTo>
                    <a:cubicBezTo>
                      <a:pt x="25972" y="52451"/>
                      <a:pt x="29155" y="51054"/>
                      <a:pt x="31829" y="48387"/>
                    </a:cubicBezTo>
                    <a:cubicBezTo>
                      <a:pt x="34502" y="45720"/>
                      <a:pt x="35775" y="42418"/>
                      <a:pt x="35775" y="38481"/>
                    </a:cubicBezTo>
                    <a:cubicBezTo>
                      <a:pt x="35775" y="34544"/>
                      <a:pt x="34502" y="31369"/>
                      <a:pt x="31829" y="28575"/>
                    </a:cubicBezTo>
                    <a:cubicBezTo>
                      <a:pt x="29155" y="25908"/>
                      <a:pt x="25972" y="24511"/>
                      <a:pt x="22153" y="24511"/>
                    </a:cubicBezTo>
                    <a:close/>
                  </a:path>
                </a:pathLst>
              </a:custGeom>
              <a:solidFill>
                <a:srgbClr val="FFFFFF"/>
              </a:solidFill>
              <a:ln w="0" cap="flat">
                <a:noFill/>
                <a:prstDash val="solid"/>
                <a:miter/>
              </a:ln>
            </p:spPr>
            <p:txBody>
              <a:bodyPr rtlCol="0" anchor="ctr"/>
              <a:lstStyle/>
              <a:p>
                <a:endParaRPr lang="en-AD" sz="2400"/>
              </a:p>
            </p:txBody>
          </p:sp>
          <p:sp>
            <p:nvSpPr>
              <p:cNvPr id="152" name="Freeform 151">
                <a:extLst>
                  <a:ext uri="{FF2B5EF4-FFF2-40B4-BE49-F238E27FC236}">
                    <a16:creationId xmlns:a16="http://schemas.microsoft.com/office/drawing/2014/main" id="{B541503A-7527-63F0-B1CC-E2E4EAD462D2}"/>
                  </a:ext>
                </a:extLst>
              </p:cNvPr>
              <p:cNvSpPr/>
              <p:nvPr/>
            </p:nvSpPr>
            <p:spPr>
              <a:xfrm>
                <a:off x="2323628" y="4723510"/>
                <a:ext cx="42013" cy="59690"/>
              </a:xfrm>
              <a:custGeom>
                <a:avLst/>
                <a:gdLst>
                  <a:gd name="connsiteX0" fmla="*/ 42014 w 42013"/>
                  <a:gd name="connsiteY0" fmla="*/ 0 h 59690"/>
                  <a:gd name="connsiteX1" fmla="*/ 42014 w 42013"/>
                  <a:gd name="connsiteY1" fmla="*/ 8128 h 59690"/>
                  <a:gd name="connsiteX2" fmla="*/ 25208 w 42013"/>
                  <a:gd name="connsiteY2" fmla="*/ 8128 h 59690"/>
                  <a:gd name="connsiteX3" fmla="*/ 25208 w 42013"/>
                  <a:gd name="connsiteY3" fmla="*/ 59690 h 59690"/>
                  <a:gd name="connsiteX4" fmla="*/ 16806 w 42013"/>
                  <a:gd name="connsiteY4" fmla="*/ 59690 h 59690"/>
                  <a:gd name="connsiteX5" fmla="*/ 16806 w 42013"/>
                  <a:gd name="connsiteY5" fmla="*/ 8128 h 59690"/>
                  <a:gd name="connsiteX6" fmla="*/ 0 w 42013"/>
                  <a:gd name="connsiteY6" fmla="*/ 8128 h 59690"/>
                  <a:gd name="connsiteX7" fmla="*/ 0 w 42013"/>
                  <a:gd name="connsiteY7" fmla="*/ 0 h 59690"/>
                  <a:gd name="connsiteX8" fmla="*/ 41887 w 42013"/>
                  <a:gd name="connsiteY8" fmla="*/ 0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13" h="59690">
                    <a:moveTo>
                      <a:pt x="42014" y="0"/>
                    </a:moveTo>
                    <a:lnTo>
                      <a:pt x="42014" y="8128"/>
                    </a:lnTo>
                    <a:lnTo>
                      <a:pt x="25208" y="8128"/>
                    </a:lnTo>
                    <a:lnTo>
                      <a:pt x="25208" y="59690"/>
                    </a:lnTo>
                    <a:lnTo>
                      <a:pt x="16806" y="59690"/>
                    </a:lnTo>
                    <a:lnTo>
                      <a:pt x="16806" y="8128"/>
                    </a:lnTo>
                    <a:lnTo>
                      <a:pt x="0" y="8128"/>
                    </a:lnTo>
                    <a:lnTo>
                      <a:pt x="0" y="0"/>
                    </a:lnTo>
                    <a:lnTo>
                      <a:pt x="41887" y="0"/>
                    </a:lnTo>
                    <a:close/>
                  </a:path>
                </a:pathLst>
              </a:custGeom>
              <a:solidFill>
                <a:srgbClr val="FFFFFF"/>
              </a:solidFill>
              <a:ln w="0" cap="flat">
                <a:noFill/>
                <a:prstDash val="solid"/>
                <a:miter/>
              </a:ln>
            </p:spPr>
            <p:txBody>
              <a:bodyPr rtlCol="0" anchor="ctr"/>
              <a:lstStyle/>
              <a:p>
                <a:endParaRPr lang="en-AD" sz="2400"/>
              </a:p>
            </p:txBody>
          </p:sp>
          <p:sp>
            <p:nvSpPr>
              <p:cNvPr id="153" name="Freeform 152">
                <a:extLst>
                  <a:ext uri="{FF2B5EF4-FFF2-40B4-BE49-F238E27FC236}">
                    <a16:creationId xmlns:a16="http://schemas.microsoft.com/office/drawing/2014/main" id="{40A30385-C7B5-7EE3-5756-5F29F6C92A86}"/>
                  </a:ext>
                </a:extLst>
              </p:cNvPr>
              <p:cNvSpPr/>
              <p:nvPr/>
            </p:nvSpPr>
            <p:spPr>
              <a:xfrm>
                <a:off x="2361822"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4 w 43796"/>
                  <a:gd name="connsiteY3" fmla="*/ 0 h 43941"/>
                  <a:gd name="connsiteX4" fmla="*/ 36921 w 43796"/>
                  <a:gd name="connsiteY4" fmla="*/ 5842 h 43941"/>
                  <a:gd name="connsiteX5" fmla="*/ 43796 w 43796"/>
                  <a:gd name="connsiteY5" fmla="*/ 21209 h 43941"/>
                  <a:gd name="connsiteX6" fmla="*/ 43542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5" y="33274"/>
                      <a:pt x="0" y="28194"/>
                      <a:pt x="0" y="22098"/>
                    </a:cubicBezTo>
                    <a:cubicBezTo>
                      <a:pt x="0" y="16002"/>
                      <a:pt x="2037" y="10795"/>
                      <a:pt x="6238" y="6477"/>
                    </a:cubicBezTo>
                    <a:cubicBezTo>
                      <a:pt x="10440" y="2159"/>
                      <a:pt x="15532" y="0"/>
                      <a:pt x="21644" y="0"/>
                    </a:cubicBezTo>
                    <a:cubicBezTo>
                      <a:pt x="27755" y="0"/>
                      <a:pt x="32593" y="1905"/>
                      <a:pt x="36921" y="5842"/>
                    </a:cubicBezTo>
                    <a:cubicBezTo>
                      <a:pt x="41250" y="9779"/>
                      <a:pt x="43542" y="14859"/>
                      <a:pt x="43796" y="21209"/>
                    </a:cubicBezTo>
                    <a:cubicBezTo>
                      <a:pt x="43796" y="22606"/>
                      <a:pt x="43796" y="23876"/>
                      <a:pt x="43542"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54" name="Freeform 153">
                <a:extLst>
                  <a:ext uri="{FF2B5EF4-FFF2-40B4-BE49-F238E27FC236}">
                    <a16:creationId xmlns:a16="http://schemas.microsoft.com/office/drawing/2014/main" id="{4770EF50-D2CD-D5EA-C10E-574A5F7A870F}"/>
                  </a:ext>
                </a:extLst>
              </p:cNvPr>
              <p:cNvSpPr/>
              <p:nvPr/>
            </p:nvSpPr>
            <p:spPr>
              <a:xfrm>
                <a:off x="2412875" y="4739640"/>
                <a:ext cx="42522" cy="44195"/>
              </a:xfrm>
              <a:custGeom>
                <a:avLst/>
                <a:gdLst>
                  <a:gd name="connsiteX0" fmla="*/ 22153 w 42522"/>
                  <a:gd name="connsiteY0" fmla="*/ 44196 h 44195"/>
                  <a:gd name="connsiteX1" fmla="*/ 6493 w 42522"/>
                  <a:gd name="connsiteY1" fmla="*/ 37719 h 44195"/>
                  <a:gd name="connsiteX2" fmla="*/ 0 w 42522"/>
                  <a:gd name="connsiteY2" fmla="*/ 22098 h 44195"/>
                  <a:gd name="connsiteX3" fmla="*/ 6493 w 42522"/>
                  <a:gd name="connsiteY3" fmla="*/ 6477 h 44195"/>
                  <a:gd name="connsiteX4" fmla="*/ 22153 w 42522"/>
                  <a:gd name="connsiteY4" fmla="*/ 0 h 44195"/>
                  <a:gd name="connsiteX5" fmla="*/ 34630 w 42522"/>
                  <a:gd name="connsiteY5" fmla="*/ 3937 h 44195"/>
                  <a:gd name="connsiteX6" fmla="*/ 42523 w 42522"/>
                  <a:gd name="connsiteY6" fmla="*/ 14097 h 44195"/>
                  <a:gd name="connsiteX7" fmla="*/ 33484 w 42522"/>
                  <a:gd name="connsiteY7" fmla="*/ 14097 h 44195"/>
                  <a:gd name="connsiteX8" fmla="*/ 22153 w 42522"/>
                  <a:gd name="connsiteY8" fmla="*/ 8128 h 44195"/>
                  <a:gd name="connsiteX9" fmla="*/ 12350 w 42522"/>
                  <a:gd name="connsiteY9" fmla="*/ 12192 h 44195"/>
                  <a:gd name="connsiteX10" fmla="*/ 8403 w 42522"/>
                  <a:gd name="connsiteY10" fmla="*/ 22098 h 44195"/>
                  <a:gd name="connsiteX11" fmla="*/ 12350 w 42522"/>
                  <a:gd name="connsiteY11" fmla="*/ 32004 h 44195"/>
                  <a:gd name="connsiteX12" fmla="*/ 22153 w 42522"/>
                  <a:gd name="connsiteY12" fmla="*/ 36068 h 44195"/>
                  <a:gd name="connsiteX13" fmla="*/ 33229 w 42522"/>
                  <a:gd name="connsiteY13" fmla="*/ 30226 h 44195"/>
                  <a:gd name="connsiteX14" fmla="*/ 42396 w 42522"/>
                  <a:gd name="connsiteY14" fmla="*/ 30226 h 44195"/>
                  <a:gd name="connsiteX15" fmla="*/ 34502 w 42522"/>
                  <a:gd name="connsiteY15" fmla="*/ 40259 h 44195"/>
                  <a:gd name="connsiteX16" fmla="*/ 22025 w 42522"/>
                  <a:gd name="connsiteY16" fmla="*/ 44069 h 4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22" h="44195">
                    <a:moveTo>
                      <a:pt x="22153" y="44196"/>
                    </a:moveTo>
                    <a:cubicBezTo>
                      <a:pt x="16042" y="44196"/>
                      <a:pt x="10822" y="42037"/>
                      <a:pt x="6493" y="37719"/>
                    </a:cubicBezTo>
                    <a:cubicBezTo>
                      <a:pt x="2164" y="33401"/>
                      <a:pt x="0" y="28194"/>
                      <a:pt x="0" y="22098"/>
                    </a:cubicBezTo>
                    <a:cubicBezTo>
                      <a:pt x="0" y="16002"/>
                      <a:pt x="2164" y="10795"/>
                      <a:pt x="6493" y="6477"/>
                    </a:cubicBezTo>
                    <a:cubicBezTo>
                      <a:pt x="10822" y="2159"/>
                      <a:pt x="16042" y="0"/>
                      <a:pt x="22153" y="0"/>
                    </a:cubicBezTo>
                    <a:cubicBezTo>
                      <a:pt x="26736" y="0"/>
                      <a:pt x="30937" y="1270"/>
                      <a:pt x="34630" y="3937"/>
                    </a:cubicBezTo>
                    <a:cubicBezTo>
                      <a:pt x="38322" y="6604"/>
                      <a:pt x="40995" y="9906"/>
                      <a:pt x="42523" y="14097"/>
                    </a:cubicBezTo>
                    <a:lnTo>
                      <a:pt x="33484" y="14097"/>
                    </a:lnTo>
                    <a:cubicBezTo>
                      <a:pt x="30810" y="10160"/>
                      <a:pt x="26991" y="8128"/>
                      <a:pt x="22153" y="8128"/>
                    </a:cubicBez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991" y="36068"/>
                      <a:pt x="30683" y="34163"/>
                      <a:pt x="33229" y="30226"/>
                    </a:cubicBezTo>
                    <a:lnTo>
                      <a:pt x="42396" y="30226"/>
                    </a:lnTo>
                    <a:cubicBezTo>
                      <a:pt x="40868" y="34417"/>
                      <a:pt x="38194" y="37719"/>
                      <a:pt x="34502" y="40259"/>
                    </a:cubicBezTo>
                    <a:cubicBezTo>
                      <a:pt x="30810" y="42799"/>
                      <a:pt x="26609" y="44069"/>
                      <a:pt x="22025" y="44069"/>
                    </a:cubicBezTo>
                    <a:close/>
                  </a:path>
                </a:pathLst>
              </a:custGeom>
              <a:solidFill>
                <a:srgbClr val="FFFFFF"/>
              </a:solidFill>
              <a:ln w="0" cap="flat">
                <a:noFill/>
                <a:prstDash val="solid"/>
                <a:miter/>
              </a:ln>
            </p:spPr>
            <p:txBody>
              <a:bodyPr rtlCol="0" anchor="ctr"/>
              <a:lstStyle/>
              <a:p>
                <a:endParaRPr lang="en-AD" sz="2400"/>
              </a:p>
            </p:txBody>
          </p:sp>
          <p:sp>
            <p:nvSpPr>
              <p:cNvPr id="155" name="Freeform 154">
                <a:extLst>
                  <a:ext uri="{FF2B5EF4-FFF2-40B4-BE49-F238E27FC236}">
                    <a16:creationId xmlns:a16="http://schemas.microsoft.com/office/drawing/2014/main" id="{EB135527-87C8-47E4-978E-708A218562B4}"/>
                  </a:ext>
                </a:extLst>
              </p:cNvPr>
              <p:cNvSpPr/>
              <p:nvPr/>
            </p:nvSpPr>
            <p:spPr>
              <a:xfrm>
                <a:off x="2463037" y="4723384"/>
                <a:ext cx="37684" cy="59816"/>
              </a:xfrm>
              <a:custGeom>
                <a:avLst/>
                <a:gdLst>
                  <a:gd name="connsiteX0" fmla="*/ 18970 w 37684"/>
                  <a:gd name="connsiteY0" fmla="*/ 16510 h 59816"/>
                  <a:gd name="connsiteX1" fmla="*/ 32592 w 37684"/>
                  <a:gd name="connsiteY1" fmla="*/ 21717 h 59816"/>
                  <a:gd name="connsiteX2" fmla="*/ 37685 w 37684"/>
                  <a:gd name="connsiteY2" fmla="*/ 37338 h 59816"/>
                  <a:gd name="connsiteX3" fmla="*/ 37685 w 37684"/>
                  <a:gd name="connsiteY3" fmla="*/ 59817 h 59816"/>
                  <a:gd name="connsiteX4" fmla="*/ 29282 w 37684"/>
                  <a:gd name="connsiteY4" fmla="*/ 59817 h 59816"/>
                  <a:gd name="connsiteX5" fmla="*/ 29282 w 37684"/>
                  <a:gd name="connsiteY5" fmla="*/ 37338 h 59816"/>
                  <a:gd name="connsiteX6" fmla="*/ 18842 w 37684"/>
                  <a:gd name="connsiteY6" fmla="*/ 24511 h 59816"/>
                  <a:gd name="connsiteX7" fmla="*/ 8403 w 37684"/>
                  <a:gd name="connsiteY7" fmla="*/ 37084 h 59816"/>
                  <a:gd name="connsiteX8" fmla="*/ 8403 w 37684"/>
                  <a:gd name="connsiteY8" fmla="*/ 59690 h 59816"/>
                  <a:gd name="connsiteX9" fmla="*/ 0 w 37684"/>
                  <a:gd name="connsiteY9" fmla="*/ 59690 h 59816"/>
                  <a:gd name="connsiteX10" fmla="*/ 0 w 37684"/>
                  <a:gd name="connsiteY10" fmla="*/ 0 h 59816"/>
                  <a:gd name="connsiteX11" fmla="*/ 8403 w 37684"/>
                  <a:gd name="connsiteY11" fmla="*/ 0 h 59816"/>
                  <a:gd name="connsiteX12" fmla="*/ 8403 w 37684"/>
                  <a:gd name="connsiteY12" fmla="*/ 20955 h 59816"/>
                  <a:gd name="connsiteX13" fmla="*/ 18842 w 37684"/>
                  <a:gd name="connsiteY13" fmla="*/ 16383 h 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84" h="59816">
                    <a:moveTo>
                      <a:pt x="18970" y="16510"/>
                    </a:moveTo>
                    <a:cubicBezTo>
                      <a:pt x="24699" y="16510"/>
                      <a:pt x="29282" y="18288"/>
                      <a:pt x="32592" y="21717"/>
                    </a:cubicBezTo>
                    <a:cubicBezTo>
                      <a:pt x="35903" y="25146"/>
                      <a:pt x="37685" y="30480"/>
                      <a:pt x="37685" y="37338"/>
                    </a:cubicBezTo>
                    <a:lnTo>
                      <a:pt x="37685" y="59817"/>
                    </a:lnTo>
                    <a:lnTo>
                      <a:pt x="29282" y="59817"/>
                    </a:lnTo>
                    <a:lnTo>
                      <a:pt x="29282" y="37338"/>
                    </a:lnTo>
                    <a:cubicBezTo>
                      <a:pt x="29282" y="28829"/>
                      <a:pt x="25845" y="24511"/>
                      <a:pt x="18842" y="24511"/>
                    </a:cubicBezTo>
                    <a:cubicBezTo>
                      <a:pt x="11840" y="24511"/>
                      <a:pt x="8403" y="28702"/>
                      <a:pt x="8403" y="37084"/>
                    </a:cubicBezTo>
                    <a:lnTo>
                      <a:pt x="8403" y="59690"/>
                    </a:lnTo>
                    <a:lnTo>
                      <a:pt x="0" y="59690"/>
                    </a:lnTo>
                    <a:lnTo>
                      <a:pt x="0" y="0"/>
                    </a:lnTo>
                    <a:lnTo>
                      <a:pt x="8403" y="0"/>
                    </a:lnTo>
                    <a:lnTo>
                      <a:pt x="8403" y="20955"/>
                    </a:lnTo>
                    <a:cubicBezTo>
                      <a:pt x="10822" y="17907"/>
                      <a:pt x="14259" y="16383"/>
                      <a:pt x="18842" y="16383"/>
                    </a:cubicBezTo>
                    <a:close/>
                  </a:path>
                </a:pathLst>
              </a:custGeom>
              <a:solidFill>
                <a:srgbClr val="FFFFFF"/>
              </a:solidFill>
              <a:ln w="0" cap="flat">
                <a:noFill/>
                <a:prstDash val="solid"/>
                <a:miter/>
              </a:ln>
            </p:spPr>
            <p:txBody>
              <a:bodyPr rtlCol="0" anchor="ctr"/>
              <a:lstStyle/>
              <a:p>
                <a:endParaRPr lang="en-AD" sz="2400"/>
              </a:p>
            </p:txBody>
          </p:sp>
          <p:sp>
            <p:nvSpPr>
              <p:cNvPr id="156" name="Freeform 155">
                <a:extLst>
                  <a:ext uri="{FF2B5EF4-FFF2-40B4-BE49-F238E27FC236}">
                    <a16:creationId xmlns:a16="http://schemas.microsoft.com/office/drawing/2014/main" id="{55779791-1BBE-BC47-C9CC-7C5386737853}"/>
                  </a:ext>
                </a:extLst>
              </p:cNvPr>
              <p:cNvSpPr/>
              <p:nvPr/>
            </p:nvSpPr>
            <p:spPr>
              <a:xfrm>
                <a:off x="2534842" y="4723384"/>
                <a:ext cx="35265" cy="59689"/>
              </a:xfrm>
              <a:custGeom>
                <a:avLst/>
                <a:gdLst>
                  <a:gd name="connsiteX0" fmla="*/ 35266 w 35265"/>
                  <a:gd name="connsiteY0" fmla="*/ 8128 h 59689"/>
                  <a:gd name="connsiteX1" fmla="*/ 8403 w 35265"/>
                  <a:gd name="connsiteY1" fmla="*/ 8128 h 59689"/>
                  <a:gd name="connsiteX2" fmla="*/ 8403 w 35265"/>
                  <a:gd name="connsiteY2" fmla="*/ 24384 h 59689"/>
                  <a:gd name="connsiteX3" fmla="*/ 31956 w 35265"/>
                  <a:gd name="connsiteY3" fmla="*/ 24384 h 59689"/>
                  <a:gd name="connsiteX4" fmla="*/ 31956 w 35265"/>
                  <a:gd name="connsiteY4" fmla="*/ 32512 h 59689"/>
                  <a:gd name="connsiteX5" fmla="*/ 8403 w 35265"/>
                  <a:gd name="connsiteY5" fmla="*/ 32512 h 59689"/>
                  <a:gd name="connsiteX6" fmla="*/ 8403 w 35265"/>
                  <a:gd name="connsiteY6" fmla="*/ 51562 h 59689"/>
                  <a:gd name="connsiteX7" fmla="*/ 35266 w 35265"/>
                  <a:gd name="connsiteY7" fmla="*/ 51562 h 59689"/>
                  <a:gd name="connsiteX8" fmla="*/ 35266 w 35265"/>
                  <a:gd name="connsiteY8" fmla="*/ 59690 h 59689"/>
                  <a:gd name="connsiteX9" fmla="*/ 0 w 35265"/>
                  <a:gd name="connsiteY9" fmla="*/ 59690 h 59689"/>
                  <a:gd name="connsiteX10" fmla="*/ 0 w 35265"/>
                  <a:gd name="connsiteY10" fmla="*/ 0 h 59689"/>
                  <a:gd name="connsiteX11" fmla="*/ 35266 w 35265"/>
                  <a:gd name="connsiteY11" fmla="*/ 0 h 59689"/>
                  <a:gd name="connsiteX12" fmla="*/ 35266 w 35265"/>
                  <a:gd name="connsiteY12" fmla="*/ 8128 h 5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65" h="59689">
                    <a:moveTo>
                      <a:pt x="35266" y="8128"/>
                    </a:moveTo>
                    <a:lnTo>
                      <a:pt x="8403" y="8128"/>
                    </a:lnTo>
                    <a:lnTo>
                      <a:pt x="8403" y="24384"/>
                    </a:lnTo>
                    <a:lnTo>
                      <a:pt x="31956" y="24384"/>
                    </a:lnTo>
                    <a:lnTo>
                      <a:pt x="31956" y="32512"/>
                    </a:lnTo>
                    <a:lnTo>
                      <a:pt x="8403" y="32512"/>
                    </a:lnTo>
                    <a:lnTo>
                      <a:pt x="8403" y="51562"/>
                    </a:lnTo>
                    <a:lnTo>
                      <a:pt x="35266" y="51562"/>
                    </a:lnTo>
                    <a:lnTo>
                      <a:pt x="35266" y="59690"/>
                    </a:lnTo>
                    <a:lnTo>
                      <a:pt x="0" y="59690"/>
                    </a:lnTo>
                    <a:lnTo>
                      <a:pt x="0" y="0"/>
                    </a:lnTo>
                    <a:lnTo>
                      <a:pt x="35266" y="0"/>
                    </a:lnTo>
                    <a:lnTo>
                      <a:pt x="35266" y="8128"/>
                    </a:lnTo>
                    <a:close/>
                  </a:path>
                </a:pathLst>
              </a:custGeom>
              <a:solidFill>
                <a:srgbClr val="FFFFFF"/>
              </a:solidFill>
              <a:ln w="0" cap="flat">
                <a:noFill/>
                <a:prstDash val="solid"/>
                <a:miter/>
              </a:ln>
            </p:spPr>
            <p:txBody>
              <a:bodyPr rtlCol="0" anchor="ctr"/>
              <a:lstStyle/>
              <a:p>
                <a:endParaRPr lang="en-AD" sz="2400"/>
              </a:p>
            </p:txBody>
          </p:sp>
          <p:sp>
            <p:nvSpPr>
              <p:cNvPr id="157" name="Freeform 156">
                <a:extLst>
                  <a:ext uri="{FF2B5EF4-FFF2-40B4-BE49-F238E27FC236}">
                    <a16:creationId xmlns:a16="http://schemas.microsoft.com/office/drawing/2014/main" id="{51804D5B-3CE1-5C92-2894-4C9C78FA9EAA}"/>
                  </a:ext>
                </a:extLst>
              </p:cNvPr>
              <p:cNvSpPr/>
              <p:nvPr/>
            </p:nvSpPr>
            <p:spPr>
              <a:xfrm>
                <a:off x="2579275" y="4740528"/>
                <a:ext cx="37685" cy="43307"/>
              </a:xfrm>
              <a:custGeom>
                <a:avLst/>
                <a:gdLst>
                  <a:gd name="connsiteX0" fmla="*/ 37558 w 37685"/>
                  <a:gd name="connsiteY0" fmla="*/ 22479 h 43307"/>
                  <a:gd name="connsiteX1" fmla="*/ 32465 w 37685"/>
                  <a:gd name="connsiteY1" fmla="*/ 38100 h 43307"/>
                  <a:gd name="connsiteX2" fmla="*/ 18843 w 37685"/>
                  <a:gd name="connsiteY2" fmla="*/ 43307 h 43307"/>
                  <a:gd name="connsiteX3" fmla="*/ 5093 w 37685"/>
                  <a:gd name="connsiteY3" fmla="*/ 38100 h 43307"/>
                  <a:gd name="connsiteX4" fmla="*/ 0 w 37685"/>
                  <a:gd name="connsiteY4" fmla="*/ 22479 h 43307"/>
                  <a:gd name="connsiteX5" fmla="*/ 0 w 37685"/>
                  <a:gd name="connsiteY5" fmla="*/ 0 h 43307"/>
                  <a:gd name="connsiteX6" fmla="*/ 8403 w 37685"/>
                  <a:gd name="connsiteY6" fmla="*/ 0 h 43307"/>
                  <a:gd name="connsiteX7" fmla="*/ 8403 w 37685"/>
                  <a:gd name="connsiteY7" fmla="*/ 22479 h 43307"/>
                  <a:gd name="connsiteX8" fmla="*/ 18843 w 37685"/>
                  <a:gd name="connsiteY8" fmla="*/ 35306 h 43307"/>
                  <a:gd name="connsiteX9" fmla="*/ 29282 w 37685"/>
                  <a:gd name="connsiteY9" fmla="*/ 22479 h 43307"/>
                  <a:gd name="connsiteX10" fmla="*/ 29282 w 37685"/>
                  <a:gd name="connsiteY10" fmla="*/ 0 h 43307"/>
                  <a:gd name="connsiteX11" fmla="*/ 37685 w 37685"/>
                  <a:gd name="connsiteY11" fmla="*/ 0 h 43307"/>
                  <a:gd name="connsiteX12" fmla="*/ 37685 w 37685"/>
                  <a:gd name="connsiteY12" fmla="*/ 22479 h 4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85" h="43307">
                    <a:moveTo>
                      <a:pt x="37558" y="22479"/>
                    </a:moveTo>
                    <a:cubicBezTo>
                      <a:pt x="37558" y="29464"/>
                      <a:pt x="35903" y="34671"/>
                      <a:pt x="32465" y="38100"/>
                    </a:cubicBezTo>
                    <a:cubicBezTo>
                      <a:pt x="29028" y="41529"/>
                      <a:pt x="24444" y="43307"/>
                      <a:pt x="18843" y="43307"/>
                    </a:cubicBezTo>
                    <a:cubicBezTo>
                      <a:pt x="13241" y="43307"/>
                      <a:pt x="8530" y="41529"/>
                      <a:pt x="5093" y="38100"/>
                    </a:cubicBezTo>
                    <a:cubicBezTo>
                      <a:pt x="1655" y="34544"/>
                      <a:pt x="0" y="29337"/>
                      <a:pt x="0" y="22479"/>
                    </a:cubicBezTo>
                    <a:lnTo>
                      <a:pt x="0" y="0"/>
                    </a:lnTo>
                    <a:lnTo>
                      <a:pt x="8403" y="0"/>
                    </a:lnTo>
                    <a:lnTo>
                      <a:pt x="8403" y="22479"/>
                    </a:lnTo>
                    <a:cubicBezTo>
                      <a:pt x="8403" y="30988"/>
                      <a:pt x="11840" y="35306"/>
                      <a:pt x="18843" y="35306"/>
                    </a:cubicBezTo>
                    <a:cubicBezTo>
                      <a:pt x="25845" y="35306"/>
                      <a:pt x="29282" y="30988"/>
                      <a:pt x="29282" y="22479"/>
                    </a:cubicBezTo>
                    <a:lnTo>
                      <a:pt x="29282" y="0"/>
                    </a:lnTo>
                    <a:lnTo>
                      <a:pt x="37685" y="0"/>
                    </a:lnTo>
                    <a:lnTo>
                      <a:pt x="37685" y="22479"/>
                    </a:lnTo>
                    <a:close/>
                  </a:path>
                </a:pathLst>
              </a:custGeom>
              <a:solidFill>
                <a:srgbClr val="FFFFFF"/>
              </a:solidFill>
              <a:ln w="0" cap="flat">
                <a:noFill/>
                <a:prstDash val="solid"/>
                <a:miter/>
              </a:ln>
            </p:spPr>
            <p:txBody>
              <a:bodyPr rtlCol="0" anchor="ctr"/>
              <a:lstStyle/>
              <a:p>
                <a:endParaRPr lang="en-AD" sz="2400"/>
              </a:p>
            </p:txBody>
          </p:sp>
          <p:sp>
            <p:nvSpPr>
              <p:cNvPr id="158" name="Freeform 157">
                <a:extLst>
                  <a:ext uri="{FF2B5EF4-FFF2-40B4-BE49-F238E27FC236}">
                    <a16:creationId xmlns:a16="http://schemas.microsoft.com/office/drawing/2014/main" id="{685F1780-B925-4DDC-C7EF-11C184D5B0CD}"/>
                  </a:ext>
                </a:extLst>
              </p:cNvPr>
              <p:cNvSpPr/>
              <p:nvPr/>
            </p:nvSpPr>
            <p:spPr>
              <a:xfrm>
                <a:off x="2626254" y="4740402"/>
                <a:ext cx="18842" cy="42798"/>
              </a:xfrm>
              <a:custGeom>
                <a:avLst/>
                <a:gdLst>
                  <a:gd name="connsiteX0" fmla="*/ 0 w 18842"/>
                  <a:gd name="connsiteY0" fmla="*/ 42799 h 42798"/>
                  <a:gd name="connsiteX1" fmla="*/ 0 w 18842"/>
                  <a:gd name="connsiteY1" fmla="*/ 20574 h 42798"/>
                  <a:gd name="connsiteX2" fmla="*/ 4965 w 18842"/>
                  <a:gd name="connsiteY2" fmla="*/ 5207 h 42798"/>
                  <a:gd name="connsiteX3" fmla="*/ 17951 w 18842"/>
                  <a:gd name="connsiteY3" fmla="*/ 0 h 42798"/>
                  <a:gd name="connsiteX4" fmla="*/ 18842 w 18842"/>
                  <a:gd name="connsiteY4" fmla="*/ 0 h 42798"/>
                  <a:gd name="connsiteX5" fmla="*/ 18842 w 18842"/>
                  <a:gd name="connsiteY5" fmla="*/ 8128 h 42798"/>
                  <a:gd name="connsiteX6" fmla="*/ 17951 w 18842"/>
                  <a:gd name="connsiteY6" fmla="*/ 8128 h 42798"/>
                  <a:gd name="connsiteX7" fmla="*/ 8403 w 18842"/>
                  <a:gd name="connsiteY7" fmla="*/ 20574 h 42798"/>
                  <a:gd name="connsiteX8" fmla="*/ 8403 w 18842"/>
                  <a:gd name="connsiteY8" fmla="*/ 42799 h 42798"/>
                  <a:gd name="connsiteX9" fmla="*/ 0 w 18842"/>
                  <a:gd name="connsiteY9" fmla="*/ 42799 h 4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2" h="42798">
                    <a:moveTo>
                      <a:pt x="0" y="42799"/>
                    </a:moveTo>
                    <a:lnTo>
                      <a:pt x="0" y="20574"/>
                    </a:lnTo>
                    <a:cubicBezTo>
                      <a:pt x="0" y="13716"/>
                      <a:pt x="1655" y="8636"/>
                      <a:pt x="4965" y="5207"/>
                    </a:cubicBezTo>
                    <a:cubicBezTo>
                      <a:pt x="8276" y="1778"/>
                      <a:pt x="12604" y="0"/>
                      <a:pt x="17951" y="0"/>
                    </a:cubicBezTo>
                    <a:lnTo>
                      <a:pt x="18842" y="0"/>
                    </a:lnTo>
                    <a:lnTo>
                      <a:pt x="18842" y="8128"/>
                    </a:lnTo>
                    <a:lnTo>
                      <a:pt x="17951" y="8128"/>
                    </a:lnTo>
                    <a:cubicBezTo>
                      <a:pt x="11586" y="8128"/>
                      <a:pt x="8403" y="12319"/>
                      <a:pt x="8403" y="20574"/>
                    </a:cubicBezTo>
                    <a:lnTo>
                      <a:pt x="8403" y="42799"/>
                    </a:lnTo>
                    <a:lnTo>
                      <a:pt x="0" y="42799"/>
                    </a:lnTo>
                    <a:close/>
                  </a:path>
                </a:pathLst>
              </a:custGeom>
              <a:solidFill>
                <a:srgbClr val="FFFFFF"/>
              </a:solidFill>
              <a:ln w="0" cap="flat">
                <a:noFill/>
                <a:prstDash val="solid"/>
                <a:miter/>
              </a:ln>
            </p:spPr>
            <p:txBody>
              <a:bodyPr rtlCol="0" anchor="ctr"/>
              <a:lstStyle/>
              <a:p>
                <a:endParaRPr lang="en-AD" sz="2400"/>
              </a:p>
            </p:txBody>
          </p:sp>
          <p:sp>
            <p:nvSpPr>
              <p:cNvPr id="159" name="Freeform 158">
                <a:extLst>
                  <a:ext uri="{FF2B5EF4-FFF2-40B4-BE49-F238E27FC236}">
                    <a16:creationId xmlns:a16="http://schemas.microsoft.com/office/drawing/2014/main" id="{E3BB474B-C2F2-24B8-6EBD-65B962F15DC3}"/>
                  </a:ext>
                </a:extLst>
              </p:cNvPr>
              <p:cNvSpPr/>
              <p:nvPr/>
            </p:nvSpPr>
            <p:spPr>
              <a:xfrm>
                <a:off x="2651590" y="4739766"/>
                <a:ext cx="44305" cy="44196"/>
              </a:xfrm>
              <a:custGeom>
                <a:avLst/>
                <a:gdLst>
                  <a:gd name="connsiteX0" fmla="*/ 6493 w 44305"/>
                  <a:gd name="connsiteY0" fmla="*/ 6477 h 44196"/>
                  <a:gd name="connsiteX1" fmla="*/ 22153 w 44305"/>
                  <a:gd name="connsiteY1" fmla="*/ 0 h 44196"/>
                  <a:gd name="connsiteX2" fmla="*/ 37812 w 44305"/>
                  <a:gd name="connsiteY2" fmla="*/ 6477 h 44196"/>
                  <a:gd name="connsiteX3" fmla="*/ 44305 w 44305"/>
                  <a:gd name="connsiteY3" fmla="*/ 22098 h 44196"/>
                  <a:gd name="connsiteX4" fmla="*/ 37812 w 44305"/>
                  <a:gd name="connsiteY4" fmla="*/ 37719 h 44196"/>
                  <a:gd name="connsiteX5" fmla="*/ 22153 w 44305"/>
                  <a:gd name="connsiteY5" fmla="*/ 44196 h 44196"/>
                  <a:gd name="connsiteX6" fmla="*/ 6493 w 44305"/>
                  <a:gd name="connsiteY6" fmla="*/ 37719 h 44196"/>
                  <a:gd name="connsiteX7" fmla="*/ 0 w 44305"/>
                  <a:gd name="connsiteY7" fmla="*/ 22098 h 44196"/>
                  <a:gd name="connsiteX8" fmla="*/ 6493 w 44305"/>
                  <a:gd name="connsiteY8" fmla="*/ 6477 h 44196"/>
                  <a:gd name="connsiteX9" fmla="*/ 22153 w 44305"/>
                  <a:gd name="connsiteY9" fmla="*/ 8128 h 44196"/>
                  <a:gd name="connsiteX10" fmla="*/ 12350 w 44305"/>
                  <a:gd name="connsiteY10" fmla="*/ 12192 h 44196"/>
                  <a:gd name="connsiteX11" fmla="*/ 8403 w 44305"/>
                  <a:gd name="connsiteY11" fmla="*/ 22098 h 44196"/>
                  <a:gd name="connsiteX12" fmla="*/ 12350 w 44305"/>
                  <a:gd name="connsiteY12" fmla="*/ 32004 h 44196"/>
                  <a:gd name="connsiteX13" fmla="*/ 22153 w 44305"/>
                  <a:gd name="connsiteY13" fmla="*/ 36068 h 44196"/>
                  <a:gd name="connsiteX14" fmla="*/ 31829 w 44305"/>
                  <a:gd name="connsiteY14" fmla="*/ 32004 h 44196"/>
                  <a:gd name="connsiteX15" fmla="*/ 35775 w 44305"/>
                  <a:gd name="connsiteY15" fmla="*/ 22098 h 44196"/>
                  <a:gd name="connsiteX16" fmla="*/ 31829 w 44305"/>
                  <a:gd name="connsiteY16" fmla="*/ 12192 h 44196"/>
                  <a:gd name="connsiteX17" fmla="*/ 22153 w 44305"/>
                  <a:gd name="connsiteY17" fmla="*/ 8128 h 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05" h="44196">
                    <a:moveTo>
                      <a:pt x="6493" y="6477"/>
                    </a:moveTo>
                    <a:cubicBezTo>
                      <a:pt x="10822" y="2159"/>
                      <a:pt x="16042" y="0"/>
                      <a:pt x="22153" y="0"/>
                    </a:cubicBezTo>
                    <a:cubicBezTo>
                      <a:pt x="28264" y="0"/>
                      <a:pt x="33484" y="2159"/>
                      <a:pt x="37812" y="6477"/>
                    </a:cubicBezTo>
                    <a:cubicBezTo>
                      <a:pt x="42141" y="10795"/>
                      <a:pt x="44305" y="16002"/>
                      <a:pt x="44305" y="22098"/>
                    </a:cubicBezTo>
                    <a:cubicBezTo>
                      <a:pt x="44305" y="28194"/>
                      <a:pt x="42141" y="33401"/>
                      <a:pt x="37812" y="37719"/>
                    </a:cubicBezTo>
                    <a:cubicBezTo>
                      <a:pt x="33484" y="42037"/>
                      <a:pt x="28264" y="44196"/>
                      <a:pt x="22153" y="44196"/>
                    </a:cubicBezTo>
                    <a:cubicBezTo>
                      <a:pt x="16042" y="44196"/>
                      <a:pt x="10822" y="42037"/>
                      <a:pt x="6493" y="37719"/>
                    </a:cubicBezTo>
                    <a:cubicBezTo>
                      <a:pt x="2164" y="33401"/>
                      <a:pt x="0" y="28194"/>
                      <a:pt x="0" y="22098"/>
                    </a:cubicBezTo>
                    <a:cubicBezTo>
                      <a:pt x="0" y="16002"/>
                      <a:pt x="2164" y="10795"/>
                      <a:pt x="6493" y="6477"/>
                    </a:cubicBezTo>
                    <a:close/>
                    <a:moveTo>
                      <a:pt x="22153" y="8128"/>
                    </a:moveTo>
                    <a:cubicBezTo>
                      <a:pt x="18206" y="8128"/>
                      <a:pt x="14896" y="9525"/>
                      <a:pt x="12350" y="12192"/>
                    </a:cubicBezTo>
                    <a:cubicBezTo>
                      <a:pt x="9676" y="14859"/>
                      <a:pt x="8403" y="18161"/>
                      <a:pt x="8403" y="22098"/>
                    </a:cubicBezTo>
                    <a:cubicBezTo>
                      <a:pt x="8403" y="26035"/>
                      <a:pt x="9676" y="29210"/>
                      <a:pt x="12350" y="32004"/>
                    </a:cubicBezTo>
                    <a:cubicBezTo>
                      <a:pt x="15023" y="34671"/>
                      <a:pt x="18206" y="36068"/>
                      <a:pt x="22153" y="36068"/>
                    </a:cubicBezTo>
                    <a:cubicBezTo>
                      <a:pt x="26099" y="36068"/>
                      <a:pt x="29282" y="34671"/>
                      <a:pt x="31829" y="32004"/>
                    </a:cubicBezTo>
                    <a:cubicBezTo>
                      <a:pt x="34375" y="29337"/>
                      <a:pt x="35775" y="26035"/>
                      <a:pt x="35775" y="22098"/>
                    </a:cubicBezTo>
                    <a:cubicBezTo>
                      <a:pt x="35775" y="18161"/>
                      <a:pt x="34502" y="14859"/>
                      <a:pt x="31829" y="12192"/>
                    </a:cubicBezTo>
                    <a:cubicBezTo>
                      <a:pt x="29282" y="9525"/>
                      <a:pt x="25972" y="8128"/>
                      <a:pt x="22153" y="8128"/>
                    </a:cubicBezTo>
                    <a:close/>
                  </a:path>
                </a:pathLst>
              </a:custGeom>
              <a:solidFill>
                <a:srgbClr val="FFFFFF"/>
              </a:solidFill>
              <a:ln w="0" cap="flat">
                <a:noFill/>
                <a:prstDash val="solid"/>
                <a:miter/>
              </a:ln>
            </p:spPr>
            <p:txBody>
              <a:bodyPr rtlCol="0" anchor="ctr"/>
              <a:lstStyle/>
              <a:p>
                <a:endParaRPr lang="en-AD" sz="2400"/>
              </a:p>
            </p:txBody>
          </p:sp>
          <p:sp>
            <p:nvSpPr>
              <p:cNvPr id="160" name="Freeform 159">
                <a:extLst>
                  <a:ext uri="{FF2B5EF4-FFF2-40B4-BE49-F238E27FC236}">
                    <a16:creationId xmlns:a16="http://schemas.microsoft.com/office/drawing/2014/main" id="{29A39EF5-CE68-E3A8-C0AD-8D7258A752DA}"/>
                  </a:ext>
                </a:extLst>
              </p:cNvPr>
              <p:cNvSpPr/>
              <p:nvPr/>
            </p:nvSpPr>
            <p:spPr>
              <a:xfrm>
                <a:off x="2704680" y="4739766"/>
                <a:ext cx="44178" cy="60579"/>
              </a:xfrm>
              <a:custGeom>
                <a:avLst/>
                <a:gdLst>
                  <a:gd name="connsiteX0" fmla="*/ 127 w 44178"/>
                  <a:gd name="connsiteY0" fmla="*/ 22098 h 60579"/>
                  <a:gd name="connsiteX1" fmla="*/ 6493 w 44178"/>
                  <a:gd name="connsiteY1" fmla="*/ 6477 h 60579"/>
                  <a:gd name="connsiteX2" fmla="*/ 22025 w 44178"/>
                  <a:gd name="connsiteY2" fmla="*/ 0 h 60579"/>
                  <a:gd name="connsiteX3" fmla="*/ 37685 w 44178"/>
                  <a:gd name="connsiteY3" fmla="*/ 6477 h 60579"/>
                  <a:gd name="connsiteX4" fmla="*/ 44178 w 44178"/>
                  <a:gd name="connsiteY4" fmla="*/ 22098 h 60579"/>
                  <a:gd name="connsiteX5" fmla="*/ 37685 w 44178"/>
                  <a:gd name="connsiteY5" fmla="*/ 37719 h 60579"/>
                  <a:gd name="connsiteX6" fmla="*/ 22025 w 44178"/>
                  <a:gd name="connsiteY6" fmla="*/ 44196 h 60579"/>
                  <a:gd name="connsiteX7" fmla="*/ 8530 w 44178"/>
                  <a:gd name="connsiteY7" fmla="*/ 38100 h 60579"/>
                  <a:gd name="connsiteX8" fmla="*/ 8530 w 44178"/>
                  <a:gd name="connsiteY8" fmla="*/ 60579 h 60579"/>
                  <a:gd name="connsiteX9" fmla="*/ 0 w 44178"/>
                  <a:gd name="connsiteY9" fmla="*/ 60579 h 60579"/>
                  <a:gd name="connsiteX10" fmla="*/ 0 w 44178"/>
                  <a:gd name="connsiteY10" fmla="*/ 22225 h 60579"/>
                  <a:gd name="connsiteX11" fmla="*/ 22153 w 44178"/>
                  <a:gd name="connsiteY11" fmla="*/ 35941 h 60579"/>
                  <a:gd name="connsiteX12" fmla="*/ 31956 w 44178"/>
                  <a:gd name="connsiteY12" fmla="*/ 31877 h 60579"/>
                  <a:gd name="connsiteX13" fmla="*/ 35903 w 44178"/>
                  <a:gd name="connsiteY13" fmla="*/ 21971 h 60579"/>
                  <a:gd name="connsiteX14" fmla="*/ 31956 w 44178"/>
                  <a:gd name="connsiteY14" fmla="*/ 12065 h 60579"/>
                  <a:gd name="connsiteX15" fmla="*/ 22153 w 44178"/>
                  <a:gd name="connsiteY15" fmla="*/ 8001 h 60579"/>
                  <a:gd name="connsiteX16" fmla="*/ 12350 w 44178"/>
                  <a:gd name="connsiteY16" fmla="*/ 12065 h 60579"/>
                  <a:gd name="connsiteX17" fmla="*/ 8403 w 44178"/>
                  <a:gd name="connsiteY17" fmla="*/ 21971 h 60579"/>
                  <a:gd name="connsiteX18" fmla="*/ 12350 w 44178"/>
                  <a:gd name="connsiteY18" fmla="*/ 31877 h 60579"/>
                  <a:gd name="connsiteX19" fmla="*/ 22025 w 44178"/>
                  <a:gd name="connsiteY19" fmla="*/ 35941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60579">
                    <a:moveTo>
                      <a:pt x="127" y="22098"/>
                    </a:moveTo>
                    <a:cubicBezTo>
                      <a:pt x="127" y="16002"/>
                      <a:pt x="2292" y="10795"/>
                      <a:pt x="6493" y="6477"/>
                    </a:cubicBezTo>
                    <a:cubicBezTo>
                      <a:pt x="10822" y="2159"/>
                      <a:pt x="15914" y="0"/>
                      <a:pt x="22025" y="0"/>
                    </a:cubicBezTo>
                    <a:cubicBezTo>
                      <a:pt x="28136" y="0"/>
                      <a:pt x="33356" y="2159"/>
                      <a:pt x="37685" y="6477"/>
                    </a:cubicBezTo>
                    <a:cubicBezTo>
                      <a:pt x="42014" y="10795"/>
                      <a:pt x="44178" y="16002"/>
                      <a:pt x="44178" y="22098"/>
                    </a:cubicBezTo>
                    <a:cubicBezTo>
                      <a:pt x="44178" y="28194"/>
                      <a:pt x="42014" y="33401"/>
                      <a:pt x="37685" y="37719"/>
                    </a:cubicBezTo>
                    <a:cubicBezTo>
                      <a:pt x="33356" y="42037"/>
                      <a:pt x="28136" y="44196"/>
                      <a:pt x="22025" y="44196"/>
                    </a:cubicBezTo>
                    <a:cubicBezTo>
                      <a:pt x="16551" y="44196"/>
                      <a:pt x="11968" y="42164"/>
                      <a:pt x="8530" y="38100"/>
                    </a:cubicBezTo>
                    <a:lnTo>
                      <a:pt x="8530" y="60579"/>
                    </a:lnTo>
                    <a:lnTo>
                      <a:pt x="0" y="60579"/>
                    </a:lnTo>
                    <a:lnTo>
                      <a:pt x="0" y="22225"/>
                    </a:lnTo>
                    <a:close/>
                    <a:moveTo>
                      <a:pt x="22153" y="35941"/>
                    </a:moveTo>
                    <a:cubicBezTo>
                      <a:pt x="25972" y="35941"/>
                      <a:pt x="29282" y="34544"/>
                      <a:pt x="31956" y="31877"/>
                    </a:cubicBezTo>
                    <a:cubicBezTo>
                      <a:pt x="34630" y="29210"/>
                      <a:pt x="35903" y="25908"/>
                      <a:pt x="35903" y="21971"/>
                    </a:cubicBezTo>
                    <a:cubicBezTo>
                      <a:pt x="35903" y="18034"/>
                      <a:pt x="34630" y="14732"/>
                      <a:pt x="31956" y="12065"/>
                    </a:cubicBezTo>
                    <a:cubicBezTo>
                      <a:pt x="29410" y="9398"/>
                      <a:pt x="26099" y="8001"/>
                      <a:pt x="22153" y="8001"/>
                    </a:cubicBezTo>
                    <a:cubicBezTo>
                      <a:pt x="18206" y="8001"/>
                      <a:pt x="15023" y="9398"/>
                      <a:pt x="12350" y="12065"/>
                    </a:cubicBezTo>
                    <a:cubicBezTo>
                      <a:pt x="9676" y="14732"/>
                      <a:pt x="8403" y="18034"/>
                      <a:pt x="8403" y="21971"/>
                    </a:cubicBezTo>
                    <a:cubicBezTo>
                      <a:pt x="8403" y="25908"/>
                      <a:pt x="9676" y="29083"/>
                      <a:pt x="12350" y="31877"/>
                    </a:cubicBezTo>
                    <a:cubicBezTo>
                      <a:pt x="15023" y="34544"/>
                      <a:pt x="18206" y="35941"/>
                      <a:pt x="22025" y="35941"/>
                    </a:cubicBezTo>
                    <a:close/>
                  </a:path>
                </a:pathLst>
              </a:custGeom>
              <a:solidFill>
                <a:srgbClr val="FFFFFF"/>
              </a:solidFill>
              <a:ln w="0" cap="flat">
                <a:noFill/>
                <a:prstDash val="solid"/>
                <a:miter/>
              </a:ln>
            </p:spPr>
            <p:txBody>
              <a:bodyPr rtlCol="0" anchor="ctr"/>
              <a:lstStyle/>
              <a:p>
                <a:endParaRPr lang="en-AD" sz="2400"/>
              </a:p>
            </p:txBody>
          </p:sp>
          <p:sp>
            <p:nvSpPr>
              <p:cNvPr id="161" name="Freeform 160">
                <a:extLst>
                  <a:ext uri="{FF2B5EF4-FFF2-40B4-BE49-F238E27FC236}">
                    <a16:creationId xmlns:a16="http://schemas.microsoft.com/office/drawing/2014/main" id="{DDFFB3F6-7387-CCCC-00C6-77A889187792}"/>
                  </a:ext>
                </a:extLst>
              </p:cNvPr>
              <p:cNvSpPr/>
              <p:nvPr/>
            </p:nvSpPr>
            <p:spPr>
              <a:xfrm>
                <a:off x="2757515" y="4739894"/>
                <a:ext cx="43796" cy="43941"/>
              </a:xfrm>
              <a:custGeom>
                <a:avLst/>
                <a:gdLst>
                  <a:gd name="connsiteX0" fmla="*/ 6366 w 43796"/>
                  <a:gd name="connsiteY0" fmla="*/ 37592 h 43941"/>
                  <a:gd name="connsiteX1" fmla="*/ 0 w 43796"/>
                  <a:gd name="connsiteY1" fmla="*/ 22098 h 43941"/>
                  <a:gd name="connsiteX2" fmla="*/ 6238 w 43796"/>
                  <a:gd name="connsiteY2" fmla="*/ 6477 h 43941"/>
                  <a:gd name="connsiteX3" fmla="*/ 21643 w 43796"/>
                  <a:gd name="connsiteY3" fmla="*/ 0 h 43941"/>
                  <a:gd name="connsiteX4" fmla="*/ 36921 w 43796"/>
                  <a:gd name="connsiteY4" fmla="*/ 5842 h 43941"/>
                  <a:gd name="connsiteX5" fmla="*/ 43796 w 43796"/>
                  <a:gd name="connsiteY5" fmla="*/ 21209 h 43941"/>
                  <a:gd name="connsiteX6" fmla="*/ 43541 w 43796"/>
                  <a:gd name="connsiteY6" fmla="*/ 25019 h 43941"/>
                  <a:gd name="connsiteX7" fmla="*/ 9039 w 43796"/>
                  <a:gd name="connsiteY7" fmla="*/ 25019 h 43941"/>
                  <a:gd name="connsiteX8" fmla="*/ 13113 w 43796"/>
                  <a:gd name="connsiteY8" fmla="*/ 32766 h 43941"/>
                  <a:gd name="connsiteX9" fmla="*/ 21771 w 43796"/>
                  <a:gd name="connsiteY9" fmla="*/ 35814 h 43941"/>
                  <a:gd name="connsiteX10" fmla="*/ 32083 w 43796"/>
                  <a:gd name="connsiteY10" fmla="*/ 31496 h 43941"/>
                  <a:gd name="connsiteX11" fmla="*/ 42141 w 43796"/>
                  <a:gd name="connsiteY11" fmla="*/ 31496 h 43941"/>
                  <a:gd name="connsiteX12" fmla="*/ 33866 w 43796"/>
                  <a:gd name="connsiteY12" fmla="*/ 40513 h 43941"/>
                  <a:gd name="connsiteX13" fmla="*/ 22026 w 43796"/>
                  <a:gd name="connsiteY13" fmla="*/ 43942 h 43941"/>
                  <a:gd name="connsiteX14" fmla="*/ 6366 w 43796"/>
                  <a:gd name="connsiteY14" fmla="*/ 37592 h 43941"/>
                  <a:gd name="connsiteX15" fmla="*/ 8912 w 43796"/>
                  <a:gd name="connsiteY15" fmla="*/ 18161 h 43941"/>
                  <a:gd name="connsiteX16" fmla="*/ 34757 w 43796"/>
                  <a:gd name="connsiteY16" fmla="*/ 18161 h 43941"/>
                  <a:gd name="connsiteX17" fmla="*/ 30046 w 43796"/>
                  <a:gd name="connsiteY17" fmla="*/ 10922 h 43941"/>
                  <a:gd name="connsiteX18" fmla="*/ 22026 w 43796"/>
                  <a:gd name="connsiteY18" fmla="*/ 8001 h 43941"/>
                  <a:gd name="connsiteX19" fmla="*/ 13623 w 43796"/>
                  <a:gd name="connsiteY19" fmla="*/ 10795 h 43941"/>
                  <a:gd name="connsiteX20" fmla="*/ 8912 w 43796"/>
                  <a:gd name="connsiteY20" fmla="*/ 18161 h 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796" h="43941">
                    <a:moveTo>
                      <a:pt x="6366" y="37592"/>
                    </a:moveTo>
                    <a:cubicBezTo>
                      <a:pt x="2164" y="33274"/>
                      <a:pt x="0" y="28194"/>
                      <a:pt x="0" y="22098"/>
                    </a:cubicBezTo>
                    <a:cubicBezTo>
                      <a:pt x="0" y="16002"/>
                      <a:pt x="2037" y="10795"/>
                      <a:pt x="6238" y="6477"/>
                    </a:cubicBezTo>
                    <a:cubicBezTo>
                      <a:pt x="10440" y="2159"/>
                      <a:pt x="15532" y="0"/>
                      <a:pt x="21643" y="0"/>
                    </a:cubicBezTo>
                    <a:cubicBezTo>
                      <a:pt x="27755" y="0"/>
                      <a:pt x="32592" y="1905"/>
                      <a:pt x="36921" y="5842"/>
                    </a:cubicBezTo>
                    <a:cubicBezTo>
                      <a:pt x="41250" y="9779"/>
                      <a:pt x="43541" y="14859"/>
                      <a:pt x="43796" y="21209"/>
                    </a:cubicBezTo>
                    <a:cubicBezTo>
                      <a:pt x="43796" y="22606"/>
                      <a:pt x="43796" y="23876"/>
                      <a:pt x="43541" y="25019"/>
                    </a:cubicBezTo>
                    <a:lnTo>
                      <a:pt x="9039" y="25019"/>
                    </a:lnTo>
                    <a:cubicBezTo>
                      <a:pt x="9421" y="28194"/>
                      <a:pt x="10695" y="30861"/>
                      <a:pt x="13113" y="32766"/>
                    </a:cubicBezTo>
                    <a:cubicBezTo>
                      <a:pt x="15532" y="34798"/>
                      <a:pt x="18333" y="35814"/>
                      <a:pt x="21771" y="35814"/>
                    </a:cubicBezTo>
                    <a:cubicBezTo>
                      <a:pt x="25972" y="35814"/>
                      <a:pt x="29410" y="34417"/>
                      <a:pt x="32083" y="31496"/>
                    </a:cubicBezTo>
                    <a:lnTo>
                      <a:pt x="42141" y="31496"/>
                    </a:lnTo>
                    <a:cubicBezTo>
                      <a:pt x="40231" y="35306"/>
                      <a:pt x="37558" y="38227"/>
                      <a:pt x="33866" y="40513"/>
                    </a:cubicBezTo>
                    <a:cubicBezTo>
                      <a:pt x="30301" y="42799"/>
                      <a:pt x="26354" y="43942"/>
                      <a:pt x="22026" y="43942"/>
                    </a:cubicBezTo>
                    <a:cubicBezTo>
                      <a:pt x="15914" y="43942"/>
                      <a:pt x="10695" y="41783"/>
                      <a:pt x="6366" y="37592"/>
                    </a:cubicBezTo>
                    <a:close/>
                    <a:moveTo>
                      <a:pt x="8912" y="18161"/>
                    </a:moveTo>
                    <a:lnTo>
                      <a:pt x="34757" y="18161"/>
                    </a:lnTo>
                    <a:cubicBezTo>
                      <a:pt x="33993" y="15240"/>
                      <a:pt x="32338" y="12827"/>
                      <a:pt x="30046" y="10922"/>
                    </a:cubicBezTo>
                    <a:cubicBezTo>
                      <a:pt x="27627" y="9017"/>
                      <a:pt x="24954" y="8001"/>
                      <a:pt x="22026" y="8001"/>
                    </a:cubicBezTo>
                    <a:cubicBezTo>
                      <a:pt x="18715" y="8001"/>
                      <a:pt x="16042" y="8890"/>
                      <a:pt x="13623" y="10795"/>
                    </a:cubicBezTo>
                    <a:cubicBezTo>
                      <a:pt x="11331" y="12700"/>
                      <a:pt x="9803" y="15113"/>
                      <a:pt x="8912" y="18161"/>
                    </a:cubicBezTo>
                    <a:close/>
                  </a:path>
                </a:pathLst>
              </a:custGeom>
              <a:solidFill>
                <a:srgbClr val="FFFFFF"/>
              </a:solidFill>
              <a:ln w="0" cap="flat">
                <a:noFill/>
                <a:prstDash val="solid"/>
                <a:miter/>
              </a:ln>
            </p:spPr>
            <p:txBody>
              <a:bodyPr rtlCol="0" anchor="ctr"/>
              <a:lstStyle/>
              <a:p>
                <a:endParaRPr lang="en-AD" sz="2400"/>
              </a:p>
            </p:txBody>
          </p:sp>
          <p:sp>
            <p:nvSpPr>
              <p:cNvPr id="162" name="Freeform 161">
                <a:extLst>
                  <a:ext uri="{FF2B5EF4-FFF2-40B4-BE49-F238E27FC236}">
                    <a16:creationId xmlns:a16="http://schemas.microsoft.com/office/drawing/2014/main" id="{8DBEB748-6D5D-D79D-0FCF-C8D8C9C71A02}"/>
                  </a:ext>
                </a:extLst>
              </p:cNvPr>
              <p:cNvSpPr/>
              <p:nvPr/>
            </p:nvSpPr>
            <p:spPr>
              <a:xfrm>
                <a:off x="2333813" y="4805426"/>
                <a:ext cx="13877" cy="31877"/>
              </a:xfrm>
              <a:custGeom>
                <a:avLst/>
                <a:gdLst>
                  <a:gd name="connsiteX0" fmla="*/ 127 w 13877"/>
                  <a:gd name="connsiteY0" fmla="*/ 8763 h 31877"/>
                  <a:gd name="connsiteX1" fmla="*/ 3947 w 13877"/>
                  <a:gd name="connsiteY1" fmla="*/ 8763 h 31877"/>
                  <a:gd name="connsiteX2" fmla="*/ 3947 w 13877"/>
                  <a:gd name="connsiteY2" fmla="*/ 6858 h 31877"/>
                  <a:gd name="connsiteX3" fmla="*/ 10312 w 13877"/>
                  <a:gd name="connsiteY3" fmla="*/ 0 h 31877"/>
                  <a:gd name="connsiteX4" fmla="*/ 13877 w 13877"/>
                  <a:gd name="connsiteY4" fmla="*/ 254 h 31877"/>
                  <a:gd name="connsiteX5" fmla="*/ 13877 w 13877"/>
                  <a:gd name="connsiteY5" fmla="*/ 4191 h 31877"/>
                  <a:gd name="connsiteX6" fmla="*/ 11458 w 13877"/>
                  <a:gd name="connsiteY6" fmla="*/ 3937 h 31877"/>
                  <a:gd name="connsiteX7" fmla="*/ 8912 w 13877"/>
                  <a:gd name="connsiteY7" fmla="*/ 6350 h 31877"/>
                  <a:gd name="connsiteX8" fmla="*/ 8912 w 13877"/>
                  <a:gd name="connsiteY8" fmla="*/ 8763 h 31877"/>
                  <a:gd name="connsiteX9" fmla="*/ 13241 w 13877"/>
                  <a:gd name="connsiteY9" fmla="*/ 8763 h 31877"/>
                  <a:gd name="connsiteX10" fmla="*/ 13241 w 13877"/>
                  <a:gd name="connsiteY10" fmla="*/ 12573 h 31877"/>
                  <a:gd name="connsiteX11" fmla="*/ 8912 w 13877"/>
                  <a:gd name="connsiteY11" fmla="*/ 12573 h 31877"/>
                  <a:gd name="connsiteX12" fmla="*/ 8912 w 13877"/>
                  <a:gd name="connsiteY12" fmla="*/ 31877 h 31877"/>
                  <a:gd name="connsiteX13" fmla="*/ 3819 w 13877"/>
                  <a:gd name="connsiteY13" fmla="*/ 31877 h 31877"/>
                  <a:gd name="connsiteX14" fmla="*/ 3819 w 13877"/>
                  <a:gd name="connsiteY14" fmla="*/ 12573 h 31877"/>
                  <a:gd name="connsiteX15" fmla="*/ 0 w 13877"/>
                  <a:gd name="connsiteY15" fmla="*/ 12573 h 31877"/>
                  <a:gd name="connsiteX16" fmla="*/ 0 w 13877"/>
                  <a:gd name="connsiteY16"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77" h="31877">
                    <a:moveTo>
                      <a:pt x="127" y="8763"/>
                    </a:moveTo>
                    <a:lnTo>
                      <a:pt x="3947" y="8763"/>
                    </a:lnTo>
                    <a:lnTo>
                      <a:pt x="3947" y="6858"/>
                    </a:lnTo>
                    <a:cubicBezTo>
                      <a:pt x="3947" y="1016"/>
                      <a:pt x="7002" y="0"/>
                      <a:pt x="10312" y="0"/>
                    </a:cubicBezTo>
                    <a:cubicBezTo>
                      <a:pt x="11968" y="0"/>
                      <a:pt x="13113" y="0"/>
                      <a:pt x="13877" y="254"/>
                    </a:cubicBezTo>
                    <a:lnTo>
                      <a:pt x="13877" y="4191"/>
                    </a:lnTo>
                    <a:cubicBezTo>
                      <a:pt x="13241" y="4064"/>
                      <a:pt x="12477" y="3937"/>
                      <a:pt x="11458" y="3937"/>
                    </a:cubicBezTo>
                    <a:cubicBezTo>
                      <a:pt x="10058" y="3937"/>
                      <a:pt x="8912" y="4445"/>
                      <a:pt x="8912" y="6350"/>
                    </a:cubicBezTo>
                    <a:lnTo>
                      <a:pt x="8912" y="8763"/>
                    </a:lnTo>
                    <a:lnTo>
                      <a:pt x="13241" y="8763"/>
                    </a:lnTo>
                    <a:lnTo>
                      <a:pt x="13241" y="12573"/>
                    </a:lnTo>
                    <a:lnTo>
                      <a:pt x="8912" y="12573"/>
                    </a:lnTo>
                    <a:lnTo>
                      <a:pt x="8912" y="31877"/>
                    </a:lnTo>
                    <a:lnTo>
                      <a:pt x="3819" y="31877"/>
                    </a:lnTo>
                    <a:lnTo>
                      <a:pt x="3819" y="12573"/>
                    </a:lnTo>
                    <a:lnTo>
                      <a:pt x="0" y="12573"/>
                    </a:lnTo>
                    <a:lnTo>
                      <a:pt x="0" y="8763"/>
                    </a:lnTo>
                    <a:close/>
                  </a:path>
                </a:pathLst>
              </a:custGeom>
              <a:solidFill>
                <a:srgbClr val="FFFFFF"/>
              </a:solidFill>
              <a:ln w="0" cap="flat">
                <a:noFill/>
                <a:prstDash val="solid"/>
                <a:miter/>
              </a:ln>
            </p:spPr>
            <p:txBody>
              <a:bodyPr rtlCol="0" anchor="ctr"/>
              <a:lstStyle/>
              <a:p>
                <a:endParaRPr lang="en-AD" sz="2400"/>
              </a:p>
            </p:txBody>
          </p:sp>
          <p:sp>
            <p:nvSpPr>
              <p:cNvPr id="163" name="Freeform 162">
                <a:extLst>
                  <a:ext uri="{FF2B5EF4-FFF2-40B4-BE49-F238E27FC236}">
                    <a16:creationId xmlns:a16="http://schemas.microsoft.com/office/drawing/2014/main" id="{85B92C1F-2F27-B07F-09B9-841A12AB1888}"/>
                  </a:ext>
                </a:extLst>
              </p:cNvPr>
              <p:cNvSpPr/>
              <p:nvPr/>
            </p:nvSpPr>
            <p:spPr>
              <a:xfrm>
                <a:off x="2350491"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3"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64" name="Freeform 163">
                <a:extLst>
                  <a:ext uri="{FF2B5EF4-FFF2-40B4-BE49-F238E27FC236}">
                    <a16:creationId xmlns:a16="http://schemas.microsoft.com/office/drawing/2014/main" id="{F54578BF-2886-DB26-5083-46EE93F1774A}"/>
                  </a:ext>
                </a:extLst>
              </p:cNvPr>
              <p:cNvSpPr/>
              <p:nvPr/>
            </p:nvSpPr>
            <p:spPr>
              <a:xfrm>
                <a:off x="2364623"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5" y="0"/>
                      <a:pt x="23426" y="5080"/>
                      <a:pt x="23426" y="12192"/>
                    </a:cubicBezTo>
                    <a:cubicBezTo>
                      <a:pt x="23426" y="19304"/>
                      <a:pt x="19225"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65" name="Freeform 164">
                <a:extLst>
                  <a:ext uri="{FF2B5EF4-FFF2-40B4-BE49-F238E27FC236}">
                    <a16:creationId xmlns:a16="http://schemas.microsoft.com/office/drawing/2014/main" id="{AAE17236-0445-E422-0914-8DBD3915FDCB}"/>
                  </a:ext>
                </a:extLst>
              </p:cNvPr>
              <p:cNvSpPr/>
              <p:nvPr/>
            </p:nvSpPr>
            <p:spPr>
              <a:xfrm>
                <a:off x="2392378" y="4813553"/>
                <a:ext cx="33610" cy="23622"/>
              </a:xfrm>
              <a:custGeom>
                <a:avLst/>
                <a:gdLst>
                  <a:gd name="connsiteX0" fmla="*/ 0 w 33610"/>
                  <a:gd name="connsiteY0" fmla="*/ 635 h 23622"/>
                  <a:gd name="connsiteX1" fmla="*/ 4838 w 33610"/>
                  <a:gd name="connsiteY1" fmla="*/ 635 h 23622"/>
                  <a:gd name="connsiteX2" fmla="*/ 4838 w 33610"/>
                  <a:gd name="connsiteY2" fmla="*/ 3810 h 23622"/>
                  <a:gd name="connsiteX3" fmla="*/ 4965 w 33610"/>
                  <a:gd name="connsiteY3" fmla="*/ 3810 h 23622"/>
                  <a:gd name="connsiteX4" fmla="*/ 12095 w 33610"/>
                  <a:gd name="connsiteY4" fmla="*/ 0 h 23622"/>
                  <a:gd name="connsiteX5" fmla="*/ 18588 w 33610"/>
                  <a:gd name="connsiteY5" fmla="*/ 3810 h 23622"/>
                  <a:gd name="connsiteX6" fmla="*/ 25845 w 33610"/>
                  <a:gd name="connsiteY6" fmla="*/ 0 h 23622"/>
                  <a:gd name="connsiteX7" fmla="*/ 33611 w 33610"/>
                  <a:gd name="connsiteY7" fmla="*/ 7747 h 23622"/>
                  <a:gd name="connsiteX8" fmla="*/ 33611 w 33610"/>
                  <a:gd name="connsiteY8" fmla="*/ 23622 h 23622"/>
                  <a:gd name="connsiteX9" fmla="*/ 28518 w 33610"/>
                  <a:gd name="connsiteY9" fmla="*/ 23622 h 23622"/>
                  <a:gd name="connsiteX10" fmla="*/ 28518 w 33610"/>
                  <a:gd name="connsiteY10" fmla="*/ 10160 h 23622"/>
                  <a:gd name="connsiteX11" fmla="*/ 24317 w 33610"/>
                  <a:gd name="connsiteY11" fmla="*/ 3937 h 23622"/>
                  <a:gd name="connsiteX12" fmla="*/ 19352 w 33610"/>
                  <a:gd name="connsiteY12" fmla="*/ 10033 h 23622"/>
                  <a:gd name="connsiteX13" fmla="*/ 19352 w 33610"/>
                  <a:gd name="connsiteY13" fmla="*/ 23495 h 23622"/>
                  <a:gd name="connsiteX14" fmla="*/ 14259 w 33610"/>
                  <a:gd name="connsiteY14" fmla="*/ 23495 h 23622"/>
                  <a:gd name="connsiteX15" fmla="*/ 14259 w 33610"/>
                  <a:gd name="connsiteY15" fmla="*/ 8636 h 23622"/>
                  <a:gd name="connsiteX16" fmla="*/ 10185 w 33610"/>
                  <a:gd name="connsiteY16" fmla="*/ 3810 h 23622"/>
                  <a:gd name="connsiteX17" fmla="*/ 5092 w 33610"/>
                  <a:gd name="connsiteY17" fmla="*/ 9779 h 23622"/>
                  <a:gd name="connsiteX18" fmla="*/ 5092 w 33610"/>
                  <a:gd name="connsiteY18" fmla="*/ 23495 h 23622"/>
                  <a:gd name="connsiteX19" fmla="*/ 0 w 33610"/>
                  <a:gd name="connsiteY19" fmla="*/ 23495 h 23622"/>
                  <a:gd name="connsiteX20" fmla="*/ 0 w 33610"/>
                  <a:gd name="connsiteY20" fmla="*/ 381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10" h="23622">
                    <a:moveTo>
                      <a:pt x="0" y="635"/>
                    </a:moveTo>
                    <a:lnTo>
                      <a:pt x="4838" y="635"/>
                    </a:lnTo>
                    <a:lnTo>
                      <a:pt x="4838" y="3810"/>
                    </a:lnTo>
                    <a:lnTo>
                      <a:pt x="4965" y="3810"/>
                    </a:lnTo>
                    <a:cubicBezTo>
                      <a:pt x="6493" y="1524"/>
                      <a:pt x="8403" y="0"/>
                      <a:pt x="12095" y="0"/>
                    </a:cubicBezTo>
                    <a:cubicBezTo>
                      <a:pt x="14896" y="0"/>
                      <a:pt x="17569" y="1143"/>
                      <a:pt x="18588" y="3810"/>
                    </a:cubicBezTo>
                    <a:cubicBezTo>
                      <a:pt x="20243" y="1397"/>
                      <a:pt x="22535" y="0"/>
                      <a:pt x="25845" y="0"/>
                    </a:cubicBezTo>
                    <a:cubicBezTo>
                      <a:pt x="30683" y="0"/>
                      <a:pt x="33611" y="2159"/>
                      <a:pt x="33611" y="7747"/>
                    </a:cubicBezTo>
                    <a:lnTo>
                      <a:pt x="33611" y="23622"/>
                    </a:lnTo>
                    <a:lnTo>
                      <a:pt x="28518" y="23622"/>
                    </a:lnTo>
                    <a:lnTo>
                      <a:pt x="28518" y="10160"/>
                    </a:lnTo>
                    <a:cubicBezTo>
                      <a:pt x="28518" y="6477"/>
                      <a:pt x="28264" y="3937"/>
                      <a:pt x="24317" y="3937"/>
                    </a:cubicBezTo>
                    <a:cubicBezTo>
                      <a:pt x="20880" y="3937"/>
                      <a:pt x="19352" y="6223"/>
                      <a:pt x="19352" y="10033"/>
                    </a:cubicBezTo>
                    <a:lnTo>
                      <a:pt x="19352" y="23495"/>
                    </a:lnTo>
                    <a:lnTo>
                      <a:pt x="14259" y="23495"/>
                    </a:lnTo>
                    <a:lnTo>
                      <a:pt x="14259" y="8636"/>
                    </a:lnTo>
                    <a:cubicBezTo>
                      <a:pt x="14259" y="5461"/>
                      <a:pt x="13241" y="3810"/>
                      <a:pt x="10185" y="3810"/>
                    </a:cubicBezTo>
                    <a:cubicBezTo>
                      <a:pt x="7512" y="3810"/>
                      <a:pt x="5092" y="5969"/>
                      <a:pt x="5092" y="9779"/>
                    </a:cubicBezTo>
                    <a:lnTo>
                      <a:pt x="5092" y="23495"/>
                    </a:lnTo>
                    <a:lnTo>
                      <a:pt x="0" y="23495"/>
                    </a:lnTo>
                    <a:lnTo>
                      <a:pt x="0" y="381"/>
                    </a:lnTo>
                    <a:close/>
                  </a:path>
                </a:pathLst>
              </a:custGeom>
              <a:solidFill>
                <a:srgbClr val="FFFFFF"/>
              </a:solidFill>
              <a:ln w="0" cap="flat">
                <a:noFill/>
                <a:prstDash val="solid"/>
                <a:miter/>
              </a:ln>
            </p:spPr>
            <p:txBody>
              <a:bodyPr rtlCol="0" anchor="ctr"/>
              <a:lstStyle/>
              <a:p>
                <a:endParaRPr lang="en-AD" sz="2400"/>
              </a:p>
            </p:txBody>
          </p:sp>
          <p:sp>
            <p:nvSpPr>
              <p:cNvPr id="166" name="Freeform 165">
                <a:extLst>
                  <a:ext uri="{FF2B5EF4-FFF2-40B4-BE49-F238E27FC236}">
                    <a16:creationId xmlns:a16="http://schemas.microsoft.com/office/drawing/2014/main" id="{706F6EEC-2067-8CE1-00D9-E005FCEB3FF6}"/>
                  </a:ext>
                </a:extLst>
              </p:cNvPr>
              <p:cNvSpPr/>
              <p:nvPr/>
            </p:nvSpPr>
            <p:spPr>
              <a:xfrm>
                <a:off x="2443176" y="4805426"/>
                <a:ext cx="22789" cy="32511"/>
              </a:xfrm>
              <a:custGeom>
                <a:avLst/>
                <a:gdLst>
                  <a:gd name="connsiteX0" fmla="*/ 22789 w 22789"/>
                  <a:gd name="connsiteY0" fmla="*/ 31877 h 32511"/>
                  <a:gd name="connsiteX1" fmla="*/ 17951 w 22789"/>
                  <a:gd name="connsiteY1" fmla="*/ 31877 h 32511"/>
                  <a:gd name="connsiteX2" fmla="*/ 17951 w 22789"/>
                  <a:gd name="connsiteY2" fmla="*/ 28702 h 32511"/>
                  <a:gd name="connsiteX3" fmla="*/ 17951 w 22789"/>
                  <a:gd name="connsiteY3" fmla="*/ 28702 h 32511"/>
                  <a:gd name="connsiteX4" fmla="*/ 10822 w 22789"/>
                  <a:gd name="connsiteY4" fmla="*/ 32512 h 32511"/>
                  <a:gd name="connsiteX5" fmla="*/ 0 w 22789"/>
                  <a:gd name="connsiteY5" fmla="*/ 20193 h 32511"/>
                  <a:gd name="connsiteX6" fmla="*/ 10058 w 22789"/>
                  <a:gd name="connsiteY6" fmla="*/ 8255 h 32511"/>
                  <a:gd name="connsiteX7" fmla="*/ 17697 w 22789"/>
                  <a:gd name="connsiteY7" fmla="*/ 11811 h 32511"/>
                  <a:gd name="connsiteX8" fmla="*/ 17697 w 22789"/>
                  <a:gd name="connsiteY8" fmla="*/ 11811 h 32511"/>
                  <a:gd name="connsiteX9" fmla="*/ 17697 w 22789"/>
                  <a:gd name="connsiteY9" fmla="*/ 0 h 32511"/>
                  <a:gd name="connsiteX10" fmla="*/ 22789 w 22789"/>
                  <a:gd name="connsiteY10" fmla="*/ 0 h 32511"/>
                  <a:gd name="connsiteX11" fmla="*/ 22789 w 22789"/>
                  <a:gd name="connsiteY11" fmla="*/ 31877 h 32511"/>
                  <a:gd name="connsiteX12" fmla="*/ 11458 w 22789"/>
                  <a:gd name="connsiteY12" fmla="*/ 28448 h 32511"/>
                  <a:gd name="connsiteX13" fmla="*/ 17951 w 22789"/>
                  <a:gd name="connsiteY13" fmla="*/ 20320 h 32511"/>
                  <a:gd name="connsiteX14" fmla="*/ 11586 w 22789"/>
                  <a:gd name="connsiteY14" fmla="*/ 12192 h 32511"/>
                  <a:gd name="connsiteX15" fmla="*/ 5093 w 22789"/>
                  <a:gd name="connsiteY15" fmla="*/ 20574 h 32511"/>
                  <a:gd name="connsiteX16" fmla="*/ 11458 w 22789"/>
                  <a:gd name="connsiteY16" fmla="*/ 28448 h 3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9" h="32511">
                    <a:moveTo>
                      <a:pt x="22789" y="31877"/>
                    </a:moveTo>
                    <a:lnTo>
                      <a:pt x="17951" y="31877"/>
                    </a:lnTo>
                    <a:lnTo>
                      <a:pt x="17951" y="28702"/>
                    </a:lnTo>
                    <a:lnTo>
                      <a:pt x="17951" y="28702"/>
                    </a:lnTo>
                    <a:cubicBezTo>
                      <a:pt x="16551" y="31369"/>
                      <a:pt x="13750" y="32512"/>
                      <a:pt x="10822" y="32512"/>
                    </a:cubicBezTo>
                    <a:cubicBezTo>
                      <a:pt x="3565" y="32512"/>
                      <a:pt x="0" y="27178"/>
                      <a:pt x="0" y="20193"/>
                    </a:cubicBezTo>
                    <a:cubicBezTo>
                      <a:pt x="0" y="11811"/>
                      <a:pt x="4965" y="8255"/>
                      <a:pt x="10058" y="8255"/>
                    </a:cubicBezTo>
                    <a:cubicBezTo>
                      <a:pt x="12986" y="8255"/>
                      <a:pt x="16169" y="9271"/>
                      <a:pt x="17697" y="11811"/>
                    </a:cubicBezTo>
                    <a:lnTo>
                      <a:pt x="17697" y="11811"/>
                    </a:lnTo>
                    <a:lnTo>
                      <a:pt x="17697" y="0"/>
                    </a:lnTo>
                    <a:lnTo>
                      <a:pt x="22789" y="0"/>
                    </a:lnTo>
                    <a:lnTo>
                      <a:pt x="22789" y="31877"/>
                    </a:lnTo>
                    <a:close/>
                    <a:moveTo>
                      <a:pt x="11458" y="28448"/>
                    </a:moveTo>
                    <a:cubicBezTo>
                      <a:pt x="16042" y="28448"/>
                      <a:pt x="17951" y="24257"/>
                      <a:pt x="17951" y="20320"/>
                    </a:cubicBezTo>
                    <a:cubicBezTo>
                      <a:pt x="17951" y="15240"/>
                      <a:pt x="15532" y="12192"/>
                      <a:pt x="11586" y="12192"/>
                    </a:cubicBezTo>
                    <a:cubicBezTo>
                      <a:pt x="6748" y="12192"/>
                      <a:pt x="5093" y="16383"/>
                      <a:pt x="5093" y="20574"/>
                    </a:cubicBezTo>
                    <a:cubicBezTo>
                      <a:pt x="5093" y="24765"/>
                      <a:pt x="7002" y="28448"/>
                      <a:pt x="11458" y="28448"/>
                    </a:cubicBezTo>
                    <a:close/>
                  </a:path>
                </a:pathLst>
              </a:custGeom>
              <a:solidFill>
                <a:srgbClr val="FFFFFF"/>
              </a:solidFill>
              <a:ln w="0" cap="flat">
                <a:noFill/>
                <a:prstDash val="solid"/>
                <a:miter/>
              </a:ln>
            </p:spPr>
            <p:txBody>
              <a:bodyPr rtlCol="0" anchor="ctr"/>
              <a:lstStyle/>
              <a:p>
                <a:endParaRPr lang="en-AD" sz="2400"/>
              </a:p>
            </p:txBody>
          </p:sp>
          <p:sp>
            <p:nvSpPr>
              <p:cNvPr id="167" name="Freeform 166">
                <a:extLst>
                  <a:ext uri="{FF2B5EF4-FFF2-40B4-BE49-F238E27FC236}">
                    <a16:creationId xmlns:a16="http://schemas.microsoft.com/office/drawing/2014/main" id="{9A295F37-8D07-AE48-7E83-813345FB8C2F}"/>
                  </a:ext>
                </a:extLst>
              </p:cNvPr>
              <p:cNvSpPr/>
              <p:nvPr/>
            </p:nvSpPr>
            <p:spPr>
              <a:xfrm>
                <a:off x="24718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68" name="Freeform 167">
                <a:extLst>
                  <a:ext uri="{FF2B5EF4-FFF2-40B4-BE49-F238E27FC236}">
                    <a16:creationId xmlns:a16="http://schemas.microsoft.com/office/drawing/2014/main" id="{400E847F-E6B4-B413-466D-42568147B3AA}"/>
                  </a:ext>
                </a:extLst>
              </p:cNvPr>
              <p:cNvSpPr/>
              <p:nvPr/>
            </p:nvSpPr>
            <p:spPr>
              <a:xfrm>
                <a:off x="2481498" y="4813680"/>
                <a:ext cx="23043" cy="24384"/>
              </a:xfrm>
              <a:custGeom>
                <a:avLst/>
                <a:gdLst>
                  <a:gd name="connsiteX0" fmla="*/ 20625 w 23043"/>
                  <a:gd name="connsiteY0" fmla="*/ 18415 h 24384"/>
                  <a:gd name="connsiteX1" fmla="*/ 21771 w 23043"/>
                  <a:gd name="connsiteY1" fmla="*/ 20193 h 24384"/>
                  <a:gd name="connsiteX2" fmla="*/ 23044 w 23043"/>
                  <a:gd name="connsiteY2" fmla="*/ 20193 h 24384"/>
                  <a:gd name="connsiteX3" fmla="*/ 23044 w 23043"/>
                  <a:gd name="connsiteY3" fmla="*/ 23749 h 24384"/>
                  <a:gd name="connsiteX4" fmla="*/ 19861 w 23043"/>
                  <a:gd name="connsiteY4" fmla="*/ 24384 h 24384"/>
                  <a:gd name="connsiteX5" fmla="*/ 15914 w 23043"/>
                  <a:gd name="connsiteY5" fmla="*/ 21590 h 24384"/>
                  <a:gd name="connsiteX6" fmla="*/ 7893 w 23043"/>
                  <a:gd name="connsiteY6" fmla="*/ 24384 h 24384"/>
                  <a:gd name="connsiteX7" fmla="*/ 0 w 23043"/>
                  <a:gd name="connsiteY7" fmla="*/ 17653 h 24384"/>
                  <a:gd name="connsiteX8" fmla="*/ 8912 w 23043"/>
                  <a:gd name="connsiteY8" fmla="*/ 10414 h 24384"/>
                  <a:gd name="connsiteX9" fmla="*/ 15787 w 23043"/>
                  <a:gd name="connsiteY9" fmla="*/ 7112 h 24384"/>
                  <a:gd name="connsiteX10" fmla="*/ 10949 w 23043"/>
                  <a:gd name="connsiteY10" fmla="*/ 3937 h 24384"/>
                  <a:gd name="connsiteX11" fmla="*/ 5856 w 23043"/>
                  <a:gd name="connsiteY11" fmla="*/ 7620 h 24384"/>
                  <a:gd name="connsiteX12" fmla="*/ 764 w 23043"/>
                  <a:gd name="connsiteY12" fmla="*/ 7620 h 24384"/>
                  <a:gd name="connsiteX13" fmla="*/ 11331 w 23043"/>
                  <a:gd name="connsiteY13" fmla="*/ 0 h 24384"/>
                  <a:gd name="connsiteX14" fmla="*/ 20625 w 23043"/>
                  <a:gd name="connsiteY14" fmla="*/ 6731 h 24384"/>
                  <a:gd name="connsiteX15" fmla="*/ 20625 w 23043"/>
                  <a:gd name="connsiteY15" fmla="*/ 18542 h 24384"/>
                  <a:gd name="connsiteX16" fmla="*/ 15532 w 23043"/>
                  <a:gd name="connsiteY16" fmla="*/ 12065 h 24384"/>
                  <a:gd name="connsiteX17" fmla="*/ 9294 w 23043"/>
                  <a:gd name="connsiteY17" fmla="*/ 13462 h 24384"/>
                  <a:gd name="connsiteX18" fmla="*/ 5092 w 23043"/>
                  <a:gd name="connsiteY18" fmla="*/ 17272 h 24384"/>
                  <a:gd name="connsiteX19" fmla="*/ 9803 w 23043"/>
                  <a:gd name="connsiteY19" fmla="*/ 20193 h 24384"/>
                  <a:gd name="connsiteX20" fmla="*/ 15532 w 23043"/>
                  <a:gd name="connsiteY20" fmla="*/ 15875 h 24384"/>
                  <a:gd name="connsiteX21" fmla="*/ 15532 w 23043"/>
                  <a:gd name="connsiteY21" fmla="*/ 12065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43" h="24384">
                    <a:moveTo>
                      <a:pt x="20625" y="18415"/>
                    </a:moveTo>
                    <a:cubicBezTo>
                      <a:pt x="20625" y="19685"/>
                      <a:pt x="20880" y="20193"/>
                      <a:pt x="21771" y="20193"/>
                    </a:cubicBezTo>
                    <a:cubicBezTo>
                      <a:pt x="22025" y="20193"/>
                      <a:pt x="22535" y="20193"/>
                      <a:pt x="23044" y="20193"/>
                    </a:cubicBezTo>
                    <a:lnTo>
                      <a:pt x="23044" y="23749"/>
                    </a:lnTo>
                    <a:cubicBezTo>
                      <a:pt x="22280" y="24003"/>
                      <a:pt x="20625" y="24384"/>
                      <a:pt x="19861" y="24384"/>
                    </a:cubicBezTo>
                    <a:cubicBezTo>
                      <a:pt x="17824" y="24384"/>
                      <a:pt x="16296" y="23622"/>
                      <a:pt x="15914" y="21590"/>
                    </a:cubicBezTo>
                    <a:cubicBezTo>
                      <a:pt x="13877" y="23495"/>
                      <a:pt x="10694" y="24384"/>
                      <a:pt x="7893" y="24384"/>
                    </a:cubicBezTo>
                    <a:cubicBezTo>
                      <a:pt x="3692" y="24384"/>
                      <a:pt x="0" y="22098"/>
                      <a:pt x="0" y="17653"/>
                    </a:cubicBezTo>
                    <a:cubicBezTo>
                      <a:pt x="0" y="11938"/>
                      <a:pt x="4583" y="10922"/>
                      <a:pt x="8912" y="10414"/>
                    </a:cubicBezTo>
                    <a:cubicBezTo>
                      <a:pt x="12604" y="9779"/>
                      <a:pt x="15787" y="10160"/>
                      <a:pt x="15787" y="7112"/>
                    </a:cubicBezTo>
                    <a:cubicBezTo>
                      <a:pt x="15787" y="4445"/>
                      <a:pt x="13113" y="3937"/>
                      <a:pt x="10949" y="3937"/>
                    </a:cubicBezTo>
                    <a:cubicBezTo>
                      <a:pt x="8148" y="3937"/>
                      <a:pt x="6111" y="5080"/>
                      <a:pt x="5856" y="7620"/>
                    </a:cubicBezTo>
                    <a:lnTo>
                      <a:pt x="764" y="7620"/>
                    </a:lnTo>
                    <a:cubicBezTo>
                      <a:pt x="1146" y="1651"/>
                      <a:pt x="6111" y="0"/>
                      <a:pt x="11331" y="0"/>
                    </a:cubicBezTo>
                    <a:cubicBezTo>
                      <a:pt x="15787" y="0"/>
                      <a:pt x="20625" y="1778"/>
                      <a:pt x="20625" y="6731"/>
                    </a:cubicBezTo>
                    <a:lnTo>
                      <a:pt x="20625" y="18542"/>
                    </a:lnTo>
                    <a:close/>
                    <a:moveTo>
                      <a:pt x="15532" y="12065"/>
                    </a:moveTo>
                    <a:cubicBezTo>
                      <a:pt x="14004" y="13081"/>
                      <a:pt x="11458" y="13081"/>
                      <a:pt x="9294" y="13462"/>
                    </a:cubicBezTo>
                    <a:cubicBezTo>
                      <a:pt x="7130" y="13843"/>
                      <a:pt x="5092" y="14605"/>
                      <a:pt x="5092" y="17272"/>
                    </a:cubicBezTo>
                    <a:cubicBezTo>
                      <a:pt x="5092" y="19558"/>
                      <a:pt x="8021" y="20193"/>
                      <a:pt x="9803" y="20193"/>
                    </a:cubicBezTo>
                    <a:cubicBezTo>
                      <a:pt x="12095" y="20193"/>
                      <a:pt x="15532" y="19050"/>
                      <a:pt x="15532" y="15875"/>
                    </a:cubicBezTo>
                    <a:lnTo>
                      <a:pt x="15532" y="12065"/>
                    </a:lnTo>
                    <a:close/>
                  </a:path>
                </a:pathLst>
              </a:custGeom>
              <a:solidFill>
                <a:srgbClr val="FFFFFF"/>
              </a:solidFill>
              <a:ln w="0" cap="flat">
                <a:noFill/>
                <a:prstDash val="solid"/>
                <a:miter/>
              </a:ln>
            </p:spPr>
            <p:txBody>
              <a:bodyPr rtlCol="0" anchor="ctr"/>
              <a:lstStyle/>
              <a:p>
                <a:endParaRPr lang="en-AD" sz="2400"/>
              </a:p>
            </p:txBody>
          </p:sp>
          <p:sp>
            <p:nvSpPr>
              <p:cNvPr id="169" name="Freeform 168">
                <a:extLst>
                  <a:ext uri="{FF2B5EF4-FFF2-40B4-BE49-F238E27FC236}">
                    <a16:creationId xmlns:a16="http://schemas.microsoft.com/office/drawing/2014/main" id="{BB031B9F-6718-B0B8-2D55-5572522626F9}"/>
                  </a:ext>
                </a:extLst>
              </p:cNvPr>
              <p:cNvSpPr/>
              <p:nvPr/>
            </p:nvSpPr>
            <p:spPr>
              <a:xfrm>
                <a:off x="2507088" y="4813427"/>
                <a:ext cx="22407" cy="32892"/>
              </a:xfrm>
              <a:custGeom>
                <a:avLst/>
                <a:gdLst>
                  <a:gd name="connsiteX0" fmla="*/ 22153 w 22407"/>
                  <a:gd name="connsiteY0" fmla="*/ 22606 h 32892"/>
                  <a:gd name="connsiteX1" fmla="*/ 10822 w 22407"/>
                  <a:gd name="connsiteY1" fmla="*/ 32893 h 32892"/>
                  <a:gd name="connsiteX2" fmla="*/ 509 w 22407"/>
                  <a:gd name="connsiteY2" fmla="*/ 25654 h 32892"/>
                  <a:gd name="connsiteX3" fmla="*/ 5602 w 22407"/>
                  <a:gd name="connsiteY3" fmla="*/ 25654 h 32892"/>
                  <a:gd name="connsiteX4" fmla="*/ 11204 w 22407"/>
                  <a:gd name="connsiteY4" fmla="*/ 29083 h 32892"/>
                  <a:gd name="connsiteX5" fmla="*/ 17188 w 22407"/>
                  <a:gd name="connsiteY5" fmla="*/ 23241 h 32892"/>
                  <a:gd name="connsiteX6" fmla="*/ 17188 w 22407"/>
                  <a:gd name="connsiteY6" fmla="*/ 19685 h 32892"/>
                  <a:gd name="connsiteX7" fmla="*/ 17188 w 22407"/>
                  <a:gd name="connsiteY7" fmla="*/ 19685 h 32892"/>
                  <a:gd name="connsiteX8" fmla="*/ 10312 w 22407"/>
                  <a:gd name="connsiteY8" fmla="*/ 23749 h 32892"/>
                  <a:gd name="connsiteX9" fmla="*/ 0 w 22407"/>
                  <a:gd name="connsiteY9" fmla="*/ 11557 h 32892"/>
                  <a:gd name="connsiteX10" fmla="*/ 10440 w 22407"/>
                  <a:gd name="connsiteY10" fmla="*/ 0 h 32892"/>
                  <a:gd name="connsiteX11" fmla="*/ 17315 w 22407"/>
                  <a:gd name="connsiteY11" fmla="*/ 3810 h 32892"/>
                  <a:gd name="connsiteX12" fmla="*/ 17315 w 22407"/>
                  <a:gd name="connsiteY12" fmla="*/ 3810 h 32892"/>
                  <a:gd name="connsiteX13" fmla="*/ 17315 w 22407"/>
                  <a:gd name="connsiteY13" fmla="*/ 635 h 32892"/>
                  <a:gd name="connsiteX14" fmla="*/ 22407 w 22407"/>
                  <a:gd name="connsiteY14" fmla="*/ 635 h 32892"/>
                  <a:gd name="connsiteX15" fmla="*/ 22407 w 22407"/>
                  <a:gd name="connsiteY15" fmla="*/ 22479 h 32892"/>
                  <a:gd name="connsiteX16" fmla="*/ 17060 w 22407"/>
                  <a:gd name="connsiteY16" fmla="*/ 11811 h 32892"/>
                  <a:gd name="connsiteX17" fmla="*/ 10822 w 22407"/>
                  <a:gd name="connsiteY17" fmla="*/ 4191 h 32892"/>
                  <a:gd name="connsiteX18" fmla="*/ 4711 w 22407"/>
                  <a:gd name="connsiteY18" fmla="*/ 12192 h 32892"/>
                  <a:gd name="connsiteX19" fmla="*/ 10822 w 22407"/>
                  <a:gd name="connsiteY19" fmla="*/ 19812 h 32892"/>
                  <a:gd name="connsiteX20" fmla="*/ 17060 w 22407"/>
                  <a:gd name="connsiteY20" fmla="*/ 11811 h 3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407" h="32892">
                    <a:moveTo>
                      <a:pt x="22153" y="22606"/>
                    </a:moveTo>
                    <a:cubicBezTo>
                      <a:pt x="22153" y="29464"/>
                      <a:pt x="18079" y="32893"/>
                      <a:pt x="10822" y="32893"/>
                    </a:cubicBezTo>
                    <a:cubicBezTo>
                      <a:pt x="6111" y="32893"/>
                      <a:pt x="891" y="31115"/>
                      <a:pt x="509" y="25654"/>
                    </a:cubicBezTo>
                    <a:lnTo>
                      <a:pt x="5602" y="25654"/>
                    </a:lnTo>
                    <a:cubicBezTo>
                      <a:pt x="6238" y="28575"/>
                      <a:pt x="8530" y="29083"/>
                      <a:pt x="11204" y="29083"/>
                    </a:cubicBezTo>
                    <a:cubicBezTo>
                      <a:pt x="15278" y="29083"/>
                      <a:pt x="17188" y="26924"/>
                      <a:pt x="17188" y="23241"/>
                    </a:cubicBezTo>
                    <a:lnTo>
                      <a:pt x="17188" y="19685"/>
                    </a:lnTo>
                    <a:lnTo>
                      <a:pt x="17188" y="19685"/>
                    </a:lnTo>
                    <a:cubicBezTo>
                      <a:pt x="15787" y="22225"/>
                      <a:pt x="13113" y="23749"/>
                      <a:pt x="10312" y="23749"/>
                    </a:cubicBezTo>
                    <a:cubicBezTo>
                      <a:pt x="2928" y="23749"/>
                      <a:pt x="0" y="18161"/>
                      <a:pt x="0" y="11557"/>
                    </a:cubicBezTo>
                    <a:cubicBezTo>
                      <a:pt x="0" y="5334"/>
                      <a:pt x="3947" y="0"/>
                      <a:pt x="10440" y="0"/>
                    </a:cubicBezTo>
                    <a:cubicBezTo>
                      <a:pt x="13368" y="0"/>
                      <a:pt x="16042" y="1143"/>
                      <a:pt x="17315" y="3810"/>
                    </a:cubicBezTo>
                    <a:lnTo>
                      <a:pt x="17315" y="3810"/>
                    </a:lnTo>
                    <a:lnTo>
                      <a:pt x="17315" y="635"/>
                    </a:lnTo>
                    <a:lnTo>
                      <a:pt x="22407" y="635"/>
                    </a:lnTo>
                    <a:lnTo>
                      <a:pt x="22407" y="22479"/>
                    </a:lnTo>
                    <a:close/>
                    <a:moveTo>
                      <a:pt x="17060" y="11811"/>
                    </a:moveTo>
                    <a:cubicBezTo>
                      <a:pt x="17060" y="7874"/>
                      <a:pt x="15278" y="4191"/>
                      <a:pt x="10822" y="4191"/>
                    </a:cubicBezTo>
                    <a:cubicBezTo>
                      <a:pt x="6366" y="4191"/>
                      <a:pt x="4711" y="8382"/>
                      <a:pt x="4711" y="12192"/>
                    </a:cubicBezTo>
                    <a:cubicBezTo>
                      <a:pt x="4711" y="16002"/>
                      <a:pt x="6493" y="19812"/>
                      <a:pt x="10822" y="19812"/>
                    </a:cubicBezTo>
                    <a:cubicBezTo>
                      <a:pt x="15278" y="19812"/>
                      <a:pt x="17060" y="15748"/>
                      <a:pt x="17060" y="11811"/>
                    </a:cubicBezTo>
                    <a:close/>
                  </a:path>
                </a:pathLst>
              </a:custGeom>
              <a:solidFill>
                <a:srgbClr val="FFFFFF"/>
              </a:solidFill>
              <a:ln w="0" cap="flat">
                <a:noFill/>
                <a:prstDash val="solid"/>
                <a:miter/>
              </a:ln>
            </p:spPr>
            <p:txBody>
              <a:bodyPr rtlCol="0" anchor="ctr"/>
              <a:lstStyle/>
              <a:p>
                <a:endParaRPr lang="en-AD" sz="2400"/>
              </a:p>
            </p:txBody>
          </p:sp>
          <p:sp>
            <p:nvSpPr>
              <p:cNvPr id="170" name="Freeform 169">
                <a:extLst>
                  <a:ext uri="{FF2B5EF4-FFF2-40B4-BE49-F238E27FC236}">
                    <a16:creationId xmlns:a16="http://schemas.microsoft.com/office/drawing/2014/main" id="{EABA66B8-290F-0CC7-4490-CB807E8CF4E5}"/>
                  </a:ext>
                </a:extLst>
              </p:cNvPr>
              <p:cNvSpPr/>
              <p:nvPr/>
            </p:nvSpPr>
            <p:spPr>
              <a:xfrm>
                <a:off x="2534588" y="4813553"/>
                <a:ext cx="20242" cy="23749"/>
              </a:xfrm>
              <a:custGeom>
                <a:avLst/>
                <a:gdLst>
                  <a:gd name="connsiteX0" fmla="*/ 0 w 20242"/>
                  <a:gd name="connsiteY0" fmla="*/ 635 h 23749"/>
                  <a:gd name="connsiteX1" fmla="*/ 4838 w 20242"/>
                  <a:gd name="connsiteY1" fmla="*/ 635 h 23749"/>
                  <a:gd name="connsiteX2" fmla="*/ 4838 w 20242"/>
                  <a:gd name="connsiteY2" fmla="*/ 4064 h 23749"/>
                  <a:gd name="connsiteX3" fmla="*/ 4838 w 20242"/>
                  <a:gd name="connsiteY3" fmla="*/ 4064 h 23749"/>
                  <a:gd name="connsiteX4" fmla="*/ 12095 w 20242"/>
                  <a:gd name="connsiteY4" fmla="*/ 0 h 23749"/>
                  <a:gd name="connsiteX5" fmla="*/ 20243 w 20242"/>
                  <a:gd name="connsiteY5" fmla="*/ 7874 h 23749"/>
                  <a:gd name="connsiteX6" fmla="*/ 20243 w 20242"/>
                  <a:gd name="connsiteY6" fmla="*/ 23749 h 23749"/>
                  <a:gd name="connsiteX7" fmla="*/ 15150 w 20242"/>
                  <a:gd name="connsiteY7" fmla="*/ 23749 h 23749"/>
                  <a:gd name="connsiteX8" fmla="*/ 15150 w 20242"/>
                  <a:gd name="connsiteY8" fmla="*/ 9271 h 23749"/>
                  <a:gd name="connsiteX9" fmla="*/ 10694 w 20242"/>
                  <a:gd name="connsiteY9" fmla="*/ 4064 h 23749"/>
                  <a:gd name="connsiteX10" fmla="*/ 5092 w 20242"/>
                  <a:gd name="connsiteY10" fmla="*/ 10160 h 23749"/>
                  <a:gd name="connsiteX11" fmla="*/ 5092 w 20242"/>
                  <a:gd name="connsiteY11" fmla="*/ 23749 h 23749"/>
                  <a:gd name="connsiteX12" fmla="*/ 0 w 20242"/>
                  <a:gd name="connsiteY12" fmla="*/ 23749 h 23749"/>
                  <a:gd name="connsiteX13" fmla="*/ 0 w 20242"/>
                  <a:gd name="connsiteY13" fmla="*/ 635 h 2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2" h="23749">
                    <a:moveTo>
                      <a:pt x="0" y="635"/>
                    </a:moveTo>
                    <a:lnTo>
                      <a:pt x="4838" y="635"/>
                    </a:lnTo>
                    <a:lnTo>
                      <a:pt x="4838" y="4064"/>
                    </a:lnTo>
                    <a:lnTo>
                      <a:pt x="4838" y="4064"/>
                    </a:lnTo>
                    <a:cubicBezTo>
                      <a:pt x="6366" y="1651"/>
                      <a:pt x="9039" y="0"/>
                      <a:pt x="12095" y="0"/>
                    </a:cubicBezTo>
                    <a:cubicBezTo>
                      <a:pt x="17060" y="0"/>
                      <a:pt x="20243" y="2667"/>
                      <a:pt x="20243" y="7874"/>
                    </a:cubicBezTo>
                    <a:lnTo>
                      <a:pt x="20243" y="23749"/>
                    </a:lnTo>
                    <a:lnTo>
                      <a:pt x="15150" y="23749"/>
                    </a:lnTo>
                    <a:lnTo>
                      <a:pt x="15150" y="9271"/>
                    </a:lnTo>
                    <a:cubicBezTo>
                      <a:pt x="15150" y="5715"/>
                      <a:pt x="13623" y="4064"/>
                      <a:pt x="10694" y="4064"/>
                    </a:cubicBezTo>
                    <a:cubicBezTo>
                      <a:pt x="7257" y="4064"/>
                      <a:pt x="5092" y="6731"/>
                      <a:pt x="5092" y="10160"/>
                    </a:cubicBezTo>
                    <a:lnTo>
                      <a:pt x="5092" y="23749"/>
                    </a:lnTo>
                    <a:lnTo>
                      <a:pt x="0" y="23749"/>
                    </a:lnTo>
                    <a:lnTo>
                      <a:pt x="0" y="635"/>
                    </a:lnTo>
                    <a:close/>
                  </a:path>
                </a:pathLst>
              </a:custGeom>
              <a:solidFill>
                <a:srgbClr val="FFFFFF"/>
              </a:solidFill>
              <a:ln w="0" cap="flat">
                <a:noFill/>
                <a:prstDash val="solid"/>
                <a:miter/>
              </a:ln>
            </p:spPr>
            <p:txBody>
              <a:bodyPr rtlCol="0" anchor="ctr"/>
              <a:lstStyle/>
              <a:p>
                <a:endParaRPr lang="en-AD" sz="2400"/>
              </a:p>
            </p:txBody>
          </p:sp>
          <p:sp>
            <p:nvSpPr>
              <p:cNvPr id="171" name="Freeform 170">
                <a:extLst>
                  <a:ext uri="{FF2B5EF4-FFF2-40B4-BE49-F238E27FC236}">
                    <a16:creationId xmlns:a16="http://schemas.microsoft.com/office/drawing/2014/main" id="{984826A5-23FE-6360-0361-286B628AE800}"/>
                  </a:ext>
                </a:extLst>
              </p:cNvPr>
              <p:cNvSpPr/>
              <p:nvPr/>
            </p:nvSpPr>
            <p:spPr>
              <a:xfrm>
                <a:off x="2559414"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206 w 23425"/>
                  <a:gd name="connsiteY5" fmla="*/ 12192 h 24384"/>
                  <a:gd name="connsiteX6" fmla="*/ 11586 w 23425"/>
                  <a:gd name="connsiteY6" fmla="*/ 4064 h 24384"/>
                  <a:gd name="connsiteX7" fmla="*/ 4965 w 23425"/>
                  <a:gd name="connsiteY7" fmla="*/ 12192 h 24384"/>
                  <a:gd name="connsiteX8" fmla="*/ 11586 w 23425"/>
                  <a:gd name="connsiteY8" fmla="*/ 20320 h 24384"/>
                  <a:gd name="connsiteX9" fmla="*/ 18206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206" y="12192"/>
                    </a:moveTo>
                    <a:cubicBezTo>
                      <a:pt x="18206" y="8255"/>
                      <a:pt x="16169" y="4064"/>
                      <a:pt x="11586" y="4064"/>
                    </a:cubicBezTo>
                    <a:cubicBezTo>
                      <a:pt x="7002" y="4064"/>
                      <a:pt x="4965" y="8255"/>
                      <a:pt x="4965" y="12192"/>
                    </a:cubicBezTo>
                    <a:cubicBezTo>
                      <a:pt x="4965" y="16129"/>
                      <a:pt x="7002" y="20320"/>
                      <a:pt x="11586" y="20320"/>
                    </a:cubicBezTo>
                    <a:cubicBezTo>
                      <a:pt x="16169" y="20320"/>
                      <a:pt x="18206" y="16129"/>
                      <a:pt x="18206" y="12192"/>
                    </a:cubicBezTo>
                    <a:close/>
                  </a:path>
                </a:pathLst>
              </a:custGeom>
              <a:solidFill>
                <a:srgbClr val="FFFFFF"/>
              </a:solidFill>
              <a:ln w="0" cap="flat">
                <a:noFill/>
                <a:prstDash val="solid"/>
                <a:miter/>
              </a:ln>
            </p:spPr>
            <p:txBody>
              <a:bodyPr rtlCol="0" anchor="ctr"/>
              <a:lstStyle/>
              <a:p>
                <a:endParaRPr lang="en-AD" sz="2400"/>
              </a:p>
            </p:txBody>
          </p:sp>
          <p:sp>
            <p:nvSpPr>
              <p:cNvPr id="172" name="Freeform 171">
                <a:extLst>
                  <a:ext uri="{FF2B5EF4-FFF2-40B4-BE49-F238E27FC236}">
                    <a16:creationId xmlns:a16="http://schemas.microsoft.com/office/drawing/2014/main" id="{1700022D-4682-615F-7213-A46C8702E8C7}"/>
                  </a:ext>
                </a:extLst>
              </p:cNvPr>
              <p:cNvSpPr/>
              <p:nvPr/>
            </p:nvSpPr>
            <p:spPr>
              <a:xfrm>
                <a:off x="2586023"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5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3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7" y="0"/>
                      <a:pt x="10058" y="0"/>
                    </a:cubicBezTo>
                    <a:cubicBezTo>
                      <a:pt x="14769" y="0"/>
                      <a:pt x="19097" y="1905"/>
                      <a:pt x="19734" y="7112"/>
                    </a:cubicBezTo>
                    <a:lnTo>
                      <a:pt x="14387" y="7112"/>
                    </a:lnTo>
                    <a:cubicBezTo>
                      <a:pt x="13877" y="4699"/>
                      <a:pt x="11968" y="4064"/>
                      <a:pt x="9676" y="4064"/>
                    </a:cubicBezTo>
                    <a:cubicBezTo>
                      <a:pt x="8148" y="4064"/>
                      <a:pt x="5475" y="4445"/>
                      <a:pt x="5475" y="6477"/>
                    </a:cubicBezTo>
                    <a:cubicBezTo>
                      <a:pt x="5475"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3" y="16383"/>
                    </a:lnTo>
                    <a:close/>
                  </a:path>
                </a:pathLst>
              </a:custGeom>
              <a:solidFill>
                <a:srgbClr val="FFFFFF"/>
              </a:solidFill>
              <a:ln w="0" cap="flat">
                <a:noFill/>
                <a:prstDash val="solid"/>
                <a:miter/>
              </a:ln>
            </p:spPr>
            <p:txBody>
              <a:bodyPr rtlCol="0" anchor="ctr"/>
              <a:lstStyle/>
              <a:p>
                <a:endParaRPr lang="en-AD" sz="2400"/>
              </a:p>
            </p:txBody>
          </p:sp>
          <p:sp>
            <p:nvSpPr>
              <p:cNvPr id="173" name="Freeform 172">
                <a:extLst>
                  <a:ext uri="{FF2B5EF4-FFF2-40B4-BE49-F238E27FC236}">
                    <a16:creationId xmlns:a16="http://schemas.microsoft.com/office/drawing/2014/main" id="{9EED21B7-05C4-B748-2977-F6CE02EF60DC}"/>
                  </a:ext>
                </a:extLst>
              </p:cNvPr>
              <p:cNvSpPr/>
              <p:nvPr/>
            </p:nvSpPr>
            <p:spPr>
              <a:xfrm>
                <a:off x="2610722" y="4805426"/>
                <a:ext cx="5092" cy="31877"/>
              </a:xfrm>
              <a:custGeom>
                <a:avLst/>
                <a:gdLst>
                  <a:gd name="connsiteX0" fmla="*/ 0 w 5092"/>
                  <a:gd name="connsiteY0" fmla="*/ 0 h 31877"/>
                  <a:gd name="connsiteX1" fmla="*/ 5093 w 5092"/>
                  <a:gd name="connsiteY1" fmla="*/ 0 h 31877"/>
                  <a:gd name="connsiteX2" fmla="*/ 5093 w 5092"/>
                  <a:gd name="connsiteY2" fmla="*/ 4826 h 31877"/>
                  <a:gd name="connsiteX3" fmla="*/ 0 w 5092"/>
                  <a:gd name="connsiteY3" fmla="*/ 4826 h 31877"/>
                  <a:gd name="connsiteX4" fmla="*/ 0 w 5092"/>
                  <a:gd name="connsiteY4" fmla="*/ 0 h 31877"/>
                  <a:gd name="connsiteX5" fmla="*/ 0 w 5092"/>
                  <a:gd name="connsiteY5" fmla="*/ 8763 h 31877"/>
                  <a:gd name="connsiteX6" fmla="*/ 5093 w 5092"/>
                  <a:gd name="connsiteY6" fmla="*/ 8763 h 31877"/>
                  <a:gd name="connsiteX7" fmla="*/ 5093 w 5092"/>
                  <a:gd name="connsiteY7" fmla="*/ 31877 h 31877"/>
                  <a:gd name="connsiteX8" fmla="*/ 0 w 5092"/>
                  <a:gd name="connsiteY8" fmla="*/ 31877 h 31877"/>
                  <a:gd name="connsiteX9" fmla="*/ 0 w 5092"/>
                  <a:gd name="connsiteY9" fmla="*/ 8763 h 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 h="31877">
                    <a:moveTo>
                      <a:pt x="0" y="0"/>
                    </a:moveTo>
                    <a:lnTo>
                      <a:pt x="5093" y="0"/>
                    </a:lnTo>
                    <a:lnTo>
                      <a:pt x="5093" y="4826"/>
                    </a:lnTo>
                    <a:lnTo>
                      <a:pt x="0" y="4826"/>
                    </a:lnTo>
                    <a:lnTo>
                      <a:pt x="0" y="0"/>
                    </a:lnTo>
                    <a:close/>
                    <a:moveTo>
                      <a:pt x="0" y="8763"/>
                    </a:moveTo>
                    <a:lnTo>
                      <a:pt x="5093" y="8763"/>
                    </a:lnTo>
                    <a:lnTo>
                      <a:pt x="5093" y="31877"/>
                    </a:lnTo>
                    <a:lnTo>
                      <a:pt x="0" y="31877"/>
                    </a:lnTo>
                    <a:lnTo>
                      <a:pt x="0" y="8763"/>
                    </a:lnTo>
                    <a:close/>
                  </a:path>
                </a:pathLst>
              </a:custGeom>
              <a:solidFill>
                <a:srgbClr val="FFFFFF"/>
              </a:solidFill>
              <a:ln w="0" cap="flat">
                <a:noFill/>
                <a:prstDash val="solid"/>
                <a:miter/>
              </a:ln>
            </p:spPr>
            <p:txBody>
              <a:bodyPr rtlCol="0" anchor="ctr"/>
              <a:lstStyle/>
              <a:p>
                <a:endParaRPr lang="en-AD" sz="2400"/>
              </a:p>
            </p:txBody>
          </p:sp>
          <p:sp>
            <p:nvSpPr>
              <p:cNvPr id="174" name="Freeform 173">
                <a:extLst>
                  <a:ext uri="{FF2B5EF4-FFF2-40B4-BE49-F238E27FC236}">
                    <a16:creationId xmlns:a16="http://schemas.microsoft.com/office/drawing/2014/main" id="{1AAF8220-3060-0E06-95B5-5A4FAD8138D7}"/>
                  </a:ext>
                </a:extLst>
              </p:cNvPr>
              <p:cNvSpPr/>
              <p:nvPr/>
            </p:nvSpPr>
            <p:spPr>
              <a:xfrm>
                <a:off x="2620525" y="4813680"/>
                <a:ext cx="20497" cy="24384"/>
              </a:xfrm>
              <a:custGeom>
                <a:avLst/>
                <a:gdLst>
                  <a:gd name="connsiteX0" fmla="*/ 4965 w 20497"/>
                  <a:gd name="connsiteY0" fmla="*/ 16256 h 24384"/>
                  <a:gd name="connsiteX1" fmla="*/ 10185 w 20497"/>
                  <a:gd name="connsiteY1" fmla="*/ 20320 h 24384"/>
                  <a:gd name="connsiteX2" fmla="*/ 15278 w 20497"/>
                  <a:gd name="connsiteY2" fmla="*/ 17272 h 24384"/>
                  <a:gd name="connsiteX3" fmla="*/ 7766 w 20497"/>
                  <a:gd name="connsiteY3" fmla="*/ 13462 h 24384"/>
                  <a:gd name="connsiteX4" fmla="*/ 382 w 20497"/>
                  <a:gd name="connsiteY4" fmla="*/ 6604 h 24384"/>
                  <a:gd name="connsiteX5" fmla="*/ 10058 w 20497"/>
                  <a:gd name="connsiteY5" fmla="*/ 0 h 24384"/>
                  <a:gd name="connsiteX6" fmla="*/ 19734 w 20497"/>
                  <a:gd name="connsiteY6" fmla="*/ 7112 h 24384"/>
                  <a:gd name="connsiteX7" fmla="*/ 14387 w 20497"/>
                  <a:gd name="connsiteY7" fmla="*/ 7112 h 24384"/>
                  <a:gd name="connsiteX8" fmla="*/ 9676 w 20497"/>
                  <a:gd name="connsiteY8" fmla="*/ 4064 h 24384"/>
                  <a:gd name="connsiteX9" fmla="*/ 5474 w 20497"/>
                  <a:gd name="connsiteY9" fmla="*/ 6477 h 24384"/>
                  <a:gd name="connsiteX10" fmla="*/ 12986 w 20497"/>
                  <a:gd name="connsiteY10" fmla="*/ 10160 h 24384"/>
                  <a:gd name="connsiteX11" fmla="*/ 20498 w 20497"/>
                  <a:gd name="connsiteY11" fmla="*/ 16891 h 24384"/>
                  <a:gd name="connsiteX12" fmla="*/ 10185 w 20497"/>
                  <a:gd name="connsiteY12" fmla="*/ 24384 h 24384"/>
                  <a:gd name="connsiteX13" fmla="*/ 0 w 20497"/>
                  <a:gd name="connsiteY13" fmla="*/ 16383 h 24384"/>
                  <a:gd name="connsiteX14" fmla="*/ 5092 w 20497"/>
                  <a:gd name="connsiteY14" fmla="*/ 16383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97" h="24384">
                    <a:moveTo>
                      <a:pt x="4965" y="16256"/>
                    </a:moveTo>
                    <a:cubicBezTo>
                      <a:pt x="5220" y="19177"/>
                      <a:pt x="7512" y="20320"/>
                      <a:pt x="10185" y="20320"/>
                    </a:cubicBezTo>
                    <a:cubicBezTo>
                      <a:pt x="12095" y="20320"/>
                      <a:pt x="15405" y="19939"/>
                      <a:pt x="15278" y="17272"/>
                    </a:cubicBezTo>
                    <a:cubicBezTo>
                      <a:pt x="15150" y="14605"/>
                      <a:pt x="11458" y="14224"/>
                      <a:pt x="7766" y="13462"/>
                    </a:cubicBezTo>
                    <a:cubicBezTo>
                      <a:pt x="3947" y="12700"/>
                      <a:pt x="382" y="11303"/>
                      <a:pt x="382" y="6604"/>
                    </a:cubicBezTo>
                    <a:cubicBezTo>
                      <a:pt x="382" y="1524"/>
                      <a:pt x="5856" y="0"/>
                      <a:pt x="10058" y="0"/>
                    </a:cubicBezTo>
                    <a:cubicBezTo>
                      <a:pt x="14769" y="0"/>
                      <a:pt x="19097" y="1905"/>
                      <a:pt x="19734" y="7112"/>
                    </a:cubicBezTo>
                    <a:lnTo>
                      <a:pt x="14387" y="7112"/>
                    </a:lnTo>
                    <a:cubicBezTo>
                      <a:pt x="13877" y="4699"/>
                      <a:pt x="11968" y="4064"/>
                      <a:pt x="9676" y="4064"/>
                    </a:cubicBezTo>
                    <a:cubicBezTo>
                      <a:pt x="8148" y="4064"/>
                      <a:pt x="5474" y="4445"/>
                      <a:pt x="5474" y="6477"/>
                    </a:cubicBezTo>
                    <a:cubicBezTo>
                      <a:pt x="5474" y="9017"/>
                      <a:pt x="9167" y="9271"/>
                      <a:pt x="12986" y="10160"/>
                    </a:cubicBezTo>
                    <a:cubicBezTo>
                      <a:pt x="16678" y="11049"/>
                      <a:pt x="20498" y="12319"/>
                      <a:pt x="20498" y="16891"/>
                    </a:cubicBezTo>
                    <a:cubicBezTo>
                      <a:pt x="20498" y="22352"/>
                      <a:pt x="14896" y="24384"/>
                      <a:pt x="10185" y="24384"/>
                    </a:cubicBezTo>
                    <a:cubicBezTo>
                      <a:pt x="4329" y="24384"/>
                      <a:pt x="0" y="21844"/>
                      <a:pt x="0" y="16383"/>
                    </a:cubicBezTo>
                    <a:lnTo>
                      <a:pt x="5092" y="16383"/>
                    </a:lnTo>
                    <a:close/>
                  </a:path>
                </a:pathLst>
              </a:custGeom>
              <a:solidFill>
                <a:srgbClr val="FFFFFF"/>
              </a:solidFill>
              <a:ln w="0" cap="flat">
                <a:noFill/>
                <a:prstDash val="solid"/>
                <a:miter/>
              </a:ln>
            </p:spPr>
            <p:txBody>
              <a:bodyPr rtlCol="0" anchor="ctr"/>
              <a:lstStyle/>
              <a:p>
                <a:endParaRPr lang="en-AD" sz="2400"/>
              </a:p>
            </p:txBody>
          </p:sp>
          <p:sp>
            <p:nvSpPr>
              <p:cNvPr id="175" name="Freeform 174">
                <a:extLst>
                  <a:ext uri="{FF2B5EF4-FFF2-40B4-BE49-F238E27FC236}">
                    <a16:creationId xmlns:a16="http://schemas.microsoft.com/office/drawing/2014/main" id="{1CF28879-DA37-5FE0-5A92-6DA5D04DA468}"/>
                  </a:ext>
                </a:extLst>
              </p:cNvPr>
              <p:cNvSpPr/>
              <p:nvPr/>
            </p:nvSpPr>
            <p:spPr>
              <a:xfrm>
                <a:off x="2655409" y="4807330"/>
                <a:ext cx="13495" cy="30226"/>
              </a:xfrm>
              <a:custGeom>
                <a:avLst/>
                <a:gdLst>
                  <a:gd name="connsiteX0" fmla="*/ 0 w 13495"/>
                  <a:gd name="connsiteY0" fmla="*/ 6858 h 30226"/>
                  <a:gd name="connsiteX1" fmla="*/ 3819 w 13495"/>
                  <a:gd name="connsiteY1" fmla="*/ 6858 h 30226"/>
                  <a:gd name="connsiteX2" fmla="*/ 3819 w 13495"/>
                  <a:gd name="connsiteY2" fmla="*/ 0 h 30226"/>
                  <a:gd name="connsiteX3" fmla="*/ 8912 w 13495"/>
                  <a:gd name="connsiteY3" fmla="*/ 0 h 30226"/>
                  <a:gd name="connsiteX4" fmla="*/ 8912 w 13495"/>
                  <a:gd name="connsiteY4" fmla="*/ 6858 h 30226"/>
                  <a:gd name="connsiteX5" fmla="*/ 13495 w 13495"/>
                  <a:gd name="connsiteY5" fmla="*/ 6858 h 30226"/>
                  <a:gd name="connsiteX6" fmla="*/ 13495 w 13495"/>
                  <a:gd name="connsiteY6" fmla="*/ 10668 h 30226"/>
                  <a:gd name="connsiteX7" fmla="*/ 8912 w 13495"/>
                  <a:gd name="connsiteY7" fmla="*/ 10668 h 30226"/>
                  <a:gd name="connsiteX8" fmla="*/ 8912 w 13495"/>
                  <a:gd name="connsiteY8" fmla="*/ 22987 h 30226"/>
                  <a:gd name="connsiteX9" fmla="*/ 11331 w 13495"/>
                  <a:gd name="connsiteY9" fmla="*/ 26162 h 30226"/>
                  <a:gd name="connsiteX10" fmla="*/ 13495 w 13495"/>
                  <a:gd name="connsiteY10" fmla="*/ 26035 h 30226"/>
                  <a:gd name="connsiteX11" fmla="*/ 13495 w 13495"/>
                  <a:gd name="connsiteY11" fmla="*/ 29972 h 30226"/>
                  <a:gd name="connsiteX12" fmla="*/ 10185 w 13495"/>
                  <a:gd name="connsiteY12" fmla="*/ 30226 h 30226"/>
                  <a:gd name="connsiteX13" fmla="*/ 3819 w 13495"/>
                  <a:gd name="connsiteY13" fmla="*/ 24384 h 30226"/>
                  <a:gd name="connsiteX14" fmla="*/ 3819 w 13495"/>
                  <a:gd name="connsiteY14" fmla="*/ 10795 h 30226"/>
                  <a:gd name="connsiteX15" fmla="*/ 0 w 13495"/>
                  <a:gd name="connsiteY15" fmla="*/ 10795 h 30226"/>
                  <a:gd name="connsiteX16" fmla="*/ 0 w 13495"/>
                  <a:gd name="connsiteY16" fmla="*/ 6985 h 3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5" h="30226">
                    <a:moveTo>
                      <a:pt x="0" y="6858"/>
                    </a:moveTo>
                    <a:lnTo>
                      <a:pt x="3819" y="6858"/>
                    </a:lnTo>
                    <a:lnTo>
                      <a:pt x="3819" y="0"/>
                    </a:lnTo>
                    <a:lnTo>
                      <a:pt x="8912" y="0"/>
                    </a:lnTo>
                    <a:lnTo>
                      <a:pt x="8912" y="6858"/>
                    </a:lnTo>
                    <a:lnTo>
                      <a:pt x="13495" y="6858"/>
                    </a:lnTo>
                    <a:lnTo>
                      <a:pt x="13495" y="10668"/>
                    </a:lnTo>
                    <a:lnTo>
                      <a:pt x="8912" y="10668"/>
                    </a:lnTo>
                    <a:lnTo>
                      <a:pt x="8912" y="22987"/>
                    </a:lnTo>
                    <a:cubicBezTo>
                      <a:pt x="8912" y="25146"/>
                      <a:pt x="9039" y="26162"/>
                      <a:pt x="11331" y="26162"/>
                    </a:cubicBezTo>
                    <a:cubicBezTo>
                      <a:pt x="12095" y="26162"/>
                      <a:pt x="12731" y="26162"/>
                      <a:pt x="13495" y="26035"/>
                    </a:cubicBezTo>
                    <a:lnTo>
                      <a:pt x="13495" y="29972"/>
                    </a:lnTo>
                    <a:cubicBezTo>
                      <a:pt x="12349" y="29972"/>
                      <a:pt x="11331" y="30226"/>
                      <a:pt x="10185" y="30226"/>
                    </a:cubicBezTo>
                    <a:cubicBezTo>
                      <a:pt x="4838" y="30226"/>
                      <a:pt x="3819" y="28194"/>
                      <a:pt x="3819" y="24384"/>
                    </a:cubicBezTo>
                    <a:lnTo>
                      <a:pt x="3819" y="10795"/>
                    </a:lnTo>
                    <a:lnTo>
                      <a:pt x="0" y="10795"/>
                    </a:lnTo>
                    <a:lnTo>
                      <a:pt x="0" y="6985"/>
                    </a:lnTo>
                    <a:close/>
                  </a:path>
                </a:pathLst>
              </a:custGeom>
              <a:solidFill>
                <a:srgbClr val="FFFFFF"/>
              </a:solidFill>
              <a:ln w="0" cap="flat">
                <a:noFill/>
                <a:prstDash val="solid"/>
                <a:miter/>
              </a:ln>
            </p:spPr>
            <p:txBody>
              <a:bodyPr rtlCol="0" anchor="ctr"/>
              <a:lstStyle/>
              <a:p>
                <a:endParaRPr lang="en-AD" sz="2400"/>
              </a:p>
            </p:txBody>
          </p:sp>
          <p:sp>
            <p:nvSpPr>
              <p:cNvPr id="176" name="Freeform 175">
                <a:extLst>
                  <a:ext uri="{FF2B5EF4-FFF2-40B4-BE49-F238E27FC236}">
                    <a16:creationId xmlns:a16="http://schemas.microsoft.com/office/drawing/2014/main" id="{597FC06B-2FD6-3F2B-9841-C6942247F7E7}"/>
                  </a:ext>
                </a:extLst>
              </p:cNvPr>
              <p:cNvSpPr/>
              <p:nvPr/>
            </p:nvSpPr>
            <p:spPr>
              <a:xfrm>
                <a:off x="2671705" y="4813553"/>
                <a:ext cx="23425" cy="24384"/>
              </a:xfrm>
              <a:custGeom>
                <a:avLst/>
                <a:gdLst>
                  <a:gd name="connsiteX0" fmla="*/ 0 w 23425"/>
                  <a:gd name="connsiteY0" fmla="*/ 12192 h 24384"/>
                  <a:gd name="connsiteX1" fmla="*/ 11713 w 23425"/>
                  <a:gd name="connsiteY1" fmla="*/ 0 h 24384"/>
                  <a:gd name="connsiteX2" fmla="*/ 23426 w 23425"/>
                  <a:gd name="connsiteY2" fmla="*/ 12192 h 24384"/>
                  <a:gd name="connsiteX3" fmla="*/ 11713 w 23425"/>
                  <a:gd name="connsiteY3" fmla="*/ 24384 h 24384"/>
                  <a:gd name="connsiteX4" fmla="*/ 0 w 23425"/>
                  <a:gd name="connsiteY4" fmla="*/ 12192 h 24384"/>
                  <a:gd name="connsiteX5" fmla="*/ 18333 w 23425"/>
                  <a:gd name="connsiteY5" fmla="*/ 12192 h 24384"/>
                  <a:gd name="connsiteX6" fmla="*/ 11713 w 23425"/>
                  <a:gd name="connsiteY6" fmla="*/ 4064 h 24384"/>
                  <a:gd name="connsiteX7" fmla="*/ 5092 w 23425"/>
                  <a:gd name="connsiteY7" fmla="*/ 12192 h 24384"/>
                  <a:gd name="connsiteX8" fmla="*/ 11713 w 23425"/>
                  <a:gd name="connsiteY8" fmla="*/ 20320 h 24384"/>
                  <a:gd name="connsiteX9" fmla="*/ 18333 w 23425"/>
                  <a:gd name="connsiteY9" fmla="*/ 1219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5" h="24384">
                    <a:moveTo>
                      <a:pt x="0" y="12192"/>
                    </a:moveTo>
                    <a:cubicBezTo>
                      <a:pt x="0" y="5207"/>
                      <a:pt x="4201" y="0"/>
                      <a:pt x="11713" y="0"/>
                    </a:cubicBezTo>
                    <a:cubicBezTo>
                      <a:pt x="19224" y="0"/>
                      <a:pt x="23426" y="5080"/>
                      <a:pt x="23426" y="12192"/>
                    </a:cubicBezTo>
                    <a:cubicBezTo>
                      <a:pt x="23426" y="19304"/>
                      <a:pt x="19224" y="24384"/>
                      <a:pt x="11713" y="24384"/>
                    </a:cubicBezTo>
                    <a:cubicBezTo>
                      <a:pt x="4201" y="24384"/>
                      <a:pt x="0" y="19304"/>
                      <a:pt x="0" y="12192"/>
                    </a:cubicBezTo>
                    <a:close/>
                    <a:moveTo>
                      <a:pt x="18333" y="12192"/>
                    </a:moveTo>
                    <a:cubicBezTo>
                      <a:pt x="18333" y="8255"/>
                      <a:pt x="16296" y="4064"/>
                      <a:pt x="11713" y="4064"/>
                    </a:cubicBezTo>
                    <a:cubicBezTo>
                      <a:pt x="7130" y="4064"/>
                      <a:pt x="5092" y="8255"/>
                      <a:pt x="5092" y="12192"/>
                    </a:cubicBezTo>
                    <a:cubicBezTo>
                      <a:pt x="5092" y="16129"/>
                      <a:pt x="7130" y="20320"/>
                      <a:pt x="11713" y="20320"/>
                    </a:cubicBezTo>
                    <a:cubicBezTo>
                      <a:pt x="16296" y="20320"/>
                      <a:pt x="18333" y="16129"/>
                      <a:pt x="18333" y="12192"/>
                    </a:cubicBezTo>
                    <a:close/>
                  </a:path>
                </a:pathLst>
              </a:custGeom>
              <a:solidFill>
                <a:srgbClr val="FFFFFF"/>
              </a:solidFill>
              <a:ln w="0" cap="flat">
                <a:noFill/>
                <a:prstDash val="solid"/>
                <a:miter/>
              </a:ln>
            </p:spPr>
            <p:txBody>
              <a:bodyPr rtlCol="0" anchor="ctr"/>
              <a:lstStyle/>
              <a:p>
                <a:endParaRPr lang="en-AD" sz="2400"/>
              </a:p>
            </p:txBody>
          </p:sp>
          <p:sp>
            <p:nvSpPr>
              <p:cNvPr id="177" name="Freeform 176">
                <a:extLst>
                  <a:ext uri="{FF2B5EF4-FFF2-40B4-BE49-F238E27FC236}">
                    <a16:creationId xmlns:a16="http://schemas.microsoft.com/office/drawing/2014/main" id="{15E36EEB-1903-4130-A00D-35899F9F9D5F}"/>
                  </a:ext>
                </a:extLst>
              </p:cNvPr>
              <p:cNvSpPr/>
              <p:nvPr/>
            </p:nvSpPr>
            <p:spPr>
              <a:xfrm>
                <a:off x="2711173" y="4813553"/>
                <a:ext cx="21898" cy="24384"/>
              </a:xfrm>
              <a:custGeom>
                <a:avLst/>
                <a:gdLst>
                  <a:gd name="connsiteX0" fmla="*/ 16678 w 21898"/>
                  <a:gd name="connsiteY0" fmla="*/ 8382 h 24384"/>
                  <a:gd name="connsiteX1" fmla="*/ 11458 w 21898"/>
                  <a:gd name="connsiteY1" fmla="*/ 4064 h 24384"/>
                  <a:gd name="connsiteX2" fmla="*/ 5093 w 21898"/>
                  <a:gd name="connsiteY2" fmla="*/ 12446 h 24384"/>
                  <a:gd name="connsiteX3" fmla="*/ 11204 w 21898"/>
                  <a:gd name="connsiteY3" fmla="*/ 20320 h 24384"/>
                  <a:gd name="connsiteX4" fmla="*/ 16678 w 21898"/>
                  <a:gd name="connsiteY4" fmla="*/ 15113 h 24384"/>
                  <a:gd name="connsiteX5" fmla="*/ 21771 w 21898"/>
                  <a:gd name="connsiteY5" fmla="*/ 15113 h 24384"/>
                  <a:gd name="connsiteX6" fmla="*/ 11204 w 21898"/>
                  <a:gd name="connsiteY6" fmla="*/ 24384 h 24384"/>
                  <a:gd name="connsiteX7" fmla="*/ 0 w 21898"/>
                  <a:gd name="connsiteY7" fmla="*/ 12446 h 24384"/>
                  <a:gd name="connsiteX8" fmla="*/ 11458 w 21898"/>
                  <a:gd name="connsiteY8" fmla="*/ 0 h 24384"/>
                  <a:gd name="connsiteX9" fmla="*/ 21898 w 21898"/>
                  <a:gd name="connsiteY9" fmla="*/ 8382 h 24384"/>
                  <a:gd name="connsiteX10" fmla="*/ 16806 w 21898"/>
                  <a:gd name="connsiteY10" fmla="*/ 8382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98" h="24384">
                    <a:moveTo>
                      <a:pt x="16678" y="8382"/>
                    </a:moveTo>
                    <a:cubicBezTo>
                      <a:pt x="16296" y="5588"/>
                      <a:pt x="14259" y="4064"/>
                      <a:pt x="11458" y="4064"/>
                    </a:cubicBezTo>
                    <a:cubicBezTo>
                      <a:pt x="8785" y="4064"/>
                      <a:pt x="5093" y="5461"/>
                      <a:pt x="5093" y="12446"/>
                    </a:cubicBezTo>
                    <a:cubicBezTo>
                      <a:pt x="5093" y="16256"/>
                      <a:pt x="6748" y="20320"/>
                      <a:pt x="11204" y="20320"/>
                    </a:cubicBezTo>
                    <a:cubicBezTo>
                      <a:pt x="14132" y="20320"/>
                      <a:pt x="16169" y="18415"/>
                      <a:pt x="16678" y="15113"/>
                    </a:cubicBezTo>
                    <a:lnTo>
                      <a:pt x="21771" y="15113"/>
                    </a:lnTo>
                    <a:cubicBezTo>
                      <a:pt x="20880" y="21082"/>
                      <a:pt x="17060" y="24384"/>
                      <a:pt x="11204" y="24384"/>
                    </a:cubicBezTo>
                    <a:cubicBezTo>
                      <a:pt x="3947" y="24384"/>
                      <a:pt x="0" y="19304"/>
                      <a:pt x="0" y="12446"/>
                    </a:cubicBezTo>
                    <a:cubicBezTo>
                      <a:pt x="0" y="5588"/>
                      <a:pt x="3819" y="0"/>
                      <a:pt x="11458" y="0"/>
                    </a:cubicBezTo>
                    <a:cubicBezTo>
                      <a:pt x="16806" y="0"/>
                      <a:pt x="21389" y="2667"/>
                      <a:pt x="21898" y="8382"/>
                    </a:cubicBezTo>
                    <a:lnTo>
                      <a:pt x="16806" y="8382"/>
                    </a:lnTo>
                    <a:close/>
                  </a:path>
                </a:pathLst>
              </a:custGeom>
              <a:solidFill>
                <a:srgbClr val="FFFFFF"/>
              </a:solidFill>
              <a:ln w="0" cap="flat">
                <a:noFill/>
                <a:prstDash val="solid"/>
                <a:miter/>
              </a:ln>
            </p:spPr>
            <p:txBody>
              <a:bodyPr rtlCol="0" anchor="ctr"/>
              <a:lstStyle/>
              <a:p>
                <a:endParaRPr lang="en-AD" sz="2400"/>
              </a:p>
            </p:txBody>
          </p:sp>
          <p:sp>
            <p:nvSpPr>
              <p:cNvPr id="178" name="Freeform 177">
                <a:extLst>
                  <a:ext uri="{FF2B5EF4-FFF2-40B4-BE49-F238E27FC236}">
                    <a16:creationId xmlns:a16="http://schemas.microsoft.com/office/drawing/2014/main" id="{AB4127C4-E377-3CCA-E532-B9270EA872F1}"/>
                  </a:ext>
                </a:extLst>
              </p:cNvPr>
              <p:cNvSpPr/>
              <p:nvPr/>
            </p:nvSpPr>
            <p:spPr>
              <a:xfrm>
                <a:off x="2737399" y="4814315"/>
                <a:ext cx="20370" cy="23622"/>
              </a:xfrm>
              <a:custGeom>
                <a:avLst/>
                <a:gdLst>
                  <a:gd name="connsiteX0" fmla="*/ 20243 w 20370"/>
                  <a:gd name="connsiteY0" fmla="*/ 22987 h 23622"/>
                  <a:gd name="connsiteX1" fmla="*/ 15278 w 20370"/>
                  <a:gd name="connsiteY1" fmla="*/ 22987 h 23622"/>
                  <a:gd name="connsiteX2" fmla="*/ 15278 w 20370"/>
                  <a:gd name="connsiteY2" fmla="*/ 19812 h 23622"/>
                  <a:gd name="connsiteX3" fmla="*/ 15278 w 20370"/>
                  <a:gd name="connsiteY3" fmla="*/ 19812 h 23622"/>
                  <a:gd name="connsiteX4" fmla="*/ 8657 w 20370"/>
                  <a:gd name="connsiteY4" fmla="*/ 23622 h 23622"/>
                  <a:gd name="connsiteX5" fmla="*/ 0 w 20370"/>
                  <a:gd name="connsiteY5" fmla="*/ 14605 h 23622"/>
                  <a:gd name="connsiteX6" fmla="*/ 0 w 20370"/>
                  <a:gd name="connsiteY6" fmla="*/ 0 h 23622"/>
                  <a:gd name="connsiteX7" fmla="*/ 5093 w 20370"/>
                  <a:gd name="connsiteY7" fmla="*/ 0 h 23622"/>
                  <a:gd name="connsiteX8" fmla="*/ 5093 w 20370"/>
                  <a:gd name="connsiteY8" fmla="*/ 14097 h 23622"/>
                  <a:gd name="connsiteX9" fmla="*/ 9549 w 20370"/>
                  <a:gd name="connsiteY9" fmla="*/ 19685 h 23622"/>
                  <a:gd name="connsiteX10" fmla="*/ 15278 w 20370"/>
                  <a:gd name="connsiteY10" fmla="*/ 13335 h 23622"/>
                  <a:gd name="connsiteX11" fmla="*/ 15278 w 20370"/>
                  <a:gd name="connsiteY11" fmla="*/ 0 h 23622"/>
                  <a:gd name="connsiteX12" fmla="*/ 20370 w 20370"/>
                  <a:gd name="connsiteY12" fmla="*/ 0 h 23622"/>
                  <a:gd name="connsiteX13" fmla="*/ 20370 w 20370"/>
                  <a:gd name="connsiteY13" fmla="*/ 2311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70" h="23622">
                    <a:moveTo>
                      <a:pt x="20243" y="22987"/>
                    </a:moveTo>
                    <a:lnTo>
                      <a:pt x="15278" y="22987"/>
                    </a:lnTo>
                    <a:lnTo>
                      <a:pt x="15278" y="19812"/>
                    </a:lnTo>
                    <a:lnTo>
                      <a:pt x="15278" y="19812"/>
                    </a:lnTo>
                    <a:cubicBezTo>
                      <a:pt x="14005" y="22098"/>
                      <a:pt x="11204" y="23622"/>
                      <a:pt x="8657" y="23622"/>
                    </a:cubicBezTo>
                    <a:cubicBezTo>
                      <a:pt x="2674" y="23622"/>
                      <a:pt x="0" y="20574"/>
                      <a:pt x="0" y="14605"/>
                    </a:cubicBezTo>
                    <a:lnTo>
                      <a:pt x="0" y="0"/>
                    </a:lnTo>
                    <a:lnTo>
                      <a:pt x="5093" y="0"/>
                    </a:lnTo>
                    <a:lnTo>
                      <a:pt x="5093" y="14097"/>
                    </a:lnTo>
                    <a:cubicBezTo>
                      <a:pt x="5093" y="18161"/>
                      <a:pt x="6748" y="19685"/>
                      <a:pt x="9549" y="19685"/>
                    </a:cubicBezTo>
                    <a:cubicBezTo>
                      <a:pt x="13750" y="19685"/>
                      <a:pt x="15278" y="17018"/>
                      <a:pt x="15278" y="13335"/>
                    </a:cubicBezTo>
                    <a:lnTo>
                      <a:pt x="15278" y="0"/>
                    </a:lnTo>
                    <a:lnTo>
                      <a:pt x="20370" y="0"/>
                    </a:lnTo>
                    <a:lnTo>
                      <a:pt x="20370" y="23114"/>
                    </a:lnTo>
                    <a:close/>
                  </a:path>
                </a:pathLst>
              </a:custGeom>
              <a:solidFill>
                <a:srgbClr val="FFFFFF"/>
              </a:solidFill>
              <a:ln w="0" cap="flat">
                <a:noFill/>
                <a:prstDash val="solid"/>
                <a:miter/>
              </a:ln>
            </p:spPr>
            <p:txBody>
              <a:bodyPr rtlCol="0" anchor="ctr"/>
              <a:lstStyle/>
              <a:p>
                <a:endParaRPr lang="en-AD" sz="2400"/>
              </a:p>
            </p:txBody>
          </p:sp>
          <p:sp>
            <p:nvSpPr>
              <p:cNvPr id="179" name="Freeform 178">
                <a:extLst>
                  <a:ext uri="{FF2B5EF4-FFF2-40B4-BE49-F238E27FC236}">
                    <a16:creationId xmlns:a16="http://schemas.microsoft.com/office/drawing/2014/main" id="{C17A6CF3-FB03-82B9-6A8A-DAEC11E8730B}"/>
                  </a:ext>
                </a:extLst>
              </p:cNvPr>
              <p:cNvSpPr/>
              <p:nvPr/>
            </p:nvSpPr>
            <p:spPr>
              <a:xfrm>
                <a:off x="2763244" y="4813553"/>
                <a:ext cx="13495" cy="23622"/>
              </a:xfrm>
              <a:custGeom>
                <a:avLst/>
                <a:gdLst>
                  <a:gd name="connsiteX0" fmla="*/ 0 w 13495"/>
                  <a:gd name="connsiteY0" fmla="*/ 635 h 23622"/>
                  <a:gd name="connsiteX1" fmla="*/ 4838 w 13495"/>
                  <a:gd name="connsiteY1" fmla="*/ 635 h 23622"/>
                  <a:gd name="connsiteX2" fmla="*/ 4838 w 13495"/>
                  <a:gd name="connsiteY2" fmla="*/ 5080 h 23622"/>
                  <a:gd name="connsiteX3" fmla="*/ 4838 w 13495"/>
                  <a:gd name="connsiteY3" fmla="*/ 5080 h 23622"/>
                  <a:gd name="connsiteX4" fmla="*/ 11586 w 13495"/>
                  <a:gd name="connsiteY4" fmla="*/ 0 h 23622"/>
                  <a:gd name="connsiteX5" fmla="*/ 13495 w 13495"/>
                  <a:gd name="connsiteY5" fmla="*/ 127 h 23622"/>
                  <a:gd name="connsiteX6" fmla="*/ 13495 w 13495"/>
                  <a:gd name="connsiteY6" fmla="*/ 5080 h 23622"/>
                  <a:gd name="connsiteX7" fmla="*/ 11331 w 13495"/>
                  <a:gd name="connsiteY7" fmla="*/ 4826 h 23622"/>
                  <a:gd name="connsiteX8" fmla="*/ 5093 w 13495"/>
                  <a:gd name="connsiteY8" fmla="*/ 12700 h 23622"/>
                  <a:gd name="connsiteX9" fmla="*/ 5093 w 13495"/>
                  <a:gd name="connsiteY9" fmla="*/ 23622 h 23622"/>
                  <a:gd name="connsiteX10" fmla="*/ 0 w 13495"/>
                  <a:gd name="connsiteY10" fmla="*/ 23622 h 23622"/>
                  <a:gd name="connsiteX11" fmla="*/ 0 w 13495"/>
                  <a:gd name="connsiteY11" fmla="*/ 508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95" h="23622">
                    <a:moveTo>
                      <a:pt x="0" y="635"/>
                    </a:moveTo>
                    <a:lnTo>
                      <a:pt x="4838" y="635"/>
                    </a:lnTo>
                    <a:lnTo>
                      <a:pt x="4838" y="5080"/>
                    </a:lnTo>
                    <a:lnTo>
                      <a:pt x="4838" y="5080"/>
                    </a:lnTo>
                    <a:cubicBezTo>
                      <a:pt x="5475" y="2667"/>
                      <a:pt x="8403" y="0"/>
                      <a:pt x="11586" y="0"/>
                    </a:cubicBezTo>
                    <a:cubicBezTo>
                      <a:pt x="12731" y="0"/>
                      <a:pt x="13114" y="0"/>
                      <a:pt x="13495" y="127"/>
                    </a:cubicBezTo>
                    <a:lnTo>
                      <a:pt x="13495" y="5080"/>
                    </a:lnTo>
                    <a:cubicBezTo>
                      <a:pt x="12731" y="5080"/>
                      <a:pt x="11968" y="4826"/>
                      <a:pt x="11331" y="4826"/>
                    </a:cubicBezTo>
                    <a:cubicBezTo>
                      <a:pt x="7894" y="4826"/>
                      <a:pt x="5093" y="7620"/>
                      <a:pt x="5093" y="12700"/>
                    </a:cubicBezTo>
                    <a:lnTo>
                      <a:pt x="5093" y="23622"/>
                    </a:lnTo>
                    <a:lnTo>
                      <a:pt x="0" y="23622"/>
                    </a:lnTo>
                    <a:lnTo>
                      <a:pt x="0" y="508"/>
                    </a:lnTo>
                    <a:close/>
                  </a:path>
                </a:pathLst>
              </a:custGeom>
              <a:solidFill>
                <a:srgbClr val="FFFFFF"/>
              </a:solidFill>
              <a:ln w="0" cap="flat">
                <a:noFill/>
                <a:prstDash val="solid"/>
                <a:miter/>
              </a:ln>
            </p:spPr>
            <p:txBody>
              <a:bodyPr rtlCol="0" anchor="ctr"/>
              <a:lstStyle/>
              <a:p>
                <a:endParaRPr lang="en-AD" sz="2400"/>
              </a:p>
            </p:txBody>
          </p:sp>
          <p:sp>
            <p:nvSpPr>
              <p:cNvPr id="180" name="Freeform 179">
                <a:extLst>
                  <a:ext uri="{FF2B5EF4-FFF2-40B4-BE49-F238E27FC236}">
                    <a16:creationId xmlns:a16="http://schemas.microsoft.com/office/drawing/2014/main" id="{A63D904E-ED1B-8808-94FB-1328970E7CCF}"/>
                  </a:ext>
                </a:extLst>
              </p:cNvPr>
              <p:cNvSpPr/>
              <p:nvPr/>
            </p:nvSpPr>
            <p:spPr>
              <a:xfrm>
                <a:off x="2777249" y="4813553"/>
                <a:ext cx="22237" cy="24384"/>
              </a:xfrm>
              <a:custGeom>
                <a:avLst/>
                <a:gdLst>
                  <a:gd name="connsiteX0" fmla="*/ 5092 w 22237"/>
                  <a:gd name="connsiteY0" fmla="*/ 13462 h 24384"/>
                  <a:gd name="connsiteX1" fmla="*/ 11331 w 22237"/>
                  <a:gd name="connsiteY1" fmla="*/ 20320 h 24384"/>
                  <a:gd name="connsiteX2" fmla="*/ 16933 w 22237"/>
                  <a:gd name="connsiteY2" fmla="*/ 16510 h 24384"/>
                  <a:gd name="connsiteX3" fmla="*/ 21771 w 22237"/>
                  <a:gd name="connsiteY3" fmla="*/ 16510 h 24384"/>
                  <a:gd name="connsiteX4" fmla="*/ 11331 w 22237"/>
                  <a:gd name="connsiteY4" fmla="*/ 24384 h 24384"/>
                  <a:gd name="connsiteX5" fmla="*/ 0 w 22237"/>
                  <a:gd name="connsiteY5" fmla="*/ 12192 h 24384"/>
                  <a:gd name="connsiteX6" fmla="*/ 11204 w 22237"/>
                  <a:gd name="connsiteY6" fmla="*/ 0 h 24384"/>
                  <a:gd name="connsiteX7" fmla="*/ 22153 w 22237"/>
                  <a:gd name="connsiteY7" fmla="*/ 13462 h 24384"/>
                  <a:gd name="connsiteX8" fmla="*/ 5220 w 22237"/>
                  <a:gd name="connsiteY8" fmla="*/ 13462 h 24384"/>
                  <a:gd name="connsiteX9" fmla="*/ 16933 w 22237"/>
                  <a:gd name="connsiteY9" fmla="*/ 10160 h 24384"/>
                  <a:gd name="connsiteX10" fmla="*/ 11076 w 22237"/>
                  <a:gd name="connsiteY10" fmla="*/ 4064 h 24384"/>
                  <a:gd name="connsiteX11" fmla="*/ 4965 w 22237"/>
                  <a:gd name="connsiteY11" fmla="*/ 10160 h 24384"/>
                  <a:gd name="connsiteX12" fmla="*/ 16806 w 22237"/>
                  <a:gd name="connsiteY12" fmla="*/ 10160 h 2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37" h="24384">
                    <a:moveTo>
                      <a:pt x="5092" y="13462"/>
                    </a:moveTo>
                    <a:cubicBezTo>
                      <a:pt x="5092" y="17018"/>
                      <a:pt x="7002" y="20320"/>
                      <a:pt x="11331" y="20320"/>
                    </a:cubicBezTo>
                    <a:cubicBezTo>
                      <a:pt x="14259" y="20320"/>
                      <a:pt x="16042" y="19050"/>
                      <a:pt x="16933" y="16510"/>
                    </a:cubicBezTo>
                    <a:lnTo>
                      <a:pt x="21771" y="16510"/>
                    </a:lnTo>
                    <a:cubicBezTo>
                      <a:pt x="20625" y="21590"/>
                      <a:pt x="16424" y="24384"/>
                      <a:pt x="11331" y="24384"/>
                    </a:cubicBezTo>
                    <a:cubicBezTo>
                      <a:pt x="4074" y="24384"/>
                      <a:pt x="0" y="19304"/>
                      <a:pt x="0" y="12192"/>
                    </a:cubicBezTo>
                    <a:cubicBezTo>
                      <a:pt x="0" y="5588"/>
                      <a:pt x="4329" y="0"/>
                      <a:pt x="11204" y="0"/>
                    </a:cubicBezTo>
                    <a:cubicBezTo>
                      <a:pt x="18461" y="0"/>
                      <a:pt x="22917" y="6604"/>
                      <a:pt x="22153" y="13462"/>
                    </a:cubicBezTo>
                    <a:lnTo>
                      <a:pt x="5220" y="13462"/>
                    </a:lnTo>
                    <a:close/>
                    <a:moveTo>
                      <a:pt x="16933" y="10160"/>
                    </a:moveTo>
                    <a:cubicBezTo>
                      <a:pt x="16806" y="6985"/>
                      <a:pt x="14514" y="4064"/>
                      <a:pt x="11076" y="4064"/>
                    </a:cubicBezTo>
                    <a:cubicBezTo>
                      <a:pt x="7639" y="4064"/>
                      <a:pt x="5092" y="6731"/>
                      <a:pt x="4965" y="10160"/>
                    </a:cubicBezTo>
                    <a:lnTo>
                      <a:pt x="16806" y="10160"/>
                    </a:lnTo>
                    <a:close/>
                  </a:path>
                </a:pathLst>
              </a:custGeom>
              <a:solidFill>
                <a:srgbClr val="FFFFFF"/>
              </a:solidFill>
              <a:ln w="0" cap="flat">
                <a:noFill/>
                <a:prstDash val="solid"/>
                <a:miter/>
              </a:ln>
            </p:spPr>
            <p:txBody>
              <a:bodyPr rtlCol="0" anchor="ctr"/>
              <a:lstStyle/>
              <a:p>
                <a:endParaRPr lang="en-AD" sz="2400"/>
              </a:p>
            </p:txBody>
          </p:sp>
          <p:sp>
            <p:nvSpPr>
              <p:cNvPr id="181" name="Freeform 180">
                <a:extLst>
                  <a:ext uri="{FF2B5EF4-FFF2-40B4-BE49-F238E27FC236}">
                    <a16:creationId xmlns:a16="http://schemas.microsoft.com/office/drawing/2014/main" id="{6ED24B26-BE14-2FAB-D3BA-747450B5DE20}"/>
                  </a:ext>
                </a:extLst>
              </p:cNvPr>
              <p:cNvSpPr/>
              <p:nvPr/>
            </p:nvSpPr>
            <p:spPr>
              <a:xfrm>
                <a:off x="2055895" y="4723384"/>
                <a:ext cx="66090" cy="122920"/>
              </a:xfrm>
              <a:custGeom>
                <a:avLst/>
                <a:gdLst>
                  <a:gd name="connsiteX0" fmla="*/ 17051 w 66090"/>
                  <a:gd name="connsiteY0" fmla="*/ 3556 h 122920"/>
                  <a:gd name="connsiteX1" fmla="*/ 9539 w 66090"/>
                  <a:gd name="connsiteY1" fmla="*/ 25527 h 122920"/>
                  <a:gd name="connsiteX2" fmla="*/ 9539 w 66090"/>
                  <a:gd name="connsiteY2" fmla="*/ 44450 h 122920"/>
                  <a:gd name="connsiteX3" fmla="*/ 245 w 66090"/>
                  <a:gd name="connsiteY3" fmla="*/ 13970 h 122920"/>
                  <a:gd name="connsiteX4" fmla="*/ 17051 w 66090"/>
                  <a:gd name="connsiteY4" fmla="*/ 3429 h 122920"/>
                  <a:gd name="connsiteX5" fmla="*/ 38821 w 66090"/>
                  <a:gd name="connsiteY5" fmla="*/ 0 h 122920"/>
                  <a:gd name="connsiteX6" fmla="*/ 22143 w 66090"/>
                  <a:gd name="connsiteY6" fmla="*/ 10668 h 122920"/>
                  <a:gd name="connsiteX7" fmla="*/ 15396 w 66090"/>
                  <a:gd name="connsiteY7" fmla="*/ 32131 h 122920"/>
                  <a:gd name="connsiteX8" fmla="*/ 33729 w 66090"/>
                  <a:gd name="connsiteY8" fmla="*/ 16129 h 122920"/>
                  <a:gd name="connsiteX9" fmla="*/ 51426 w 66090"/>
                  <a:gd name="connsiteY9" fmla="*/ 10160 h 122920"/>
                  <a:gd name="connsiteX10" fmla="*/ 38949 w 66090"/>
                  <a:gd name="connsiteY10" fmla="*/ 127 h 122920"/>
                  <a:gd name="connsiteX11" fmla="*/ 26854 w 66090"/>
                  <a:gd name="connsiteY11" fmla="*/ 26670 h 122920"/>
                  <a:gd name="connsiteX12" fmla="*/ 51426 w 66090"/>
                  <a:gd name="connsiteY12" fmla="*/ 32512 h 122920"/>
                  <a:gd name="connsiteX13" fmla="*/ 65812 w 66090"/>
                  <a:gd name="connsiteY13" fmla="*/ 42291 h 122920"/>
                  <a:gd name="connsiteX14" fmla="*/ 58046 w 66090"/>
                  <a:gd name="connsiteY14" fmla="*/ 20447 h 122920"/>
                  <a:gd name="connsiteX15" fmla="*/ 26854 w 66090"/>
                  <a:gd name="connsiteY15" fmla="*/ 26543 h 122920"/>
                  <a:gd name="connsiteX16" fmla="*/ 9284 w 66090"/>
                  <a:gd name="connsiteY16" fmla="*/ 59817 h 122920"/>
                  <a:gd name="connsiteX17" fmla="*/ 17942 w 66090"/>
                  <a:gd name="connsiteY17" fmla="*/ 70993 h 122920"/>
                  <a:gd name="connsiteX18" fmla="*/ 32838 w 66090"/>
                  <a:gd name="connsiteY18" fmla="*/ 86233 h 122920"/>
                  <a:gd name="connsiteX19" fmla="*/ 23926 w 66090"/>
                  <a:gd name="connsiteY19" fmla="*/ 105283 h 122920"/>
                  <a:gd name="connsiteX20" fmla="*/ 17051 w 66090"/>
                  <a:gd name="connsiteY20" fmla="*/ 117856 h 122920"/>
                  <a:gd name="connsiteX21" fmla="*/ 28636 w 66090"/>
                  <a:gd name="connsiteY21" fmla="*/ 115316 h 122920"/>
                  <a:gd name="connsiteX22" fmla="*/ 42131 w 66090"/>
                  <a:gd name="connsiteY22" fmla="*/ 101854 h 122920"/>
                  <a:gd name="connsiteX23" fmla="*/ 59701 w 66090"/>
                  <a:gd name="connsiteY23" fmla="*/ 120396 h 122920"/>
                  <a:gd name="connsiteX24" fmla="*/ 66067 w 66090"/>
                  <a:gd name="connsiteY24" fmla="*/ 120396 h 122920"/>
                  <a:gd name="connsiteX25" fmla="*/ 54863 w 66090"/>
                  <a:gd name="connsiteY25" fmla="*/ 94742 h 122920"/>
                  <a:gd name="connsiteX26" fmla="*/ 60465 w 66090"/>
                  <a:gd name="connsiteY26" fmla="*/ 73914 h 122920"/>
                  <a:gd name="connsiteX27" fmla="*/ 64666 w 66090"/>
                  <a:gd name="connsiteY27" fmla="*/ 50673 h 122920"/>
                  <a:gd name="connsiteX28" fmla="*/ 59956 w 66090"/>
                  <a:gd name="connsiteY28" fmla="*/ 50546 h 122920"/>
                  <a:gd name="connsiteX29" fmla="*/ 53208 w 66090"/>
                  <a:gd name="connsiteY29" fmla="*/ 67437 h 122920"/>
                  <a:gd name="connsiteX30" fmla="*/ 44423 w 66090"/>
                  <a:gd name="connsiteY30" fmla="*/ 88011 h 122920"/>
                  <a:gd name="connsiteX31" fmla="*/ 40349 w 66090"/>
                  <a:gd name="connsiteY31" fmla="*/ 80391 h 122920"/>
                  <a:gd name="connsiteX32" fmla="*/ 25835 w 66090"/>
                  <a:gd name="connsiteY32" fmla="*/ 64897 h 122920"/>
                  <a:gd name="connsiteX33" fmla="*/ 13358 w 66090"/>
                  <a:gd name="connsiteY33" fmla="*/ 52705 h 122920"/>
                  <a:gd name="connsiteX34" fmla="*/ 9412 w 66090"/>
                  <a:gd name="connsiteY34" fmla="*/ 59817 h 122920"/>
                  <a:gd name="connsiteX35" fmla="*/ 38694 w 66090"/>
                  <a:gd name="connsiteY35" fmla="*/ 59182 h 122920"/>
                  <a:gd name="connsiteX36" fmla="*/ 48497 w 66090"/>
                  <a:gd name="connsiteY36" fmla="*/ 49403 h 122920"/>
                  <a:gd name="connsiteX37" fmla="*/ 38694 w 66090"/>
                  <a:gd name="connsiteY37" fmla="*/ 39624 h 122920"/>
                  <a:gd name="connsiteX38" fmla="*/ 28891 w 66090"/>
                  <a:gd name="connsiteY38" fmla="*/ 49403 h 122920"/>
                  <a:gd name="connsiteX39" fmla="*/ 38694 w 66090"/>
                  <a:gd name="connsiteY39" fmla="*/ 59182 h 1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090" h="122920">
                    <a:moveTo>
                      <a:pt x="17051" y="3556"/>
                    </a:moveTo>
                    <a:cubicBezTo>
                      <a:pt x="17051" y="3556"/>
                      <a:pt x="11449" y="17018"/>
                      <a:pt x="9539" y="25527"/>
                    </a:cubicBezTo>
                    <a:cubicBezTo>
                      <a:pt x="7629" y="34036"/>
                      <a:pt x="9539" y="44450"/>
                      <a:pt x="9539" y="44450"/>
                    </a:cubicBezTo>
                    <a:cubicBezTo>
                      <a:pt x="9539" y="44450"/>
                      <a:pt x="-1792" y="27178"/>
                      <a:pt x="245" y="13970"/>
                    </a:cubicBezTo>
                    <a:cubicBezTo>
                      <a:pt x="2282" y="762"/>
                      <a:pt x="17051" y="3429"/>
                      <a:pt x="17051" y="3429"/>
                    </a:cubicBezTo>
                    <a:close/>
                    <a:moveTo>
                      <a:pt x="38821" y="0"/>
                    </a:moveTo>
                    <a:cubicBezTo>
                      <a:pt x="38821" y="0"/>
                      <a:pt x="27618" y="2032"/>
                      <a:pt x="22143" y="10668"/>
                    </a:cubicBezTo>
                    <a:cubicBezTo>
                      <a:pt x="16669" y="19304"/>
                      <a:pt x="15396" y="32131"/>
                      <a:pt x="15396" y="32131"/>
                    </a:cubicBezTo>
                    <a:cubicBezTo>
                      <a:pt x="15396" y="32131"/>
                      <a:pt x="21125" y="21844"/>
                      <a:pt x="33729" y="16129"/>
                    </a:cubicBezTo>
                    <a:cubicBezTo>
                      <a:pt x="46333" y="10414"/>
                      <a:pt x="51426" y="10160"/>
                      <a:pt x="51426" y="10160"/>
                    </a:cubicBezTo>
                    <a:lnTo>
                      <a:pt x="38949" y="127"/>
                    </a:lnTo>
                    <a:close/>
                    <a:moveTo>
                      <a:pt x="26854" y="26670"/>
                    </a:moveTo>
                    <a:cubicBezTo>
                      <a:pt x="26854" y="26670"/>
                      <a:pt x="40349" y="27051"/>
                      <a:pt x="51426" y="32512"/>
                    </a:cubicBezTo>
                    <a:cubicBezTo>
                      <a:pt x="62502" y="37973"/>
                      <a:pt x="65812" y="42291"/>
                      <a:pt x="65812" y="42291"/>
                    </a:cubicBezTo>
                    <a:cubicBezTo>
                      <a:pt x="65812" y="42291"/>
                      <a:pt x="68358" y="25273"/>
                      <a:pt x="58046" y="20447"/>
                    </a:cubicBezTo>
                    <a:cubicBezTo>
                      <a:pt x="47733" y="15621"/>
                      <a:pt x="26854" y="26543"/>
                      <a:pt x="26854" y="26543"/>
                    </a:cubicBezTo>
                    <a:close/>
                    <a:moveTo>
                      <a:pt x="9284" y="59817"/>
                    </a:moveTo>
                    <a:cubicBezTo>
                      <a:pt x="9284" y="63881"/>
                      <a:pt x="12595" y="67437"/>
                      <a:pt x="17942" y="70993"/>
                    </a:cubicBezTo>
                    <a:cubicBezTo>
                      <a:pt x="23289" y="74549"/>
                      <a:pt x="31819" y="80645"/>
                      <a:pt x="32838" y="86233"/>
                    </a:cubicBezTo>
                    <a:cubicBezTo>
                      <a:pt x="33856" y="91821"/>
                      <a:pt x="29273" y="98171"/>
                      <a:pt x="23926" y="105283"/>
                    </a:cubicBezTo>
                    <a:cubicBezTo>
                      <a:pt x="18578" y="112395"/>
                      <a:pt x="15650" y="116459"/>
                      <a:pt x="17051" y="117856"/>
                    </a:cubicBezTo>
                    <a:cubicBezTo>
                      <a:pt x="18451" y="119253"/>
                      <a:pt x="23034" y="118618"/>
                      <a:pt x="28636" y="115316"/>
                    </a:cubicBezTo>
                    <a:cubicBezTo>
                      <a:pt x="34238" y="112014"/>
                      <a:pt x="42131" y="101854"/>
                      <a:pt x="42131" y="101854"/>
                    </a:cubicBezTo>
                    <a:cubicBezTo>
                      <a:pt x="42131" y="101854"/>
                      <a:pt x="55881" y="115570"/>
                      <a:pt x="59701" y="120396"/>
                    </a:cubicBezTo>
                    <a:cubicBezTo>
                      <a:pt x="63520" y="125222"/>
                      <a:pt x="66067" y="121920"/>
                      <a:pt x="66067" y="120396"/>
                    </a:cubicBezTo>
                    <a:cubicBezTo>
                      <a:pt x="66067" y="118872"/>
                      <a:pt x="56136" y="103378"/>
                      <a:pt x="54863" y="94742"/>
                    </a:cubicBezTo>
                    <a:cubicBezTo>
                      <a:pt x="53590" y="86106"/>
                      <a:pt x="57282" y="81788"/>
                      <a:pt x="60465" y="73914"/>
                    </a:cubicBezTo>
                    <a:cubicBezTo>
                      <a:pt x="63648" y="66040"/>
                      <a:pt x="66067" y="59182"/>
                      <a:pt x="64666" y="50673"/>
                    </a:cubicBezTo>
                    <a:cubicBezTo>
                      <a:pt x="64284" y="48641"/>
                      <a:pt x="60847" y="48260"/>
                      <a:pt x="59956" y="50546"/>
                    </a:cubicBezTo>
                    <a:cubicBezTo>
                      <a:pt x="59192" y="52197"/>
                      <a:pt x="57027" y="59817"/>
                      <a:pt x="53208" y="67437"/>
                    </a:cubicBezTo>
                    <a:cubicBezTo>
                      <a:pt x="49388" y="75057"/>
                      <a:pt x="44423" y="88011"/>
                      <a:pt x="44423" y="88011"/>
                    </a:cubicBezTo>
                    <a:cubicBezTo>
                      <a:pt x="44423" y="88011"/>
                      <a:pt x="42514" y="84074"/>
                      <a:pt x="40349" y="80391"/>
                    </a:cubicBezTo>
                    <a:cubicBezTo>
                      <a:pt x="38185" y="76708"/>
                      <a:pt x="31437" y="70358"/>
                      <a:pt x="25835" y="64897"/>
                    </a:cubicBezTo>
                    <a:cubicBezTo>
                      <a:pt x="20234" y="59436"/>
                      <a:pt x="14886" y="53594"/>
                      <a:pt x="13358" y="52705"/>
                    </a:cubicBezTo>
                    <a:cubicBezTo>
                      <a:pt x="11194" y="51308"/>
                      <a:pt x="9412" y="55753"/>
                      <a:pt x="9412" y="59817"/>
                    </a:cubicBezTo>
                    <a:close/>
                    <a:moveTo>
                      <a:pt x="38694" y="59182"/>
                    </a:moveTo>
                    <a:cubicBezTo>
                      <a:pt x="44169" y="59182"/>
                      <a:pt x="48497" y="54737"/>
                      <a:pt x="48497" y="49403"/>
                    </a:cubicBezTo>
                    <a:cubicBezTo>
                      <a:pt x="48497" y="44069"/>
                      <a:pt x="44041" y="39624"/>
                      <a:pt x="38694" y="39624"/>
                    </a:cubicBezTo>
                    <a:cubicBezTo>
                      <a:pt x="33347" y="39624"/>
                      <a:pt x="28891" y="44069"/>
                      <a:pt x="28891" y="49403"/>
                    </a:cubicBezTo>
                    <a:cubicBezTo>
                      <a:pt x="28891" y="54737"/>
                      <a:pt x="33347" y="59182"/>
                      <a:pt x="38694" y="59182"/>
                    </a:cubicBezTo>
                    <a:close/>
                  </a:path>
                </a:pathLst>
              </a:custGeom>
              <a:solidFill>
                <a:srgbClr val="FFFFFF"/>
              </a:solidFill>
              <a:ln w="0" cap="flat">
                <a:noFill/>
                <a:prstDash val="solid"/>
                <a:miter/>
              </a:ln>
            </p:spPr>
            <p:txBody>
              <a:bodyPr rtlCol="0" anchor="ctr"/>
              <a:lstStyle/>
              <a:p>
                <a:endParaRPr lang="en-AD" sz="2400"/>
              </a:p>
            </p:txBody>
          </p:sp>
        </p:grpSp>
        <p:grpSp>
          <p:nvGrpSpPr>
            <p:cNvPr id="182" name="Group 181">
              <a:extLst>
                <a:ext uri="{FF2B5EF4-FFF2-40B4-BE49-F238E27FC236}">
                  <a16:creationId xmlns:a16="http://schemas.microsoft.com/office/drawing/2014/main" id="{A5485FC0-3EEB-6366-A35F-A949B75A2384}"/>
                </a:ext>
              </a:extLst>
            </p:cNvPr>
            <p:cNvGrpSpPr/>
            <p:nvPr userDrawn="1"/>
          </p:nvGrpSpPr>
          <p:grpSpPr>
            <a:xfrm>
              <a:off x="5331936" y="4177957"/>
              <a:ext cx="535611" cy="138231"/>
              <a:chOff x="3920405" y="4724146"/>
              <a:chExt cx="535611" cy="138231"/>
            </a:xfrm>
          </p:grpSpPr>
          <p:sp>
            <p:nvSpPr>
              <p:cNvPr id="183" name="Freeform 182">
                <a:extLst>
                  <a:ext uri="{FF2B5EF4-FFF2-40B4-BE49-F238E27FC236}">
                    <a16:creationId xmlns:a16="http://schemas.microsoft.com/office/drawing/2014/main" id="{26D319CC-80E5-5F7D-0EA4-647D34E1A37C}"/>
                  </a:ext>
                </a:extLst>
              </p:cNvPr>
              <p:cNvSpPr/>
              <p:nvPr/>
            </p:nvSpPr>
            <p:spPr>
              <a:xfrm>
                <a:off x="4148043" y="4847209"/>
                <a:ext cx="2036" cy="14731"/>
              </a:xfrm>
              <a:custGeom>
                <a:avLst/>
                <a:gdLst>
                  <a:gd name="connsiteX0" fmla="*/ 0 w 2036"/>
                  <a:gd name="connsiteY0" fmla="*/ 2794 h 14731"/>
                  <a:gd name="connsiteX1" fmla="*/ 0 w 2036"/>
                  <a:gd name="connsiteY1" fmla="*/ 0 h 14731"/>
                  <a:gd name="connsiteX2" fmla="*/ 509 w 2036"/>
                  <a:gd name="connsiteY2" fmla="*/ 0 h 14731"/>
                  <a:gd name="connsiteX3" fmla="*/ 1018 w 2036"/>
                  <a:gd name="connsiteY3" fmla="*/ 0 h 14731"/>
                  <a:gd name="connsiteX4" fmla="*/ 1528 w 2036"/>
                  <a:gd name="connsiteY4" fmla="*/ 0 h 14731"/>
                  <a:gd name="connsiteX5" fmla="*/ 2037 w 2036"/>
                  <a:gd name="connsiteY5" fmla="*/ 0 h 14731"/>
                  <a:gd name="connsiteX6" fmla="*/ 2037 w 2036"/>
                  <a:gd name="connsiteY6" fmla="*/ 2794 h 14731"/>
                  <a:gd name="connsiteX7" fmla="*/ 2037 w 2036"/>
                  <a:gd name="connsiteY7" fmla="*/ 5588 h 14731"/>
                  <a:gd name="connsiteX8" fmla="*/ 2037 w 2036"/>
                  <a:gd name="connsiteY8" fmla="*/ 9271 h 14731"/>
                  <a:gd name="connsiteX9" fmla="*/ 2037 w 2036"/>
                  <a:gd name="connsiteY9" fmla="*/ 12065 h 14731"/>
                  <a:gd name="connsiteX10" fmla="*/ 2037 w 2036"/>
                  <a:gd name="connsiteY10" fmla="*/ 14732 h 14731"/>
                  <a:gd name="connsiteX11" fmla="*/ 1018 w 2036"/>
                  <a:gd name="connsiteY11" fmla="*/ 14732 h 14731"/>
                  <a:gd name="connsiteX12" fmla="*/ 0 w 2036"/>
                  <a:gd name="connsiteY12" fmla="*/ 14732 h 14731"/>
                  <a:gd name="connsiteX13" fmla="*/ 0 w 2036"/>
                  <a:gd name="connsiteY13" fmla="*/ 12065 h 14731"/>
                  <a:gd name="connsiteX14" fmla="*/ 0 w 2036"/>
                  <a:gd name="connsiteY14" fmla="*/ 9271 h 14731"/>
                  <a:gd name="connsiteX15" fmla="*/ 0 w 2036"/>
                  <a:gd name="connsiteY15" fmla="*/ 5588 h 14731"/>
                  <a:gd name="connsiteX16" fmla="*/ 0 w 2036"/>
                  <a:gd name="connsiteY16" fmla="*/ 2794 h 1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6" h="14731">
                    <a:moveTo>
                      <a:pt x="0" y="2794"/>
                    </a:moveTo>
                    <a:cubicBezTo>
                      <a:pt x="0" y="1905"/>
                      <a:pt x="0" y="1016"/>
                      <a:pt x="0" y="0"/>
                    </a:cubicBezTo>
                    <a:cubicBezTo>
                      <a:pt x="127" y="0"/>
                      <a:pt x="382" y="0"/>
                      <a:pt x="509" y="0"/>
                    </a:cubicBezTo>
                    <a:cubicBezTo>
                      <a:pt x="636" y="0"/>
                      <a:pt x="891" y="0"/>
                      <a:pt x="1018" y="0"/>
                    </a:cubicBezTo>
                    <a:cubicBezTo>
                      <a:pt x="1146" y="0"/>
                      <a:pt x="1400" y="0"/>
                      <a:pt x="1528" y="0"/>
                    </a:cubicBezTo>
                    <a:cubicBezTo>
                      <a:pt x="1655" y="0"/>
                      <a:pt x="1910" y="0"/>
                      <a:pt x="2037" y="0"/>
                    </a:cubicBezTo>
                    <a:cubicBezTo>
                      <a:pt x="2037" y="889"/>
                      <a:pt x="2037" y="1905"/>
                      <a:pt x="2037" y="2794"/>
                    </a:cubicBezTo>
                    <a:cubicBezTo>
                      <a:pt x="2037" y="3683"/>
                      <a:pt x="2037" y="4572"/>
                      <a:pt x="2037" y="5588"/>
                    </a:cubicBezTo>
                    <a:lnTo>
                      <a:pt x="2037" y="9271"/>
                    </a:lnTo>
                    <a:cubicBezTo>
                      <a:pt x="2037" y="10160"/>
                      <a:pt x="2037" y="11176"/>
                      <a:pt x="2037" y="12065"/>
                    </a:cubicBezTo>
                    <a:cubicBezTo>
                      <a:pt x="2037" y="12954"/>
                      <a:pt x="2037" y="13843"/>
                      <a:pt x="2037" y="14732"/>
                    </a:cubicBezTo>
                    <a:cubicBezTo>
                      <a:pt x="1655" y="14732"/>
                      <a:pt x="1400" y="14732"/>
                      <a:pt x="1018" y="14732"/>
                    </a:cubicBezTo>
                    <a:cubicBezTo>
                      <a:pt x="636" y="14732"/>
                      <a:pt x="254" y="14732"/>
                      <a:pt x="0" y="14732"/>
                    </a:cubicBezTo>
                    <a:cubicBezTo>
                      <a:pt x="0" y="13843"/>
                      <a:pt x="0" y="12954"/>
                      <a:pt x="0" y="12065"/>
                    </a:cubicBezTo>
                    <a:cubicBezTo>
                      <a:pt x="0" y="11176"/>
                      <a:pt x="0" y="10287"/>
                      <a:pt x="0" y="9271"/>
                    </a:cubicBezTo>
                    <a:lnTo>
                      <a:pt x="0" y="5588"/>
                    </a:lnTo>
                    <a:cubicBezTo>
                      <a:pt x="0" y="4699"/>
                      <a:pt x="0" y="3683"/>
                      <a:pt x="0" y="2794"/>
                    </a:cubicBezTo>
                    <a:close/>
                  </a:path>
                </a:pathLst>
              </a:custGeom>
              <a:solidFill>
                <a:srgbClr val="FFFFFF"/>
              </a:solidFill>
              <a:ln w="0" cap="flat">
                <a:noFill/>
                <a:prstDash val="solid"/>
                <a:miter/>
              </a:ln>
            </p:spPr>
            <p:txBody>
              <a:bodyPr rtlCol="0" anchor="ctr"/>
              <a:lstStyle/>
              <a:p>
                <a:endParaRPr lang="en-AD" sz="2400"/>
              </a:p>
            </p:txBody>
          </p:sp>
          <p:sp>
            <p:nvSpPr>
              <p:cNvPr id="184" name="Freeform 183">
                <a:extLst>
                  <a:ext uri="{FF2B5EF4-FFF2-40B4-BE49-F238E27FC236}">
                    <a16:creationId xmlns:a16="http://schemas.microsoft.com/office/drawing/2014/main" id="{DE0F2FDC-7CC8-ED31-87DD-740FA9A04023}"/>
                  </a:ext>
                </a:extLst>
              </p:cNvPr>
              <p:cNvSpPr/>
              <p:nvPr/>
            </p:nvSpPr>
            <p:spPr>
              <a:xfrm>
                <a:off x="4153645"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4 w 8784"/>
                  <a:gd name="connsiteY24" fmla="*/ 3683 h 10414"/>
                  <a:gd name="connsiteX25" fmla="*/ 8784 w 8784"/>
                  <a:gd name="connsiteY25" fmla="*/ 5588 h 10414"/>
                  <a:gd name="connsiteX26" fmla="*/ 8784 w 8784"/>
                  <a:gd name="connsiteY26" fmla="*/ 7620 h 10414"/>
                  <a:gd name="connsiteX27" fmla="*/ 8784 w 8784"/>
                  <a:gd name="connsiteY27" fmla="*/ 9017 h 10414"/>
                  <a:gd name="connsiteX28" fmla="*/ 8784 w 8784"/>
                  <a:gd name="connsiteY28" fmla="*/ 9652 h 10414"/>
                  <a:gd name="connsiteX29" fmla="*/ 8784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2" y="1397"/>
                      <a:pt x="8530" y="1905"/>
                    </a:cubicBezTo>
                    <a:cubicBezTo>
                      <a:pt x="8784" y="2413"/>
                      <a:pt x="8784" y="3048"/>
                      <a:pt x="8784" y="3683"/>
                    </a:cubicBezTo>
                    <a:cubicBezTo>
                      <a:pt x="8784" y="4318"/>
                      <a:pt x="8784" y="4953"/>
                      <a:pt x="8784" y="5588"/>
                    </a:cubicBezTo>
                    <a:cubicBezTo>
                      <a:pt x="8784" y="6223"/>
                      <a:pt x="8784" y="6985"/>
                      <a:pt x="8784" y="7620"/>
                    </a:cubicBezTo>
                    <a:lnTo>
                      <a:pt x="8784" y="9017"/>
                    </a:lnTo>
                    <a:cubicBezTo>
                      <a:pt x="8784" y="9017"/>
                      <a:pt x="8784" y="9525"/>
                      <a:pt x="8784" y="9652"/>
                    </a:cubicBezTo>
                    <a:cubicBezTo>
                      <a:pt x="8784" y="9906"/>
                      <a:pt x="8784" y="10033"/>
                      <a:pt x="8784"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185" name="Freeform 184">
                <a:extLst>
                  <a:ext uri="{FF2B5EF4-FFF2-40B4-BE49-F238E27FC236}">
                    <a16:creationId xmlns:a16="http://schemas.microsoft.com/office/drawing/2014/main" id="{3F80184B-AA23-0905-39D5-0514EDD22CE8}"/>
                  </a:ext>
                </a:extLst>
              </p:cNvPr>
              <p:cNvSpPr/>
              <p:nvPr/>
            </p:nvSpPr>
            <p:spPr>
              <a:xfrm>
                <a:off x="4164339" y="4845558"/>
                <a:ext cx="5983" cy="16382"/>
              </a:xfrm>
              <a:custGeom>
                <a:avLst/>
                <a:gdLst>
                  <a:gd name="connsiteX0" fmla="*/ 4711 w 5983"/>
                  <a:gd name="connsiteY0" fmla="*/ 1651 h 16382"/>
                  <a:gd name="connsiteX1" fmla="*/ 3947 w 5983"/>
                  <a:gd name="connsiteY1" fmla="*/ 1778 h 16382"/>
                  <a:gd name="connsiteX2" fmla="*/ 3437 w 5983"/>
                  <a:gd name="connsiteY2" fmla="*/ 2286 h 16382"/>
                  <a:gd name="connsiteX3" fmla="*/ 3183 w 5983"/>
                  <a:gd name="connsiteY3" fmla="*/ 2921 h 16382"/>
                  <a:gd name="connsiteX4" fmla="*/ 3183 w 5983"/>
                  <a:gd name="connsiteY4" fmla="*/ 3683 h 16382"/>
                  <a:gd name="connsiteX5" fmla="*/ 3183 w 5983"/>
                  <a:gd name="connsiteY5" fmla="*/ 4826 h 16382"/>
                  <a:gd name="connsiteX6" fmla="*/ 3310 w 5983"/>
                  <a:gd name="connsiteY6" fmla="*/ 6223 h 16382"/>
                  <a:gd name="connsiteX7" fmla="*/ 4456 w 5983"/>
                  <a:gd name="connsiteY7" fmla="*/ 6223 h 16382"/>
                  <a:gd name="connsiteX8" fmla="*/ 5602 w 5983"/>
                  <a:gd name="connsiteY8" fmla="*/ 6223 h 16382"/>
                  <a:gd name="connsiteX9" fmla="*/ 5602 w 5983"/>
                  <a:gd name="connsiteY9" fmla="*/ 6477 h 16382"/>
                  <a:gd name="connsiteX10" fmla="*/ 5602 w 5983"/>
                  <a:gd name="connsiteY10" fmla="*/ 6731 h 16382"/>
                  <a:gd name="connsiteX11" fmla="*/ 5602 w 5983"/>
                  <a:gd name="connsiteY11" fmla="*/ 6985 h 16382"/>
                  <a:gd name="connsiteX12" fmla="*/ 5602 w 5983"/>
                  <a:gd name="connsiteY12" fmla="*/ 7239 h 16382"/>
                  <a:gd name="connsiteX13" fmla="*/ 4456 w 5983"/>
                  <a:gd name="connsiteY13" fmla="*/ 7239 h 16382"/>
                  <a:gd name="connsiteX14" fmla="*/ 3310 w 5983"/>
                  <a:gd name="connsiteY14" fmla="*/ 7239 h 16382"/>
                  <a:gd name="connsiteX15" fmla="*/ 3310 w 5983"/>
                  <a:gd name="connsiteY15" fmla="*/ 11811 h 16382"/>
                  <a:gd name="connsiteX16" fmla="*/ 3310 w 5983"/>
                  <a:gd name="connsiteY16" fmla="*/ 16383 h 16382"/>
                  <a:gd name="connsiteX17" fmla="*/ 2801 w 5983"/>
                  <a:gd name="connsiteY17" fmla="*/ 16383 h 16382"/>
                  <a:gd name="connsiteX18" fmla="*/ 2292 w 5983"/>
                  <a:gd name="connsiteY18" fmla="*/ 16383 h 16382"/>
                  <a:gd name="connsiteX19" fmla="*/ 1400 w 5983"/>
                  <a:gd name="connsiteY19" fmla="*/ 16383 h 16382"/>
                  <a:gd name="connsiteX20" fmla="*/ 1528 w 5983"/>
                  <a:gd name="connsiteY20" fmla="*/ 11811 h 16382"/>
                  <a:gd name="connsiteX21" fmla="*/ 1528 w 5983"/>
                  <a:gd name="connsiteY21" fmla="*/ 7112 h 16382"/>
                  <a:gd name="connsiteX22" fmla="*/ 764 w 5983"/>
                  <a:gd name="connsiteY22" fmla="*/ 7112 h 16382"/>
                  <a:gd name="connsiteX23" fmla="*/ 0 w 5983"/>
                  <a:gd name="connsiteY23" fmla="*/ 7112 h 16382"/>
                  <a:gd name="connsiteX24" fmla="*/ 0 w 5983"/>
                  <a:gd name="connsiteY24" fmla="*/ 6858 h 16382"/>
                  <a:gd name="connsiteX25" fmla="*/ 0 w 5983"/>
                  <a:gd name="connsiteY25" fmla="*/ 6604 h 16382"/>
                  <a:gd name="connsiteX26" fmla="*/ 0 w 5983"/>
                  <a:gd name="connsiteY26" fmla="*/ 6350 h 16382"/>
                  <a:gd name="connsiteX27" fmla="*/ 0 w 5983"/>
                  <a:gd name="connsiteY27" fmla="*/ 6096 h 16382"/>
                  <a:gd name="connsiteX28" fmla="*/ 764 w 5983"/>
                  <a:gd name="connsiteY28" fmla="*/ 6096 h 16382"/>
                  <a:gd name="connsiteX29" fmla="*/ 1528 w 5983"/>
                  <a:gd name="connsiteY29" fmla="*/ 6096 h 16382"/>
                  <a:gd name="connsiteX30" fmla="*/ 1655 w 5983"/>
                  <a:gd name="connsiteY30" fmla="*/ 4699 h 16382"/>
                  <a:gd name="connsiteX31" fmla="*/ 2037 w 5983"/>
                  <a:gd name="connsiteY31" fmla="*/ 3302 h 16382"/>
                  <a:gd name="connsiteX32" fmla="*/ 2673 w 5983"/>
                  <a:gd name="connsiteY32" fmla="*/ 1905 h 16382"/>
                  <a:gd name="connsiteX33" fmla="*/ 3437 w 5983"/>
                  <a:gd name="connsiteY33" fmla="*/ 889 h 16382"/>
                  <a:gd name="connsiteX34" fmla="*/ 4456 w 5983"/>
                  <a:gd name="connsiteY34" fmla="*/ 254 h 16382"/>
                  <a:gd name="connsiteX35" fmla="*/ 5602 w 5983"/>
                  <a:gd name="connsiteY35" fmla="*/ 0 h 16382"/>
                  <a:gd name="connsiteX36" fmla="*/ 5984 w 5983"/>
                  <a:gd name="connsiteY36" fmla="*/ 0 h 16382"/>
                  <a:gd name="connsiteX37" fmla="*/ 5984 w 5983"/>
                  <a:gd name="connsiteY37" fmla="*/ 889 h 16382"/>
                  <a:gd name="connsiteX38" fmla="*/ 5984 w 5983"/>
                  <a:gd name="connsiteY38" fmla="*/ 1778 h 16382"/>
                  <a:gd name="connsiteX39" fmla="*/ 5856 w 5983"/>
                  <a:gd name="connsiteY39" fmla="*/ 1778 h 16382"/>
                  <a:gd name="connsiteX40" fmla="*/ 4711 w 5983"/>
                  <a:gd name="connsiteY40" fmla="*/ 1524 h 1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983" h="16382">
                    <a:moveTo>
                      <a:pt x="4711" y="1651"/>
                    </a:moveTo>
                    <a:cubicBezTo>
                      <a:pt x="4711" y="1651"/>
                      <a:pt x="4074" y="1651"/>
                      <a:pt x="3947" y="1778"/>
                    </a:cubicBezTo>
                    <a:cubicBezTo>
                      <a:pt x="3692" y="1778"/>
                      <a:pt x="3565" y="2032"/>
                      <a:pt x="3437" y="2286"/>
                    </a:cubicBezTo>
                    <a:cubicBezTo>
                      <a:pt x="3310" y="2540"/>
                      <a:pt x="3183" y="2667"/>
                      <a:pt x="3183" y="2921"/>
                    </a:cubicBezTo>
                    <a:cubicBezTo>
                      <a:pt x="3183" y="3175"/>
                      <a:pt x="3183" y="3429"/>
                      <a:pt x="3183" y="3683"/>
                    </a:cubicBezTo>
                    <a:cubicBezTo>
                      <a:pt x="3183" y="3937"/>
                      <a:pt x="3183" y="4318"/>
                      <a:pt x="3183" y="4826"/>
                    </a:cubicBezTo>
                    <a:cubicBezTo>
                      <a:pt x="3183" y="5334"/>
                      <a:pt x="3183" y="5715"/>
                      <a:pt x="3310" y="6223"/>
                    </a:cubicBezTo>
                    <a:cubicBezTo>
                      <a:pt x="3692" y="6223"/>
                      <a:pt x="4074" y="6223"/>
                      <a:pt x="4456" y="6223"/>
                    </a:cubicBezTo>
                    <a:cubicBezTo>
                      <a:pt x="4838" y="6223"/>
                      <a:pt x="5220" y="6223"/>
                      <a:pt x="5602" y="6223"/>
                    </a:cubicBezTo>
                    <a:cubicBezTo>
                      <a:pt x="5602" y="6223"/>
                      <a:pt x="5602" y="6350"/>
                      <a:pt x="5602" y="6477"/>
                    </a:cubicBezTo>
                    <a:cubicBezTo>
                      <a:pt x="5602" y="6477"/>
                      <a:pt x="5602" y="6604"/>
                      <a:pt x="5602" y="6731"/>
                    </a:cubicBezTo>
                    <a:cubicBezTo>
                      <a:pt x="5602" y="6858"/>
                      <a:pt x="5602" y="6858"/>
                      <a:pt x="5602" y="6985"/>
                    </a:cubicBezTo>
                    <a:cubicBezTo>
                      <a:pt x="5602" y="6985"/>
                      <a:pt x="5602" y="7112"/>
                      <a:pt x="5602" y="7239"/>
                    </a:cubicBezTo>
                    <a:cubicBezTo>
                      <a:pt x="5220" y="7239"/>
                      <a:pt x="4838" y="7239"/>
                      <a:pt x="4456" y="7239"/>
                    </a:cubicBezTo>
                    <a:cubicBezTo>
                      <a:pt x="4074" y="7239"/>
                      <a:pt x="3692" y="7239"/>
                      <a:pt x="3310" y="7239"/>
                    </a:cubicBezTo>
                    <a:cubicBezTo>
                      <a:pt x="3310" y="8763"/>
                      <a:pt x="3310" y="10287"/>
                      <a:pt x="3310" y="11811"/>
                    </a:cubicBezTo>
                    <a:cubicBezTo>
                      <a:pt x="3310" y="13335"/>
                      <a:pt x="3310" y="14859"/>
                      <a:pt x="3310" y="16383"/>
                    </a:cubicBezTo>
                    <a:cubicBezTo>
                      <a:pt x="3183" y="16383"/>
                      <a:pt x="3055" y="16383"/>
                      <a:pt x="2801" y="16383"/>
                    </a:cubicBezTo>
                    <a:lnTo>
                      <a:pt x="2292" y="16383"/>
                    </a:lnTo>
                    <a:cubicBezTo>
                      <a:pt x="2292" y="16383"/>
                      <a:pt x="1655" y="16383"/>
                      <a:pt x="1400" y="16383"/>
                    </a:cubicBezTo>
                    <a:cubicBezTo>
                      <a:pt x="1400" y="14859"/>
                      <a:pt x="1528" y="13335"/>
                      <a:pt x="1528" y="11811"/>
                    </a:cubicBezTo>
                    <a:cubicBezTo>
                      <a:pt x="1528" y="10287"/>
                      <a:pt x="1528" y="8763"/>
                      <a:pt x="1528" y="7112"/>
                    </a:cubicBezTo>
                    <a:cubicBezTo>
                      <a:pt x="1273" y="7112"/>
                      <a:pt x="1018" y="7112"/>
                      <a:pt x="764" y="7112"/>
                    </a:cubicBezTo>
                    <a:cubicBezTo>
                      <a:pt x="509" y="7112"/>
                      <a:pt x="254" y="7112"/>
                      <a:pt x="0" y="7112"/>
                    </a:cubicBezTo>
                    <a:cubicBezTo>
                      <a:pt x="0" y="7112"/>
                      <a:pt x="0" y="6985"/>
                      <a:pt x="0" y="6858"/>
                    </a:cubicBezTo>
                    <a:cubicBezTo>
                      <a:pt x="0" y="6858"/>
                      <a:pt x="0" y="6731"/>
                      <a:pt x="0" y="6604"/>
                    </a:cubicBezTo>
                    <a:cubicBezTo>
                      <a:pt x="0" y="6477"/>
                      <a:pt x="0" y="6477"/>
                      <a:pt x="0" y="6350"/>
                    </a:cubicBezTo>
                    <a:cubicBezTo>
                      <a:pt x="0" y="6350"/>
                      <a:pt x="0" y="6223"/>
                      <a:pt x="0" y="6096"/>
                    </a:cubicBezTo>
                    <a:cubicBezTo>
                      <a:pt x="254" y="6096"/>
                      <a:pt x="509" y="6096"/>
                      <a:pt x="764" y="6096"/>
                    </a:cubicBezTo>
                    <a:cubicBezTo>
                      <a:pt x="1018" y="6096"/>
                      <a:pt x="1273" y="6096"/>
                      <a:pt x="1528" y="6096"/>
                    </a:cubicBezTo>
                    <a:cubicBezTo>
                      <a:pt x="1528" y="5715"/>
                      <a:pt x="1528" y="5207"/>
                      <a:pt x="1655" y="4699"/>
                    </a:cubicBezTo>
                    <a:cubicBezTo>
                      <a:pt x="1655" y="4191"/>
                      <a:pt x="1910" y="3683"/>
                      <a:pt x="2037" y="3302"/>
                    </a:cubicBezTo>
                    <a:cubicBezTo>
                      <a:pt x="2164" y="2794"/>
                      <a:pt x="2419" y="2413"/>
                      <a:pt x="2673" y="1905"/>
                    </a:cubicBezTo>
                    <a:cubicBezTo>
                      <a:pt x="2928" y="1397"/>
                      <a:pt x="3183" y="1143"/>
                      <a:pt x="3437" y="889"/>
                    </a:cubicBezTo>
                    <a:cubicBezTo>
                      <a:pt x="3692" y="635"/>
                      <a:pt x="4074" y="381"/>
                      <a:pt x="4456" y="254"/>
                    </a:cubicBezTo>
                    <a:cubicBezTo>
                      <a:pt x="4838" y="0"/>
                      <a:pt x="5220" y="0"/>
                      <a:pt x="5602" y="0"/>
                    </a:cubicBezTo>
                    <a:cubicBezTo>
                      <a:pt x="5729" y="0"/>
                      <a:pt x="5856" y="0"/>
                      <a:pt x="5984" y="0"/>
                    </a:cubicBezTo>
                    <a:cubicBezTo>
                      <a:pt x="5984" y="254"/>
                      <a:pt x="5984" y="508"/>
                      <a:pt x="5984" y="889"/>
                    </a:cubicBezTo>
                    <a:cubicBezTo>
                      <a:pt x="5984" y="1143"/>
                      <a:pt x="5984" y="1397"/>
                      <a:pt x="5984" y="1778"/>
                    </a:cubicBezTo>
                    <a:lnTo>
                      <a:pt x="5856" y="1778"/>
                    </a:lnTo>
                    <a:cubicBezTo>
                      <a:pt x="5856" y="1778"/>
                      <a:pt x="5092" y="1524"/>
                      <a:pt x="4711" y="1524"/>
                    </a:cubicBezTo>
                    <a:close/>
                  </a:path>
                </a:pathLst>
              </a:custGeom>
              <a:solidFill>
                <a:srgbClr val="FFFFFF"/>
              </a:solidFill>
              <a:ln w="0" cap="flat">
                <a:noFill/>
                <a:prstDash val="solid"/>
                <a:miter/>
              </a:ln>
            </p:spPr>
            <p:txBody>
              <a:bodyPr rtlCol="0" anchor="ctr"/>
              <a:lstStyle/>
              <a:p>
                <a:endParaRPr lang="en-AD" sz="2400"/>
              </a:p>
            </p:txBody>
          </p:sp>
          <p:sp>
            <p:nvSpPr>
              <p:cNvPr id="186" name="Freeform 185">
                <a:extLst>
                  <a:ext uri="{FF2B5EF4-FFF2-40B4-BE49-F238E27FC236}">
                    <a16:creationId xmlns:a16="http://schemas.microsoft.com/office/drawing/2014/main" id="{0365E67E-4CF2-4F36-F144-0D192C5CCB2C}"/>
                  </a:ext>
                </a:extLst>
              </p:cNvPr>
              <p:cNvSpPr/>
              <p:nvPr/>
            </p:nvSpPr>
            <p:spPr>
              <a:xfrm>
                <a:off x="4170832"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3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6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3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3" y="9906"/>
                    </a:cubicBezTo>
                    <a:cubicBezTo>
                      <a:pt x="5602" y="9906"/>
                      <a:pt x="6239" y="9779"/>
                      <a:pt x="6621" y="9525"/>
                    </a:cubicBezTo>
                    <a:cubicBezTo>
                      <a:pt x="7003" y="9271"/>
                      <a:pt x="7384" y="8890"/>
                      <a:pt x="7639" y="8509"/>
                    </a:cubicBezTo>
                    <a:cubicBezTo>
                      <a:pt x="7893" y="8128"/>
                      <a:pt x="8021" y="7620"/>
                      <a:pt x="8148" y="6985"/>
                    </a:cubicBezTo>
                    <a:cubicBezTo>
                      <a:pt x="8148" y="6477"/>
                      <a:pt x="8276" y="5842"/>
                      <a:pt x="8276" y="5207"/>
                    </a:cubicBezTo>
                    <a:cubicBezTo>
                      <a:pt x="8276" y="4572"/>
                      <a:pt x="8276" y="4064"/>
                      <a:pt x="8148" y="3429"/>
                    </a:cubicBezTo>
                    <a:cubicBezTo>
                      <a:pt x="8148" y="2921"/>
                      <a:pt x="7893" y="2413"/>
                      <a:pt x="7639" y="1905"/>
                    </a:cubicBezTo>
                    <a:cubicBezTo>
                      <a:pt x="7384" y="1524"/>
                      <a:pt x="7003" y="1143"/>
                      <a:pt x="6621" y="889"/>
                    </a:cubicBezTo>
                    <a:cubicBezTo>
                      <a:pt x="6239" y="635"/>
                      <a:pt x="5602" y="508"/>
                      <a:pt x="5093"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187" name="Freeform 186">
                <a:extLst>
                  <a:ext uri="{FF2B5EF4-FFF2-40B4-BE49-F238E27FC236}">
                    <a16:creationId xmlns:a16="http://schemas.microsoft.com/office/drawing/2014/main" id="{2D2DA466-DB71-EC0D-5B25-16ED2E58C61F}"/>
                  </a:ext>
                </a:extLst>
              </p:cNvPr>
              <p:cNvSpPr/>
              <p:nvPr/>
            </p:nvSpPr>
            <p:spPr>
              <a:xfrm>
                <a:off x="4183818" y="4851780"/>
                <a:ext cx="5474" cy="10286"/>
              </a:xfrm>
              <a:custGeom>
                <a:avLst/>
                <a:gdLst>
                  <a:gd name="connsiteX0" fmla="*/ 4456 w 5474"/>
                  <a:gd name="connsiteY0" fmla="*/ 1524 h 10286"/>
                  <a:gd name="connsiteX1" fmla="*/ 3819 w 5474"/>
                  <a:gd name="connsiteY1" fmla="*/ 1524 h 10286"/>
                  <a:gd name="connsiteX2" fmla="*/ 2928 w 5474"/>
                  <a:gd name="connsiteY2" fmla="*/ 1778 h 10286"/>
                  <a:gd name="connsiteX3" fmla="*/ 2292 w 5474"/>
                  <a:gd name="connsiteY3" fmla="*/ 2413 h 10286"/>
                  <a:gd name="connsiteX4" fmla="*/ 1910 w 5474"/>
                  <a:gd name="connsiteY4" fmla="*/ 3302 h 10286"/>
                  <a:gd name="connsiteX5" fmla="*/ 1782 w 5474"/>
                  <a:gd name="connsiteY5" fmla="*/ 4445 h 10286"/>
                  <a:gd name="connsiteX6" fmla="*/ 1782 w 5474"/>
                  <a:gd name="connsiteY6" fmla="*/ 6858 h 10286"/>
                  <a:gd name="connsiteX7" fmla="*/ 1782 w 5474"/>
                  <a:gd name="connsiteY7" fmla="*/ 9017 h 10286"/>
                  <a:gd name="connsiteX8" fmla="*/ 1782 w 5474"/>
                  <a:gd name="connsiteY8" fmla="*/ 10287 h 10286"/>
                  <a:gd name="connsiteX9" fmla="*/ 891 w 5474"/>
                  <a:gd name="connsiteY9" fmla="*/ 10287 h 10286"/>
                  <a:gd name="connsiteX10" fmla="*/ 0 w 5474"/>
                  <a:gd name="connsiteY10" fmla="*/ 10287 h 10286"/>
                  <a:gd name="connsiteX11" fmla="*/ 0 w 5474"/>
                  <a:gd name="connsiteY11" fmla="*/ 8255 h 10286"/>
                  <a:gd name="connsiteX12" fmla="*/ 0 w 5474"/>
                  <a:gd name="connsiteY12" fmla="*/ 5207 h 10286"/>
                  <a:gd name="connsiteX13" fmla="*/ 0 w 5474"/>
                  <a:gd name="connsiteY13" fmla="*/ 4572 h 10286"/>
                  <a:gd name="connsiteX14" fmla="*/ 0 w 5474"/>
                  <a:gd name="connsiteY14" fmla="*/ 2667 h 10286"/>
                  <a:gd name="connsiteX15" fmla="*/ 0 w 5474"/>
                  <a:gd name="connsiteY15" fmla="*/ 127 h 10286"/>
                  <a:gd name="connsiteX16" fmla="*/ 509 w 5474"/>
                  <a:gd name="connsiteY16" fmla="*/ 127 h 10286"/>
                  <a:gd name="connsiteX17" fmla="*/ 1018 w 5474"/>
                  <a:gd name="connsiteY17" fmla="*/ 127 h 10286"/>
                  <a:gd name="connsiteX18" fmla="*/ 1400 w 5474"/>
                  <a:gd name="connsiteY18" fmla="*/ 127 h 10286"/>
                  <a:gd name="connsiteX19" fmla="*/ 1910 w 5474"/>
                  <a:gd name="connsiteY19" fmla="*/ 127 h 10286"/>
                  <a:gd name="connsiteX20" fmla="*/ 1910 w 5474"/>
                  <a:gd name="connsiteY20" fmla="*/ 1397 h 10286"/>
                  <a:gd name="connsiteX21" fmla="*/ 1910 w 5474"/>
                  <a:gd name="connsiteY21" fmla="*/ 2286 h 10286"/>
                  <a:gd name="connsiteX22" fmla="*/ 1910 w 5474"/>
                  <a:gd name="connsiteY22" fmla="*/ 2286 h 10286"/>
                  <a:gd name="connsiteX23" fmla="*/ 4711 w 5474"/>
                  <a:gd name="connsiteY23" fmla="*/ 0 h 10286"/>
                  <a:gd name="connsiteX24" fmla="*/ 5092 w 5474"/>
                  <a:gd name="connsiteY24" fmla="*/ 0 h 10286"/>
                  <a:gd name="connsiteX25" fmla="*/ 5474 w 5474"/>
                  <a:gd name="connsiteY25" fmla="*/ 0 h 10286"/>
                  <a:gd name="connsiteX26" fmla="*/ 5347 w 5474"/>
                  <a:gd name="connsiteY26" fmla="*/ 762 h 10286"/>
                  <a:gd name="connsiteX27" fmla="*/ 5347 w 5474"/>
                  <a:gd name="connsiteY27" fmla="*/ 1651 h 10286"/>
                  <a:gd name="connsiteX28" fmla="*/ 5220 w 5474"/>
                  <a:gd name="connsiteY28" fmla="*/ 1651 h 10286"/>
                  <a:gd name="connsiteX29" fmla="*/ 4838 w 5474"/>
                  <a:gd name="connsiteY29" fmla="*/ 1524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4" h="10286">
                    <a:moveTo>
                      <a:pt x="4456" y="1524"/>
                    </a:moveTo>
                    <a:cubicBezTo>
                      <a:pt x="4456" y="1524"/>
                      <a:pt x="4074" y="1524"/>
                      <a:pt x="3819" y="1524"/>
                    </a:cubicBezTo>
                    <a:cubicBezTo>
                      <a:pt x="3437" y="1524"/>
                      <a:pt x="3183" y="1524"/>
                      <a:pt x="2928" y="1778"/>
                    </a:cubicBezTo>
                    <a:cubicBezTo>
                      <a:pt x="2673" y="1905"/>
                      <a:pt x="2419" y="2159"/>
                      <a:pt x="2292" y="2413"/>
                    </a:cubicBezTo>
                    <a:cubicBezTo>
                      <a:pt x="2164" y="2667"/>
                      <a:pt x="1910" y="3048"/>
                      <a:pt x="1910" y="3302"/>
                    </a:cubicBezTo>
                    <a:cubicBezTo>
                      <a:pt x="1910" y="3683"/>
                      <a:pt x="1782" y="4064"/>
                      <a:pt x="1782" y="4445"/>
                    </a:cubicBezTo>
                    <a:lnTo>
                      <a:pt x="1782" y="6858"/>
                    </a:lnTo>
                    <a:cubicBezTo>
                      <a:pt x="1782" y="7874"/>
                      <a:pt x="1782" y="8509"/>
                      <a:pt x="1782" y="9017"/>
                    </a:cubicBezTo>
                    <a:cubicBezTo>
                      <a:pt x="1782" y="9525"/>
                      <a:pt x="1782" y="9906"/>
                      <a:pt x="1782" y="10287"/>
                    </a:cubicBezTo>
                    <a:cubicBezTo>
                      <a:pt x="1528" y="10287"/>
                      <a:pt x="1273" y="10287"/>
                      <a:pt x="891" y="10287"/>
                    </a:cubicBezTo>
                    <a:cubicBezTo>
                      <a:pt x="636" y="10287"/>
                      <a:pt x="254" y="10287"/>
                      <a:pt x="0" y="10287"/>
                    </a:cubicBezTo>
                    <a:cubicBezTo>
                      <a:pt x="0" y="9779"/>
                      <a:pt x="0" y="9144"/>
                      <a:pt x="0" y="8255"/>
                    </a:cubicBezTo>
                    <a:cubicBezTo>
                      <a:pt x="0" y="7366"/>
                      <a:pt x="0" y="6350"/>
                      <a:pt x="0" y="5207"/>
                    </a:cubicBezTo>
                    <a:lnTo>
                      <a:pt x="0" y="4572"/>
                    </a:lnTo>
                    <a:cubicBezTo>
                      <a:pt x="0" y="4572"/>
                      <a:pt x="0" y="3429"/>
                      <a:pt x="0" y="2667"/>
                    </a:cubicBezTo>
                    <a:cubicBezTo>
                      <a:pt x="0" y="1905"/>
                      <a:pt x="0" y="1143"/>
                      <a:pt x="0" y="127"/>
                    </a:cubicBezTo>
                    <a:cubicBezTo>
                      <a:pt x="127" y="127"/>
                      <a:pt x="254" y="127"/>
                      <a:pt x="509" y="127"/>
                    </a:cubicBezTo>
                    <a:cubicBezTo>
                      <a:pt x="636" y="127"/>
                      <a:pt x="764" y="127"/>
                      <a:pt x="1018" y="127"/>
                    </a:cubicBezTo>
                    <a:cubicBezTo>
                      <a:pt x="1146" y="127"/>
                      <a:pt x="1273" y="127"/>
                      <a:pt x="1400" y="127"/>
                    </a:cubicBezTo>
                    <a:cubicBezTo>
                      <a:pt x="1528" y="127"/>
                      <a:pt x="1655" y="127"/>
                      <a:pt x="1910" y="127"/>
                    </a:cubicBezTo>
                    <a:cubicBezTo>
                      <a:pt x="1910" y="635"/>
                      <a:pt x="1910" y="1016"/>
                      <a:pt x="1910" y="1397"/>
                    </a:cubicBezTo>
                    <a:cubicBezTo>
                      <a:pt x="1910" y="1651"/>
                      <a:pt x="1910" y="2032"/>
                      <a:pt x="1910" y="2286"/>
                    </a:cubicBezTo>
                    <a:lnTo>
                      <a:pt x="1910" y="2286"/>
                    </a:lnTo>
                    <a:cubicBezTo>
                      <a:pt x="2801" y="762"/>
                      <a:pt x="3692" y="0"/>
                      <a:pt x="4711" y="0"/>
                    </a:cubicBezTo>
                    <a:cubicBezTo>
                      <a:pt x="4838" y="0"/>
                      <a:pt x="4965" y="0"/>
                      <a:pt x="5092" y="0"/>
                    </a:cubicBezTo>
                    <a:cubicBezTo>
                      <a:pt x="5092" y="0"/>
                      <a:pt x="5347" y="0"/>
                      <a:pt x="5474" y="0"/>
                    </a:cubicBezTo>
                    <a:cubicBezTo>
                      <a:pt x="5474" y="127"/>
                      <a:pt x="5474" y="381"/>
                      <a:pt x="5347" y="762"/>
                    </a:cubicBezTo>
                    <a:cubicBezTo>
                      <a:pt x="5347" y="1143"/>
                      <a:pt x="5347" y="1397"/>
                      <a:pt x="5347" y="1651"/>
                    </a:cubicBezTo>
                    <a:lnTo>
                      <a:pt x="5220" y="1651"/>
                    </a:lnTo>
                    <a:cubicBezTo>
                      <a:pt x="5220" y="1651"/>
                      <a:pt x="4965" y="1651"/>
                      <a:pt x="4838" y="1524"/>
                    </a:cubicBezTo>
                    <a:close/>
                  </a:path>
                </a:pathLst>
              </a:custGeom>
              <a:solidFill>
                <a:srgbClr val="FFFFFF"/>
              </a:solidFill>
              <a:ln w="0" cap="flat">
                <a:noFill/>
                <a:prstDash val="solid"/>
                <a:miter/>
              </a:ln>
            </p:spPr>
            <p:txBody>
              <a:bodyPr rtlCol="0" anchor="ctr"/>
              <a:lstStyle/>
              <a:p>
                <a:endParaRPr lang="en-AD" sz="2400"/>
              </a:p>
            </p:txBody>
          </p:sp>
          <p:sp>
            <p:nvSpPr>
              <p:cNvPr id="188" name="Freeform 187">
                <a:extLst>
                  <a:ext uri="{FF2B5EF4-FFF2-40B4-BE49-F238E27FC236}">
                    <a16:creationId xmlns:a16="http://schemas.microsoft.com/office/drawing/2014/main" id="{5C04126C-177D-42FC-5960-CAE4F1FE0FF3}"/>
                  </a:ext>
                </a:extLst>
              </p:cNvPr>
              <p:cNvSpPr/>
              <p:nvPr/>
            </p:nvSpPr>
            <p:spPr>
              <a:xfrm>
                <a:off x="4190820" y="4851400"/>
                <a:ext cx="14768" cy="10540"/>
              </a:xfrm>
              <a:custGeom>
                <a:avLst/>
                <a:gdLst>
                  <a:gd name="connsiteX0" fmla="*/ 127 w 14768"/>
                  <a:gd name="connsiteY0" fmla="*/ 2286 h 10540"/>
                  <a:gd name="connsiteX1" fmla="*/ 0 w 14768"/>
                  <a:gd name="connsiteY1" fmla="*/ 254 h 10540"/>
                  <a:gd name="connsiteX2" fmla="*/ 1019 w 14768"/>
                  <a:gd name="connsiteY2" fmla="*/ 254 h 10540"/>
                  <a:gd name="connsiteX3" fmla="*/ 1401 w 14768"/>
                  <a:gd name="connsiteY3" fmla="*/ 254 h 10540"/>
                  <a:gd name="connsiteX4" fmla="*/ 1910 w 14768"/>
                  <a:gd name="connsiteY4" fmla="*/ 254 h 10540"/>
                  <a:gd name="connsiteX5" fmla="*/ 1910 w 14768"/>
                  <a:gd name="connsiteY5" fmla="*/ 1905 h 10540"/>
                  <a:gd name="connsiteX6" fmla="*/ 1910 w 14768"/>
                  <a:gd name="connsiteY6" fmla="*/ 1905 h 10540"/>
                  <a:gd name="connsiteX7" fmla="*/ 5092 w 14768"/>
                  <a:gd name="connsiteY7" fmla="*/ 0 h 10540"/>
                  <a:gd name="connsiteX8" fmla="*/ 6111 w 14768"/>
                  <a:gd name="connsiteY8" fmla="*/ 127 h 10540"/>
                  <a:gd name="connsiteX9" fmla="*/ 7002 w 14768"/>
                  <a:gd name="connsiteY9" fmla="*/ 508 h 10540"/>
                  <a:gd name="connsiteX10" fmla="*/ 7766 w 14768"/>
                  <a:gd name="connsiteY10" fmla="*/ 1143 h 10540"/>
                  <a:gd name="connsiteX11" fmla="*/ 8148 w 14768"/>
                  <a:gd name="connsiteY11" fmla="*/ 2032 h 10540"/>
                  <a:gd name="connsiteX12" fmla="*/ 8148 w 14768"/>
                  <a:gd name="connsiteY12" fmla="*/ 2032 h 10540"/>
                  <a:gd name="connsiteX13" fmla="*/ 9549 w 14768"/>
                  <a:gd name="connsiteY13" fmla="*/ 508 h 10540"/>
                  <a:gd name="connsiteX14" fmla="*/ 11586 w 14768"/>
                  <a:gd name="connsiteY14" fmla="*/ 0 h 10540"/>
                  <a:gd name="connsiteX15" fmla="*/ 12859 w 14768"/>
                  <a:gd name="connsiteY15" fmla="*/ 254 h 10540"/>
                  <a:gd name="connsiteX16" fmla="*/ 13877 w 14768"/>
                  <a:gd name="connsiteY16" fmla="*/ 889 h 10540"/>
                  <a:gd name="connsiteX17" fmla="*/ 14514 w 14768"/>
                  <a:gd name="connsiteY17" fmla="*/ 1905 h 10540"/>
                  <a:gd name="connsiteX18" fmla="*/ 14769 w 14768"/>
                  <a:gd name="connsiteY18" fmla="*/ 3429 h 10540"/>
                  <a:gd name="connsiteX19" fmla="*/ 14769 w 14768"/>
                  <a:gd name="connsiteY19" fmla="*/ 4191 h 10540"/>
                  <a:gd name="connsiteX20" fmla="*/ 14769 w 14768"/>
                  <a:gd name="connsiteY20" fmla="*/ 5207 h 10540"/>
                  <a:gd name="connsiteX21" fmla="*/ 14769 w 14768"/>
                  <a:gd name="connsiteY21" fmla="*/ 6477 h 10540"/>
                  <a:gd name="connsiteX22" fmla="*/ 14769 w 14768"/>
                  <a:gd name="connsiteY22" fmla="*/ 8128 h 10540"/>
                  <a:gd name="connsiteX23" fmla="*/ 14769 w 14768"/>
                  <a:gd name="connsiteY23" fmla="*/ 9271 h 10540"/>
                  <a:gd name="connsiteX24" fmla="*/ 14769 w 14768"/>
                  <a:gd name="connsiteY24" fmla="*/ 10414 h 10540"/>
                  <a:gd name="connsiteX25" fmla="*/ 14259 w 14768"/>
                  <a:gd name="connsiteY25" fmla="*/ 10414 h 10540"/>
                  <a:gd name="connsiteX26" fmla="*/ 13368 w 14768"/>
                  <a:gd name="connsiteY26" fmla="*/ 10414 h 10540"/>
                  <a:gd name="connsiteX27" fmla="*/ 12859 w 14768"/>
                  <a:gd name="connsiteY27" fmla="*/ 10414 h 10540"/>
                  <a:gd name="connsiteX28" fmla="*/ 12986 w 14768"/>
                  <a:gd name="connsiteY28" fmla="*/ 8255 h 10540"/>
                  <a:gd name="connsiteX29" fmla="*/ 12986 w 14768"/>
                  <a:gd name="connsiteY29" fmla="*/ 3683 h 10540"/>
                  <a:gd name="connsiteX30" fmla="*/ 12986 w 14768"/>
                  <a:gd name="connsiteY30" fmla="*/ 2667 h 10540"/>
                  <a:gd name="connsiteX31" fmla="*/ 12604 w 14768"/>
                  <a:gd name="connsiteY31" fmla="*/ 1905 h 10540"/>
                  <a:gd name="connsiteX32" fmla="*/ 11968 w 14768"/>
                  <a:gd name="connsiteY32" fmla="*/ 1397 h 10540"/>
                  <a:gd name="connsiteX33" fmla="*/ 10949 w 14768"/>
                  <a:gd name="connsiteY33" fmla="*/ 1143 h 10540"/>
                  <a:gd name="connsiteX34" fmla="*/ 9676 w 14768"/>
                  <a:gd name="connsiteY34" fmla="*/ 1397 h 10540"/>
                  <a:gd name="connsiteX35" fmla="*/ 8785 w 14768"/>
                  <a:gd name="connsiteY35" fmla="*/ 2159 h 10540"/>
                  <a:gd name="connsiteX36" fmla="*/ 8530 w 14768"/>
                  <a:gd name="connsiteY36" fmla="*/ 2667 h 10540"/>
                  <a:gd name="connsiteX37" fmla="*/ 8403 w 14768"/>
                  <a:gd name="connsiteY37" fmla="*/ 3429 h 10540"/>
                  <a:gd name="connsiteX38" fmla="*/ 8403 w 14768"/>
                  <a:gd name="connsiteY38" fmla="*/ 4826 h 10540"/>
                  <a:gd name="connsiteX39" fmla="*/ 8403 w 14768"/>
                  <a:gd name="connsiteY39" fmla="*/ 7239 h 10540"/>
                  <a:gd name="connsiteX40" fmla="*/ 8403 w 14768"/>
                  <a:gd name="connsiteY40" fmla="*/ 8890 h 10540"/>
                  <a:gd name="connsiteX41" fmla="*/ 8403 w 14768"/>
                  <a:gd name="connsiteY41" fmla="*/ 10541 h 10540"/>
                  <a:gd name="connsiteX42" fmla="*/ 7512 w 14768"/>
                  <a:gd name="connsiteY42" fmla="*/ 10541 h 10540"/>
                  <a:gd name="connsiteX43" fmla="*/ 6620 w 14768"/>
                  <a:gd name="connsiteY43" fmla="*/ 10541 h 10540"/>
                  <a:gd name="connsiteX44" fmla="*/ 6748 w 14768"/>
                  <a:gd name="connsiteY44" fmla="*/ 8128 h 10540"/>
                  <a:gd name="connsiteX45" fmla="*/ 6748 w 14768"/>
                  <a:gd name="connsiteY45" fmla="*/ 5715 h 10540"/>
                  <a:gd name="connsiteX46" fmla="*/ 6748 w 14768"/>
                  <a:gd name="connsiteY46" fmla="*/ 4191 h 10540"/>
                  <a:gd name="connsiteX47" fmla="*/ 6748 w 14768"/>
                  <a:gd name="connsiteY47" fmla="*/ 3302 h 10540"/>
                  <a:gd name="connsiteX48" fmla="*/ 6748 w 14768"/>
                  <a:gd name="connsiteY48" fmla="*/ 2794 h 10540"/>
                  <a:gd name="connsiteX49" fmla="*/ 6493 w 14768"/>
                  <a:gd name="connsiteY49" fmla="*/ 2286 h 10540"/>
                  <a:gd name="connsiteX50" fmla="*/ 5729 w 14768"/>
                  <a:gd name="connsiteY50" fmla="*/ 1651 h 10540"/>
                  <a:gd name="connsiteX51" fmla="*/ 4711 w 14768"/>
                  <a:gd name="connsiteY51" fmla="*/ 1397 h 10540"/>
                  <a:gd name="connsiteX52" fmla="*/ 2673 w 14768"/>
                  <a:gd name="connsiteY52" fmla="*/ 2286 h 10540"/>
                  <a:gd name="connsiteX53" fmla="*/ 2037 w 14768"/>
                  <a:gd name="connsiteY53" fmla="*/ 4826 h 10540"/>
                  <a:gd name="connsiteX54" fmla="*/ 2037 w 14768"/>
                  <a:gd name="connsiteY54" fmla="*/ 6604 h 10540"/>
                  <a:gd name="connsiteX55" fmla="*/ 2037 w 14768"/>
                  <a:gd name="connsiteY55" fmla="*/ 8636 h 10540"/>
                  <a:gd name="connsiteX56" fmla="*/ 2165 w 14768"/>
                  <a:gd name="connsiteY56" fmla="*/ 10541 h 10540"/>
                  <a:gd name="connsiteX57" fmla="*/ 1146 w 14768"/>
                  <a:gd name="connsiteY57" fmla="*/ 10541 h 10540"/>
                  <a:gd name="connsiteX58" fmla="*/ 127 w 14768"/>
                  <a:gd name="connsiteY58" fmla="*/ 10541 h 10540"/>
                  <a:gd name="connsiteX59" fmla="*/ 254 w 14768"/>
                  <a:gd name="connsiteY59" fmla="*/ 8636 h 10540"/>
                  <a:gd name="connsiteX60" fmla="*/ 254 w 14768"/>
                  <a:gd name="connsiteY60" fmla="*/ 6604 h 10540"/>
                  <a:gd name="connsiteX61" fmla="*/ 254 w 14768"/>
                  <a:gd name="connsiteY61" fmla="*/ 4445 h 10540"/>
                  <a:gd name="connsiteX62" fmla="*/ 254 w 14768"/>
                  <a:gd name="connsiteY62" fmla="*/ 2413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768" h="10540">
                    <a:moveTo>
                      <a:pt x="127" y="2286"/>
                    </a:moveTo>
                    <a:cubicBezTo>
                      <a:pt x="127" y="1524"/>
                      <a:pt x="127" y="889"/>
                      <a:pt x="0" y="254"/>
                    </a:cubicBezTo>
                    <a:cubicBezTo>
                      <a:pt x="382" y="254"/>
                      <a:pt x="764" y="254"/>
                      <a:pt x="1019" y="254"/>
                    </a:cubicBezTo>
                    <a:cubicBezTo>
                      <a:pt x="1019" y="254"/>
                      <a:pt x="1273" y="254"/>
                      <a:pt x="1401" y="254"/>
                    </a:cubicBezTo>
                    <a:cubicBezTo>
                      <a:pt x="1528" y="254"/>
                      <a:pt x="1655" y="254"/>
                      <a:pt x="1910" y="254"/>
                    </a:cubicBezTo>
                    <a:cubicBezTo>
                      <a:pt x="1910" y="762"/>
                      <a:pt x="1910" y="1397"/>
                      <a:pt x="1910" y="1905"/>
                    </a:cubicBezTo>
                    <a:lnTo>
                      <a:pt x="1910" y="1905"/>
                    </a:lnTo>
                    <a:cubicBezTo>
                      <a:pt x="2673" y="635"/>
                      <a:pt x="3692" y="0"/>
                      <a:pt x="5092" y="0"/>
                    </a:cubicBezTo>
                    <a:cubicBezTo>
                      <a:pt x="5474" y="0"/>
                      <a:pt x="5856" y="0"/>
                      <a:pt x="6111" y="127"/>
                    </a:cubicBezTo>
                    <a:cubicBezTo>
                      <a:pt x="6366" y="254"/>
                      <a:pt x="6748" y="381"/>
                      <a:pt x="7002" y="508"/>
                    </a:cubicBezTo>
                    <a:cubicBezTo>
                      <a:pt x="7257" y="635"/>
                      <a:pt x="7512" y="889"/>
                      <a:pt x="7766" y="1143"/>
                    </a:cubicBezTo>
                    <a:cubicBezTo>
                      <a:pt x="8021" y="1397"/>
                      <a:pt x="8148" y="1651"/>
                      <a:pt x="8148" y="2032"/>
                    </a:cubicBezTo>
                    <a:lnTo>
                      <a:pt x="8148" y="2032"/>
                    </a:lnTo>
                    <a:cubicBezTo>
                      <a:pt x="8530" y="1397"/>
                      <a:pt x="8912" y="762"/>
                      <a:pt x="9549" y="508"/>
                    </a:cubicBezTo>
                    <a:cubicBezTo>
                      <a:pt x="10185" y="127"/>
                      <a:pt x="10822" y="0"/>
                      <a:pt x="11586" y="0"/>
                    </a:cubicBezTo>
                    <a:cubicBezTo>
                      <a:pt x="12095" y="0"/>
                      <a:pt x="12477" y="0"/>
                      <a:pt x="12859" y="254"/>
                    </a:cubicBezTo>
                    <a:cubicBezTo>
                      <a:pt x="13241" y="381"/>
                      <a:pt x="13623" y="635"/>
                      <a:pt x="13877" y="889"/>
                    </a:cubicBezTo>
                    <a:cubicBezTo>
                      <a:pt x="14132" y="1143"/>
                      <a:pt x="14387" y="1524"/>
                      <a:pt x="14514" y="1905"/>
                    </a:cubicBezTo>
                    <a:cubicBezTo>
                      <a:pt x="14641" y="2286"/>
                      <a:pt x="14769" y="2794"/>
                      <a:pt x="14769" y="3429"/>
                    </a:cubicBezTo>
                    <a:cubicBezTo>
                      <a:pt x="14769" y="3683"/>
                      <a:pt x="14769" y="3937"/>
                      <a:pt x="14769" y="4191"/>
                    </a:cubicBezTo>
                    <a:cubicBezTo>
                      <a:pt x="14769" y="4445"/>
                      <a:pt x="14769" y="4826"/>
                      <a:pt x="14769" y="5207"/>
                    </a:cubicBezTo>
                    <a:cubicBezTo>
                      <a:pt x="14769" y="5588"/>
                      <a:pt x="14769" y="5969"/>
                      <a:pt x="14769" y="6477"/>
                    </a:cubicBezTo>
                    <a:cubicBezTo>
                      <a:pt x="14769" y="6985"/>
                      <a:pt x="14769" y="7493"/>
                      <a:pt x="14769" y="8128"/>
                    </a:cubicBezTo>
                    <a:cubicBezTo>
                      <a:pt x="14769" y="8509"/>
                      <a:pt x="14769" y="8890"/>
                      <a:pt x="14769" y="9271"/>
                    </a:cubicBezTo>
                    <a:cubicBezTo>
                      <a:pt x="14769" y="9652"/>
                      <a:pt x="14769" y="10033"/>
                      <a:pt x="14769" y="10414"/>
                    </a:cubicBezTo>
                    <a:cubicBezTo>
                      <a:pt x="14641" y="10414"/>
                      <a:pt x="14514" y="10414"/>
                      <a:pt x="14259" y="10414"/>
                    </a:cubicBezTo>
                    <a:lnTo>
                      <a:pt x="13368" y="10414"/>
                    </a:lnTo>
                    <a:cubicBezTo>
                      <a:pt x="13368" y="10414"/>
                      <a:pt x="13113" y="10414"/>
                      <a:pt x="12859" y="10414"/>
                    </a:cubicBezTo>
                    <a:cubicBezTo>
                      <a:pt x="12859" y="10033"/>
                      <a:pt x="12859" y="9398"/>
                      <a:pt x="12986" y="8255"/>
                    </a:cubicBezTo>
                    <a:cubicBezTo>
                      <a:pt x="13113" y="7112"/>
                      <a:pt x="12986" y="5715"/>
                      <a:pt x="12986" y="3683"/>
                    </a:cubicBezTo>
                    <a:cubicBezTo>
                      <a:pt x="12986" y="3302"/>
                      <a:pt x="12986" y="3048"/>
                      <a:pt x="12986" y="2667"/>
                    </a:cubicBezTo>
                    <a:cubicBezTo>
                      <a:pt x="12986" y="2413"/>
                      <a:pt x="12731" y="2032"/>
                      <a:pt x="12604" y="1905"/>
                    </a:cubicBezTo>
                    <a:cubicBezTo>
                      <a:pt x="12477" y="1651"/>
                      <a:pt x="12222" y="1524"/>
                      <a:pt x="11968" y="1397"/>
                    </a:cubicBezTo>
                    <a:cubicBezTo>
                      <a:pt x="11713" y="1270"/>
                      <a:pt x="11331" y="1143"/>
                      <a:pt x="10949" y="1143"/>
                    </a:cubicBezTo>
                    <a:cubicBezTo>
                      <a:pt x="10440" y="1143"/>
                      <a:pt x="10058" y="1143"/>
                      <a:pt x="9676" y="1397"/>
                    </a:cubicBezTo>
                    <a:cubicBezTo>
                      <a:pt x="9294" y="1651"/>
                      <a:pt x="9039" y="1778"/>
                      <a:pt x="8785" y="2159"/>
                    </a:cubicBezTo>
                    <a:cubicBezTo>
                      <a:pt x="8785" y="2286"/>
                      <a:pt x="8530" y="2413"/>
                      <a:pt x="8530" y="2667"/>
                    </a:cubicBezTo>
                    <a:cubicBezTo>
                      <a:pt x="8530" y="2794"/>
                      <a:pt x="8530" y="3048"/>
                      <a:pt x="8403" y="3429"/>
                    </a:cubicBezTo>
                    <a:cubicBezTo>
                      <a:pt x="8403" y="3810"/>
                      <a:pt x="8403" y="4191"/>
                      <a:pt x="8403" y="4826"/>
                    </a:cubicBezTo>
                    <a:cubicBezTo>
                      <a:pt x="8403" y="5461"/>
                      <a:pt x="8403" y="6223"/>
                      <a:pt x="8403" y="7239"/>
                    </a:cubicBezTo>
                    <a:cubicBezTo>
                      <a:pt x="8403" y="7874"/>
                      <a:pt x="8403" y="8382"/>
                      <a:pt x="8403" y="8890"/>
                    </a:cubicBezTo>
                    <a:cubicBezTo>
                      <a:pt x="8403" y="9398"/>
                      <a:pt x="8403" y="9906"/>
                      <a:pt x="8403" y="10541"/>
                    </a:cubicBezTo>
                    <a:cubicBezTo>
                      <a:pt x="8021" y="10541"/>
                      <a:pt x="7766" y="10541"/>
                      <a:pt x="7512" y="10541"/>
                    </a:cubicBezTo>
                    <a:cubicBezTo>
                      <a:pt x="7257" y="10541"/>
                      <a:pt x="6875" y="10541"/>
                      <a:pt x="6620" y="10541"/>
                    </a:cubicBezTo>
                    <a:cubicBezTo>
                      <a:pt x="6620" y="9779"/>
                      <a:pt x="6620" y="9017"/>
                      <a:pt x="6748" y="8128"/>
                    </a:cubicBezTo>
                    <a:cubicBezTo>
                      <a:pt x="6748" y="7366"/>
                      <a:pt x="6748" y="6477"/>
                      <a:pt x="6748" y="5715"/>
                    </a:cubicBezTo>
                    <a:cubicBezTo>
                      <a:pt x="6748" y="5080"/>
                      <a:pt x="6748" y="4572"/>
                      <a:pt x="6748" y="4191"/>
                    </a:cubicBezTo>
                    <a:cubicBezTo>
                      <a:pt x="6748" y="3810"/>
                      <a:pt x="6748" y="3556"/>
                      <a:pt x="6748" y="3302"/>
                    </a:cubicBezTo>
                    <a:cubicBezTo>
                      <a:pt x="6748" y="3048"/>
                      <a:pt x="6748" y="2921"/>
                      <a:pt x="6748" y="2794"/>
                    </a:cubicBezTo>
                    <a:cubicBezTo>
                      <a:pt x="6748" y="2667"/>
                      <a:pt x="6748" y="2540"/>
                      <a:pt x="6493" y="2286"/>
                    </a:cubicBezTo>
                    <a:cubicBezTo>
                      <a:pt x="6366" y="2032"/>
                      <a:pt x="6111" y="1778"/>
                      <a:pt x="5729" y="1651"/>
                    </a:cubicBezTo>
                    <a:cubicBezTo>
                      <a:pt x="5347" y="1397"/>
                      <a:pt x="5092" y="1397"/>
                      <a:pt x="4711" y="1397"/>
                    </a:cubicBezTo>
                    <a:cubicBezTo>
                      <a:pt x="3819" y="1397"/>
                      <a:pt x="3055" y="1651"/>
                      <a:pt x="2673" y="2286"/>
                    </a:cubicBezTo>
                    <a:cubicBezTo>
                      <a:pt x="2292" y="2921"/>
                      <a:pt x="2037" y="3810"/>
                      <a:pt x="2037" y="4826"/>
                    </a:cubicBezTo>
                    <a:lnTo>
                      <a:pt x="2037" y="6604"/>
                    </a:lnTo>
                    <a:cubicBezTo>
                      <a:pt x="2037" y="7239"/>
                      <a:pt x="2037" y="7874"/>
                      <a:pt x="2037" y="8636"/>
                    </a:cubicBezTo>
                    <a:cubicBezTo>
                      <a:pt x="2037" y="9398"/>
                      <a:pt x="2037" y="10033"/>
                      <a:pt x="2165" y="10541"/>
                    </a:cubicBezTo>
                    <a:cubicBezTo>
                      <a:pt x="1783" y="10541"/>
                      <a:pt x="1528" y="10541"/>
                      <a:pt x="1146" y="10541"/>
                    </a:cubicBezTo>
                    <a:cubicBezTo>
                      <a:pt x="764" y="10541"/>
                      <a:pt x="509" y="10541"/>
                      <a:pt x="127" y="10541"/>
                    </a:cubicBezTo>
                    <a:cubicBezTo>
                      <a:pt x="127" y="10033"/>
                      <a:pt x="127" y="9271"/>
                      <a:pt x="254" y="8636"/>
                    </a:cubicBezTo>
                    <a:cubicBezTo>
                      <a:pt x="254" y="7874"/>
                      <a:pt x="254" y="7239"/>
                      <a:pt x="254" y="6604"/>
                    </a:cubicBezTo>
                    <a:lnTo>
                      <a:pt x="254" y="4445"/>
                    </a:lnTo>
                    <a:cubicBezTo>
                      <a:pt x="254" y="3810"/>
                      <a:pt x="254" y="3175"/>
                      <a:pt x="254" y="2413"/>
                    </a:cubicBezTo>
                    <a:close/>
                  </a:path>
                </a:pathLst>
              </a:custGeom>
              <a:solidFill>
                <a:srgbClr val="FFFFFF"/>
              </a:solidFill>
              <a:ln w="0" cap="flat">
                <a:noFill/>
                <a:prstDash val="solid"/>
                <a:miter/>
              </a:ln>
            </p:spPr>
            <p:txBody>
              <a:bodyPr rtlCol="0" anchor="ctr"/>
              <a:lstStyle/>
              <a:p>
                <a:endParaRPr lang="en-AD" sz="2400"/>
              </a:p>
            </p:txBody>
          </p:sp>
          <p:sp>
            <p:nvSpPr>
              <p:cNvPr id="189" name="Freeform 188">
                <a:extLst>
                  <a:ext uri="{FF2B5EF4-FFF2-40B4-BE49-F238E27FC236}">
                    <a16:creationId xmlns:a16="http://schemas.microsoft.com/office/drawing/2014/main" id="{A1001A44-DA25-435E-D97F-39DD920087DC}"/>
                  </a:ext>
                </a:extLst>
              </p:cNvPr>
              <p:cNvSpPr/>
              <p:nvPr/>
            </p:nvSpPr>
            <p:spPr>
              <a:xfrm>
                <a:off x="4208517" y="4851527"/>
                <a:ext cx="8911" cy="10540"/>
              </a:xfrm>
              <a:custGeom>
                <a:avLst/>
                <a:gdLst>
                  <a:gd name="connsiteX0" fmla="*/ 636 w 8911"/>
                  <a:gd name="connsiteY0" fmla="*/ 1270 h 10540"/>
                  <a:gd name="connsiteX1" fmla="*/ 2419 w 8911"/>
                  <a:gd name="connsiteY1" fmla="*/ 254 h 10540"/>
                  <a:gd name="connsiteX2" fmla="*/ 4074 w 8911"/>
                  <a:gd name="connsiteY2" fmla="*/ 0 h 10540"/>
                  <a:gd name="connsiteX3" fmla="*/ 5474 w 8911"/>
                  <a:gd name="connsiteY3" fmla="*/ 254 h 10540"/>
                  <a:gd name="connsiteX4" fmla="*/ 6620 w 8911"/>
                  <a:gd name="connsiteY4" fmla="*/ 889 h 10540"/>
                  <a:gd name="connsiteX5" fmla="*/ 7384 w 8911"/>
                  <a:gd name="connsiteY5" fmla="*/ 1905 h 10540"/>
                  <a:gd name="connsiteX6" fmla="*/ 7639 w 8911"/>
                  <a:gd name="connsiteY6" fmla="*/ 3175 h 10540"/>
                  <a:gd name="connsiteX7" fmla="*/ 7639 w 8911"/>
                  <a:gd name="connsiteY7" fmla="*/ 5588 h 10540"/>
                  <a:gd name="connsiteX8" fmla="*/ 7639 w 8911"/>
                  <a:gd name="connsiteY8" fmla="*/ 8128 h 10540"/>
                  <a:gd name="connsiteX9" fmla="*/ 7639 w 8911"/>
                  <a:gd name="connsiteY9" fmla="*/ 8636 h 10540"/>
                  <a:gd name="connsiteX10" fmla="*/ 7639 w 8911"/>
                  <a:gd name="connsiteY10" fmla="*/ 9144 h 10540"/>
                  <a:gd name="connsiteX11" fmla="*/ 7893 w 8911"/>
                  <a:gd name="connsiteY11" fmla="*/ 9525 h 10540"/>
                  <a:gd name="connsiteX12" fmla="*/ 8402 w 8911"/>
                  <a:gd name="connsiteY12" fmla="*/ 9652 h 10540"/>
                  <a:gd name="connsiteX13" fmla="*/ 8657 w 8911"/>
                  <a:gd name="connsiteY13" fmla="*/ 9652 h 10540"/>
                  <a:gd name="connsiteX14" fmla="*/ 8912 w 8911"/>
                  <a:gd name="connsiteY14" fmla="*/ 9652 h 10540"/>
                  <a:gd name="connsiteX15" fmla="*/ 8912 w 8911"/>
                  <a:gd name="connsiteY15" fmla="*/ 10160 h 10540"/>
                  <a:gd name="connsiteX16" fmla="*/ 8275 w 8911"/>
                  <a:gd name="connsiteY16" fmla="*/ 10287 h 10540"/>
                  <a:gd name="connsiteX17" fmla="*/ 7512 w 8911"/>
                  <a:gd name="connsiteY17" fmla="*/ 10287 h 10540"/>
                  <a:gd name="connsiteX18" fmla="*/ 6493 w 8911"/>
                  <a:gd name="connsiteY18" fmla="*/ 9906 h 10540"/>
                  <a:gd name="connsiteX19" fmla="*/ 6111 w 8911"/>
                  <a:gd name="connsiteY19" fmla="*/ 9017 h 10540"/>
                  <a:gd name="connsiteX20" fmla="*/ 4583 w 8911"/>
                  <a:gd name="connsiteY20" fmla="*/ 10160 h 10540"/>
                  <a:gd name="connsiteX21" fmla="*/ 2801 w 8911"/>
                  <a:gd name="connsiteY21" fmla="*/ 10541 h 10540"/>
                  <a:gd name="connsiteX22" fmla="*/ 1782 w 8911"/>
                  <a:gd name="connsiteY22" fmla="*/ 10414 h 10540"/>
                  <a:gd name="connsiteX23" fmla="*/ 891 w 8911"/>
                  <a:gd name="connsiteY23" fmla="*/ 9906 h 10540"/>
                  <a:gd name="connsiteX24" fmla="*/ 254 w 8911"/>
                  <a:gd name="connsiteY24" fmla="*/ 9144 h 10540"/>
                  <a:gd name="connsiteX25" fmla="*/ 0 w 8911"/>
                  <a:gd name="connsiteY25" fmla="*/ 8001 h 10540"/>
                  <a:gd name="connsiteX26" fmla="*/ 764 w 8911"/>
                  <a:gd name="connsiteY26" fmla="*/ 5969 h 10540"/>
                  <a:gd name="connsiteX27" fmla="*/ 2928 w 8911"/>
                  <a:gd name="connsiteY27" fmla="*/ 5080 h 10540"/>
                  <a:gd name="connsiteX28" fmla="*/ 4711 w 8911"/>
                  <a:gd name="connsiteY28" fmla="*/ 4699 h 10540"/>
                  <a:gd name="connsiteX29" fmla="*/ 5729 w 8911"/>
                  <a:gd name="connsiteY29" fmla="*/ 4445 h 10540"/>
                  <a:gd name="connsiteX30" fmla="*/ 6111 w 8911"/>
                  <a:gd name="connsiteY30" fmla="*/ 4064 h 10540"/>
                  <a:gd name="connsiteX31" fmla="*/ 6111 w 8911"/>
                  <a:gd name="connsiteY31" fmla="*/ 3556 h 10540"/>
                  <a:gd name="connsiteX32" fmla="*/ 5984 w 8911"/>
                  <a:gd name="connsiteY32" fmla="*/ 2540 h 10540"/>
                  <a:gd name="connsiteX33" fmla="*/ 5602 w 8911"/>
                  <a:gd name="connsiteY33" fmla="*/ 1651 h 10540"/>
                  <a:gd name="connsiteX34" fmla="*/ 4838 w 8911"/>
                  <a:gd name="connsiteY34" fmla="*/ 1016 h 10540"/>
                  <a:gd name="connsiteX35" fmla="*/ 3692 w 8911"/>
                  <a:gd name="connsiteY35" fmla="*/ 762 h 10540"/>
                  <a:gd name="connsiteX36" fmla="*/ 2037 w 8911"/>
                  <a:gd name="connsiteY36" fmla="*/ 1143 h 10540"/>
                  <a:gd name="connsiteX37" fmla="*/ 891 w 8911"/>
                  <a:gd name="connsiteY37" fmla="*/ 2159 h 10540"/>
                  <a:gd name="connsiteX38" fmla="*/ 636 w 8911"/>
                  <a:gd name="connsiteY38" fmla="*/ 2159 h 10540"/>
                  <a:gd name="connsiteX39" fmla="*/ 636 w 8911"/>
                  <a:gd name="connsiteY39" fmla="*/ 1016 h 10540"/>
                  <a:gd name="connsiteX40" fmla="*/ 5856 w 8911"/>
                  <a:gd name="connsiteY40" fmla="*/ 5080 h 10540"/>
                  <a:gd name="connsiteX41" fmla="*/ 4965 w 8911"/>
                  <a:gd name="connsiteY41" fmla="*/ 5334 h 10540"/>
                  <a:gd name="connsiteX42" fmla="*/ 3947 w 8911"/>
                  <a:gd name="connsiteY42" fmla="*/ 5461 h 10540"/>
                  <a:gd name="connsiteX43" fmla="*/ 2928 w 8911"/>
                  <a:gd name="connsiteY43" fmla="*/ 5715 h 10540"/>
                  <a:gd name="connsiteX44" fmla="*/ 2037 w 8911"/>
                  <a:gd name="connsiteY44" fmla="*/ 6096 h 10540"/>
                  <a:gd name="connsiteX45" fmla="*/ 1400 w 8911"/>
                  <a:gd name="connsiteY45" fmla="*/ 6731 h 10540"/>
                  <a:gd name="connsiteX46" fmla="*/ 1146 w 8911"/>
                  <a:gd name="connsiteY46" fmla="*/ 7747 h 10540"/>
                  <a:gd name="connsiteX47" fmla="*/ 1782 w 8911"/>
                  <a:gd name="connsiteY47" fmla="*/ 9271 h 10540"/>
                  <a:gd name="connsiteX48" fmla="*/ 3055 w 8911"/>
                  <a:gd name="connsiteY48" fmla="*/ 9779 h 10540"/>
                  <a:gd name="connsiteX49" fmla="*/ 4583 w 8911"/>
                  <a:gd name="connsiteY49" fmla="*/ 9271 h 10540"/>
                  <a:gd name="connsiteX50" fmla="*/ 5602 w 8911"/>
                  <a:gd name="connsiteY50" fmla="*/ 8255 h 10540"/>
                  <a:gd name="connsiteX51" fmla="*/ 5602 w 8911"/>
                  <a:gd name="connsiteY51" fmla="*/ 5080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911" h="10540">
                    <a:moveTo>
                      <a:pt x="636" y="1270"/>
                    </a:moveTo>
                    <a:cubicBezTo>
                      <a:pt x="1273" y="762"/>
                      <a:pt x="1910" y="508"/>
                      <a:pt x="2419" y="254"/>
                    </a:cubicBezTo>
                    <a:cubicBezTo>
                      <a:pt x="2928" y="0"/>
                      <a:pt x="3565" y="0"/>
                      <a:pt x="4074" y="0"/>
                    </a:cubicBezTo>
                    <a:cubicBezTo>
                      <a:pt x="4583" y="0"/>
                      <a:pt x="5092" y="0"/>
                      <a:pt x="5474" y="254"/>
                    </a:cubicBezTo>
                    <a:cubicBezTo>
                      <a:pt x="5856" y="381"/>
                      <a:pt x="6238" y="635"/>
                      <a:pt x="6620" y="889"/>
                    </a:cubicBezTo>
                    <a:cubicBezTo>
                      <a:pt x="6875" y="1143"/>
                      <a:pt x="7130" y="1524"/>
                      <a:pt x="7384" y="1905"/>
                    </a:cubicBezTo>
                    <a:cubicBezTo>
                      <a:pt x="7512" y="2286"/>
                      <a:pt x="7639" y="2667"/>
                      <a:pt x="7639" y="3175"/>
                    </a:cubicBezTo>
                    <a:cubicBezTo>
                      <a:pt x="7639" y="3937"/>
                      <a:pt x="7639" y="4826"/>
                      <a:pt x="7639" y="5588"/>
                    </a:cubicBezTo>
                    <a:cubicBezTo>
                      <a:pt x="7639" y="6350"/>
                      <a:pt x="7639" y="7239"/>
                      <a:pt x="7639" y="8128"/>
                    </a:cubicBezTo>
                    <a:cubicBezTo>
                      <a:pt x="7639" y="8255"/>
                      <a:pt x="7639" y="8509"/>
                      <a:pt x="7639" y="8636"/>
                    </a:cubicBezTo>
                    <a:cubicBezTo>
                      <a:pt x="7639" y="8890"/>
                      <a:pt x="7639" y="9017"/>
                      <a:pt x="7639" y="9144"/>
                    </a:cubicBezTo>
                    <a:cubicBezTo>
                      <a:pt x="7639" y="9271"/>
                      <a:pt x="7766" y="9398"/>
                      <a:pt x="7893" y="9525"/>
                    </a:cubicBezTo>
                    <a:cubicBezTo>
                      <a:pt x="7893" y="9525"/>
                      <a:pt x="8148" y="9652"/>
                      <a:pt x="8402" y="9652"/>
                    </a:cubicBezTo>
                    <a:cubicBezTo>
                      <a:pt x="8402" y="9652"/>
                      <a:pt x="8530" y="9652"/>
                      <a:pt x="8657" y="9652"/>
                    </a:cubicBezTo>
                    <a:cubicBezTo>
                      <a:pt x="8657" y="9652"/>
                      <a:pt x="8785" y="9652"/>
                      <a:pt x="8912" y="9652"/>
                    </a:cubicBezTo>
                    <a:lnTo>
                      <a:pt x="8912" y="10160"/>
                    </a:lnTo>
                    <a:cubicBezTo>
                      <a:pt x="8912" y="10160"/>
                      <a:pt x="8530" y="10287"/>
                      <a:pt x="8275" y="10287"/>
                    </a:cubicBezTo>
                    <a:cubicBezTo>
                      <a:pt x="8020" y="10287"/>
                      <a:pt x="7766" y="10287"/>
                      <a:pt x="7512" y="10287"/>
                    </a:cubicBezTo>
                    <a:cubicBezTo>
                      <a:pt x="7002" y="10287"/>
                      <a:pt x="6748" y="10287"/>
                      <a:pt x="6493" y="9906"/>
                    </a:cubicBezTo>
                    <a:cubicBezTo>
                      <a:pt x="6238" y="9525"/>
                      <a:pt x="6111" y="9398"/>
                      <a:pt x="6111" y="9017"/>
                    </a:cubicBezTo>
                    <a:cubicBezTo>
                      <a:pt x="5602" y="9525"/>
                      <a:pt x="5092" y="9906"/>
                      <a:pt x="4583" y="10160"/>
                    </a:cubicBezTo>
                    <a:cubicBezTo>
                      <a:pt x="4074" y="10414"/>
                      <a:pt x="3437" y="10541"/>
                      <a:pt x="2801" y="10541"/>
                    </a:cubicBezTo>
                    <a:cubicBezTo>
                      <a:pt x="2419" y="10541"/>
                      <a:pt x="2037" y="10541"/>
                      <a:pt x="1782" y="10414"/>
                    </a:cubicBezTo>
                    <a:cubicBezTo>
                      <a:pt x="1400" y="10414"/>
                      <a:pt x="1146" y="10160"/>
                      <a:pt x="891" y="9906"/>
                    </a:cubicBezTo>
                    <a:cubicBezTo>
                      <a:pt x="636" y="9652"/>
                      <a:pt x="382" y="9398"/>
                      <a:pt x="254" y="9144"/>
                    </a:cubicBezTo>
                    <a:cubicBezTo>
                      <a:pt x="127" y="8763"/>
                      <a:pt x="0" y="8509"/>
                      <a:pt x="0" y="8001"/>
                    </a:cubicBezTo>
                    <a:cubicBezTo>
                      <a:pt x="0" y="7112"/>
                      <a:pt x="254" y="6477"/>
                      <a:pt x="764" y="5969"/>
                    </a:cubicBezTo>
                    <a:cubicBezTo>
                      <a:pt x="1273" y="5461"/>
                      <a:pt x="2037" y="5207"/>
                      <a:pt x="2928" y="5080"/>
                    </a:cubicBezTo>
                    <a:cubicBezTo>
                      <a:pt x="3692" y="4953"/>
                      <a:pt x="4329" y="4826"/>
                      <a:pt x="4711" y="4699"/>
                    </a:cubicBezTo>
                    <a:cubicBezTo>
                      <a:pt x="5092" y="4699"/>
                      <a:pt x="5474" y="4572"/>
                      <a:pt x="5729" y="4445"/>
                    </a:cubicBezTo>
                    <a:cubicBezTo>
                      <a:pt x="5984" y="4445"/>
                      <a:pt x="6111" y="4191"/>
                      <a:pt x="6111" y="4064"/>
                    </a:cubicBezTo>
                    <a:cubicBezTo>
                      <a:pt x="6111" y="3937"/>
                      <a:pt x="6111" y="3810"/>
                      <a:pt x="6111" y="3556"/>
                    </a:cubicBezTo>
                    <a:cubicBezTo>
                      <a:pt x="6111" y="3175"/>
                      <a:pt x="6111" y="2921"/>
                      <a:pt x="5984" y="2540"/>
                    </a:cubicBezTo>
                    <a:cubicBezTo>
                      <a:pt x="5856" y="2159"/>
                      <a:pt x="5729" y="1905"/>
                      <a:pt x="5602" y="1651"/>
                    </a:cubicBezTo>
                    <a:cubicBezTo>
                      <a:pt x="5474" y="1397"/>
                      <a:pt x="5220" y="1270"/>
                      <a:pt x="4838" y="1016"/>
                    </a:cubicBezTo>
                    <a:cubicBezTo>
                      <a:pt x="4583" y="889"/>
                      <a:pt x="4201" y="762"/>
                      <a:pt x="3692" y="762"/>
                    </a:cubicBezTo>
                    <a:cubicBezTo>
                      <a:pt x="3183" y="762"/>
                      <a:pt x="2546" y="889"/>
                      <a:pt x="2037" y="1143"/>
                    </a:cubicBezTo>
                    <a:cubicBezTo>
                      <a:pt x="1528" y="1397"/>
                      <a:pt x="1146" y="1778"/>
                      <a:pt x="891" y="2159"/>
                    </a:cubicBezTo>
                    <a:lnTo>
                      <a:pt x="636" y="2159"/>
                    </a:lnTo>
                    <a:lnTo>
                      <a:pt x="636" y="1016"/>
                    </a:lnTo>
                    <a:close/>
                    <a:moveTo>
                      <a:pt x="5856" y="5080"/>
                    </a:moveTo>
                    <a:cubicBezTo>
                      <a:pt x="5856" y="5080"/>
                      <a:pt x="5347" y="5207"/>
                      <a:pt x="4965" y="5334"/>
                    </a:cubicBezTo>
                    <a:cubicBezTo>
                      <a:pt x="4583" y="5334"/>
                      <a:pt x="4329" y="5334"/>
                      <a:pt x="3947" y="5461"/>
                    </a:cubicBezTo>
                    <a:cubicBezTo>
                      <a:pt x="3565" y="5588"/>
                      <a:pt x="3310" y="5588"/>
                      <a:pt x="2928" y="5715"/>
                    </a:cubicBezTo>
                    <a:cubicBezTo>
                      <a:pt x="2546" y="5715"/>
                      <a:pt x="2292" y="5969"/>
                      <a:pt x="2037" y="6096"/>
                    </a:cubicBezTo>
                    <a:cubicBezTo>
                      <a:pt x="1782" y="6223"/>
                      <a:pt x="1528" y="6477"/>
                      <a:pt x="1400" y="6731"/>
                    </a:cubicBezTo>
                    <a:cubicBezTo>
                      <a:pt x="1273" y="6985"/>
                      <a:pt x="1146" y="7366"/>
                      <a:pt x="1146" y="7747"/>
                    </a:cubicBezTo>
                    <a:cubicBezTo>
                      <a:pt x="1146" y="8382"/>
                      <a:pt x="1400" y="8890"/>
                      <a:pt x="1782" y="9271"/>
                    </a:cubicBezTo>
                    <a:cubicBezTo>
                      <a:pt x="2164" y="9652"/>
                      <a:pt x="2546" y="9779"/>
                      <a:pt x="3055" y="9779"/>
                    </a:cubicBezTo>
                    <a:cubicBezTo>
                      <a:pt x="3565" y="9779"/>
                      <a:pt x="4074" y="9652"/>
                      <a:pt x="4583" y="9271"/>
                    </a:cubicBezTo>
                    <a:cubicBezTo>
                      <a:pt x="5092" y="9017"/>
                      <a:pt x="5347" y="8636"/>
                      <a:pt x="5602" y="8255"/>
                    </a:cubicBezTo>
                    <a:lnTo>
                      <a:pt x="5602" y="5080"/>
                    </a:lnTo>
                    <a:close/>
                  </a:path>
                </a:pathLst>
              </a:custGeom>
              <a:solidFill>
                <a:srgbClr val="FFFFFF"/>
              </a:solidFill>
              <a:ln w="0" cap="flat">
                <a:noFill/>
                <a:prstDash val="solid"/>
                <a:miter/>
              </a:ln>
            </p:spPr>
            <p:txBody>
              <a:bodyPr rtlCol="0" anchor="ctr"/>
              <a:lstStyle/>
              <a:p>
                <a:endParaRPr lang="en-AD" sz="2400"/>
              </a:p>
            </p:txBody>
          </p:sp>
          <p:sp>
            <p:nvSpPr>
              <p:cNvPr id="190" name="Freeform 189">
                <a:extLst>
                  <a:ext uri="{FF2B5EF4-FFF2-40B4-BE49-F238E27FC236}">
                    <a16:creationId xmlns:a16="http://schemas.microsoft.com/office/drawing/2014/main" id="{BF4CBFB5-F9A8-C25D-73C8-8AAEA0ADC048}"/>
                  </a:ext>
                </a:extLst>
              </p:cNvPr>
              <p:cNvSpPr/>
              <p:nvPr/>
            </p:nvSpPr>
            <p:spPr>
              <a:xfrm>
                <a:off x="4218830" y="4848859"/>
                <a:ext cx="5728" cy="13518"/>
              </a:xfrm>
              <a:custGeom>
                <a:avLst/>
                <a:gdLst>
                  <a:gd name="connsiteX0" fmla="*/ 2928 w 5728"/>
                  <a:gd name="connsiteY0" fmla="*/ 0 h 13518"/>
                  <a:gd name="connsiteX1" fmla="*/ 2928 w 5728"/>
                  <a:gd name="connsiteY1" fmla="*/ 1651 h 13518"/>
                  <a:gd name="connsiteX2" fmla="*/ 2928 w 5728"/>
                  <a:gd name="connsiteY2" fmla="*/ 3175 h 13518"/>
                  <a:gd name="connsiteX3" fmla="*/ 3819 w 5728"/>
                  <a:gd name="connsiteY3" fmla="*/ 3175 h 13518"/>
                  <a:gd name="connsiteX4" fmla="*/ 5220 w 5728"/>
                  <a:gd name="connsiteY4" fmla="*/ 3175 h 13518"/>
                  <a:gd name="connsiteX5" fmla="*/ 5220 w 5728"/>
                  <a:gd name="connsiteY5" fmla="*/ 3429 h 13518"/>
                  <a:gd name="connsiteX6" fmla="*/ 5220 w 5728"/>
                  <a:gd name="connsiteY6" fmla="*/ 3937 h 13518"/>
                  <a:gd name="connsiteX7" fmla="*/ 5220 w 5728"/>
                  <a:gd name="connsiteY7" fmla="*/ 4191 h 13518"/>
                  <a:gd name="connsiteX8" fmla="*/ 4583 w 5728"/>
                  <a:gd name="connsiteY8" fmla="*/ 4191 h 13518"/>
                  <a:gd name="connsiteX9" fmla="*/ 3947 w 5728"/>
                  <a:gd name="connsiteY9" fmla="*/ 4191 h 13518"/>
                  <a:gd name="connsiteX10" fmla="*/ 2928 w 5728"/>
                  <a:gd name="connsiteY10" fmla="*/ 4191 h 13518"/>
                  <a:gd name="connsiteX11" fmla="*/ 2928 w 5728"/>
                  <a:gd name="connsiteY11" fmla="*/ 4826 h 13518"/>
                  <a:gd name="connsiteX12" fmla="*/ 2928 w 5728"/>
                  <a:gd name="connsiteY12" fmla="*/ 6223 h 13518"/>
                  <a:gd name="connsiteX13" fmla="*/ 2928 w 5728"/>
                  <a:gd name="connsiteY13" fmla="*/ 8001 h 13518"/>
                  <a:gd name="connsiteX14" fmla="*/ 2928 w 5728"/>
                  <a:gd name="connsiteY14" fmla="*/ 9652 h 13518"/>
                  <a:gd name="connsiteX15" fmla="*/ 2928 w 5728"/>
                  <a:gd name="connsiteY15" fmla="*/ 10795 h 13518"/>
                  <a:gd name="connsiteX16" fmla="*/ 3183 w 5728"/>
                  <a:gd name="connsiteY16" fmla="*/ 11811 h 13518"/>
                  <a:gd name="connsiteX17" fmla="*/ 3692 w 5728"/>
                  <a:gd name="connsiteY17" fmla="*/ 12573 h 13518"/>
                  <a:gd name="connsiteX18" fmla="*/ 4711 w 5728"/>
                  <a:gd name="connsiteY18" fmla="*/ 12827 h 13518"/>
                  <a:gd name="connsiteX19" fmla="*/ 5220 w 5728"/>
                  <a:gd name="connsiteY19" fmla="*/ 12827 h 13518"/>
                  <a:gd name="connsiteX20" fmla="*/ 5729 w 5728"/>
                  <a:gd name="connsiteY20" fmla="*/ 12827 h 13518"/>
                  <a:gd name="connsiteX21" fmla="*/ 5729 w 5728"/>
                  <a:gd name="connsiteY21" fmla="*/ 13335 h 13518"/>
                  <a:gd name="connsiteX22" fmla="*/ 4965 w 5728"/>
                  <a:gd name="connsiteY22" fmla="*/ 13462 h 13518"/>
                  <a:gd name="connsiteX23" fmla="*/ 4074 w 5728"/>
                  <a:gd name="connsiteY23" fmla="*/ 13462 h 13518"/>
                  <a:gd name="connsiteX24" fmla="*/ 2037 w 5728"/>
                  <a:gd name="connsiteY24" fmla="*/ 12827 h 13518"/>
                  <a:gd name="connsiteX25" fmla="*/ 1400 w 5728"/>
                  <a:gd name="connsiteY25" fmla="*/ 10922 h 13518"/>
                  <a:gd name="connsiteX26" fmla="*/ 1400 w 5728"/>
                  <a:gd name="connsiteY26" fmla="*/ 9652 h 13518"/>
                  <a:gd name="connsiteX27" fmla="*/ 1400 w 5728"/>
                  <a:gd name="connsiteY27" fmla="*/ 8128 h 13518"/>
                  <a:gd name="connsiteX28" fmla="*/ 1400 w 5728"/>
                  <a:gd name="connsiteY28" fmla="*/ 6350 h 13518"/>
                  <a:gd name="connsiteX29" fmla="*/ 1400 w 5728"/>
                  <a:gd name="connsiteY29" fmla="*/ 4191 h 13518"/>
                  <a:gd name="connsiteX30" fmla="*/ 764 w 5728"/>
                  <a:gd name="connsiteY30" fmla="*/ 4191 h 13518"/>
                  <a:gd name="connsiteX31" fmla="*/ 382 w 5728"/>
                  <a:gd name="connsiteY31" fmla="*/ 4191 h 13518"/>
                  <a:gd name="connsiteX32" fmla="*/ 0 w 5728"/>
                  <a:gd name="connsiteY32" fmla="*/ 4191 h 13518"/>
                  <a:gd name="connsiteX33" fmla="*/ 0 w 5728"/>
                  <a:gd name="connsiteY33" fmla="*/ 3937 h 13518"/>
                  <a:gd name="connsiteX34" fmla="*/ 0 w 5728"/>
                  <a:gd name="connsiteY34" fmla="*/ 3683 h 13518"/>
                  <a:gd name="connsiteX35" fmla="*/ 0 w 5728"/>
                  <a:gd name="connsiteY35" fmla="*/ 3429 h 13518"/>
                  <a:gd name="connsiteX36" fmla="*/ 0 w 5728"/>
                  <a:gd name="connsiteY36" fmla="*/ 3175 h 13518"/>
                  <a:gd name="connsiteX37" fmla="*/ 1400 w 5728"/>
                  <a:gd name="connsiteY37" fmla="*/ 3175 h 13518"/>
                  <a:gd name="connsiteX38" fmla="*/ 1400 w 5728"/>
                  <a:gd name="connsiteY38" fmla="*/ 2159 h 13518"/>
                  <a:gd name="connsiteX39" fmla="*/ 1400 w 5728"/>
                  <a:gd name="connsiteY39" fmla="*/ 889 h 13518"/>
                  <a:gd name="connsiteX40" fmla="*/ 3183 w 5728"/>
                  <a:gd name="connsiteY40" fmla="*/ 127 h 13518"/>
                  <a:gd name="connsiteX41" fmla="*/ 3183 w 5728"/>
                  <a:gd name="connsiteY41" fmla="*/ 127 h 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728" h="13518">
                    <a:moveTo>
                      <a:pt x="2928" y="0"/>
                    </a:moveTo>
                    <a:cubicBezTo>
                      <a:pt x="2928" y="0"/>
                      <a:pt x="2928" y="1016"/>
                      <a:pt x="2928" y="1651"/>
                    </a:cubicBezTo>
                    <a:cubicBezTo>
                      <a:pt x="2928" y="2159"/>
                      <a:pt x="2928" y="2667"/>
                      <a:pt x="2928" y="3175"/>
                    </a:cubicBezTo>
                    <a:cubicBezTo>
                      <a:pt x="3055" y="3175"/>
                      <a:pt x="3437" y="3175"/>
                      <a:pt x="3819" y="3175"/>
                    </a:cubicBezTo>
                    <a:cubicBezTo>
                      <a:pt x="4201" y="3175"/>
                      <a:pt x="4711" y="3175"/>
                      <a:pt x="5220" y="3175"/>
                    </a:cubicBezTo>
                    <a:cubicBezTo>
                      <a:pt x="5220" y="3175"/>
                      <a:pt x="5220" y="3175"/>
                      <a:pt x="5220" y="3429"/>
                    </a:cubicBezTo>
                    <a:lnTo>
                      <a:pt x="5220" y="3937"/>
                    </a:lnTo>
                    <a:cubicBezTo>
                      <a:pt x="5220" y="3937"/>
                      <a:pt x="5220" y="4064"/>
                      <a:pt x="5220" y="4191"/>
                    </a:cubicBezTo>
                    <a:cubicBezTo>
                      <a:pt x="5092" y="4191"/>
                      <a:pt x="4838" y="4191"/>
                      <a:pt x="4583" y="4191"/>
                    </a:cubicBezTo>
                    <a:cubicBezTo>
                      <a:pt x="4329" y="4191"/>
                      <a:pt x="4201" y="4191"/>
                      <a:pt x="3947" y="4191"/>
                    </a:cubicBezTo>
                    <a:lnTo>
                      <a:pt x="2928" y="4191"/>
                    </a:lnTo>
                    <a:cubicBezTo>
                      <a:pt x="2928" y="4191"/>
                      <a:pt x="2928" y="4445"/>
                      <a:pt x="2928" y="4826"/>
                    </a:cubicBezTo>
                    <a:cubicBezTo>
                      <a:pt x="2928" y="5207"/>
                      <a:pt x="2928" y="5715"/>
                      <a:pt x="2928" y="6223"/>
                    </a:cubicBezTo>
                    <a:cubicBezTo>
                      <a:pt x="2928" y="6731"/>
                      <a:pt x="2928" y="7366"/>
                      <a:pt x="2928" y="8001"/>
                    </a:cubicBezTo>
                    <a:cubicBezTo>
                      <a:pt x="2928" y="8636"/>
                      <a:pt x="2928" y="9144"/>
                      <a:pt x="2928" y="9652"/>
                    </a:cubicBezTo>
                    <a:cubicBezTo>
                      <a:pt x="2928" y="10033"/>
                      <a:pt x="2928" y="10414"/>
                      <a:pt x="2928" y="10795"/>
                    </a:cubicBezTo>
                    <a:cubicBezTo>
                      <a:pt x="2928" y="11176"/>
                      <a:pt x="2928" y="11557"/>
                      <a:pt x="3183" y="11811"/>
                    </a:cubicBezTo>
                    <a:cubicBezTo>
                      <a:pt x="3183" y="12065"/>
                      <a:pt x="3437" y="12319"/>
                      <a:pt x="3692" y="12573"/>
                    </a:cubicBezTo>
                    <a:cubicBezTo>
                      <a:pt x="3947" y="12827"/>
                      <a:pt x="4201" y="12827"/>
                      <a:pt x="4711" y="12827"/>
                    </a:cubicBezTo>
                    <a:cubicBezTo>
                      <a:pt x="4711" y="12827"/>
                      <a:pt x="4965" y="12827"/>
                      <a:pt x="5220" y="12827"/>
                    </a:cubicBezTo>
                    <a:cubicBezTo>
                      <a:pt x="5474" y="12827"/>
                      <a:pt x="5602" y="12827"/>
                      <a:pt x="5729" y="12827"/>
                    </a:cubicBezTo>
                    <a:lnTo>
                      <a:pt x="5729" y="13335"/>
                    </a:lnTo>
                    <a:cubicBezTo>
                      <a:pt x="5729" y="13335"/>
                      <a:pt x="5220" y="13335"/>
                      <a:pt x="4965" y="13462"/>
                    </a:cubicBezTo>
                    <a:cubicBezTo>
                      <a:pt x="4711" y="13589"/>
                      <a:pt x="4329" y="13462"/>
                      <a:pt x="4074" y="13462"/>
                    </a:cubicBezTo>
                    <a:cubicBezTo>
                      <a:pt x="3183" y="13462"/>
                      <a:pt x="2546" y="13208"/>
                      <a:pt x="2037" y="12827"/>
                    </a:cubicBezTo>
                    <a:cubicBezTo>
                      <a:pt x="1655" y="12446"/>
                      <a:pt x="1400" y="11684"/>
                      <a:pt x="1400" y="10922"/>
                    </a:cubicBezTo>
                    <a:cubicBezTo>
                      <a:pt x="1400" y="10541"/>
                      <a:pt x="1400" y="10160"/>
                      <a:pt x="1400" y="9652"/>
                    </a:cubicBezTo>
                    <a:cubicBezTo>
                      <a:pt x="1400" y="9144"/>
                      <a:pt x="1400" y="8763"/>
                      <a:pt x="1400" y="8128"/>
                    </a:cubicBezTo>
                    <a:cubicBezTo>
                      <a:pt x="1400" y="7620"/>
                      <a:pt x="1400" y="6985"/>
                      <a:pt x="1400" y="6350"/>
                    </a:cubicBezTo>
                    <a:cubicBezTo>
                      <a:pt x="1400" y="5715"/>
                      <a:pt x="1400" y="4953"/>
                      <a:pt x="1400" y="4191"/>
                    </a:cubicBezTo>
                    <a:lnTo>
                      <a:pt x="764" y="4191"/>
                    </a:lnTo>
                    <a:cubicBezTo>
                      <a:pt x="764" y="4191"/>
                      <a:pt x="509" y="4191"/>
                      <a:pt x="382" y="4191"/>
                    </a:cubicBezTo>
                    <a:cubicBezTo>
                      <a:pt x="254" y="4191"/>
                      <a:pt x="127" y="4191"/>
                      <a:pt x="0" y="4191"/>
                    </a:cubicBezTo>
                    <a:cubicBezTo>
                      <a:pt x="0" y="4191"/>
                      <a:pt x="0" y="4064"/>
                      <a:pt x="0" y="3937"/>
                    </a:cubicBezTo>
                    <a:cubicBezTo>
                      <a:pt x="0" y="3937"/>
                      <a:pt x="0" y="3810"/>
                      <a:pt x="0" y="3683"/>
                    </a:cubicBezTo>
                    <a:cubicBezTo>
                      <a:pt x="0" y="3683"/>
                      <a:pt x="0" y="3556"/>
                      <a:pt x="0" y="3429"/>
                    </a:cubicBezTo>
                    <a:cubicBezTo>
                      <a:pt x="0" y="3429"/>
                      <a:pt x="0" y="3302"/>
                      <a:pt x="0" y="3175"/>
                    </a:cubicBezTo>
                    <a:cubicBezTo>
                      <a:pt x="636" y="3175"/>
                      <a:pt x="1146" y="3175"/>
                      <a:pt x="1400" y="3175"/>
                    </a:cubicBezTo>
                    <a:cubicBezTo>
                      <a:pt x="1400" y="2921"/>
                      <a:pt x="1400" y="2540"/>
                      <a:pt x="1400" y="2159"/>
                    </a:cubicBezTo>
                    <a:cubicBezTo>
                      <a:pt x="1400" y="1778"/>
                      <a:pt x="1400" y="1270"/>
                      <a:pt x="1400" y="889"/>
                    </a:cubicBezTo>
                    <a:lnTo>
                      <a:pt x="3183" y="127"/>
                    </a:lnTo>
                    <a:lnTo>
                      <a:pt x="3183" y="127"/>
                    </a:lnTo>
                    <a:close/>
                  </a:path>
                </a:pathLst>
              </a:custGeom>
              <a:solidFill>
                <a:srgbClr val="FFFFFF"/>
              </a:solidFill>
              <a:ln w="0" cap="flat">
                <a:noFill/>
                <a:prstDash val="solid"/>
                <a:miter/>
              </a:ln>
            </p:spPr>
            <p:txBody>
              <a:bodyPr rtlCol="0" anchor="ctr"/>
              <a:lstStyle/>
              <a:p>
                <a:endParaRPr lang="en-AD" sz="2400"/>
              </a:p>
            </p:txBody>
          </p:sp>
          <p:sp>
            <p:nvSpPr>
              <p:cNvPr id="191" name="Freeform 190">
                <a:extLst>
                  <a:ext uri="{FF2B5EF4-FFF2-40B4-BE49-F238E27FC236}">
                    <a16:creationId xmlns:a16="http://schemas.microsoft.com/office/drawing/2014/main" id="{3C52DFDB-C83F-13C1-8793-04CB21F54A85}"/>
                  </a:ext>
                </a:extLst>
              </p:cNvPr>
              <p:cNvSpPr/>
              <p:nvPr/>
            </p:nvSpPr>
            <p:spPr>
              <a:xfrm>
                <a:off x="4226086"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255 w 2291"/>
                  <a:gd name="connsiteY9" fmla="*/ 8890 h 14985"/>
                  <a:gd name="connsiteX10" fmla="*/ 255 w 2291"/>
                  <a:gd name="connsiteY10" fmla="*/ 6858 h 14985"/>
                  <a:gd name="connsiteX11" fmla="*/ 127 w 2291"/>
                  <a:gd name="connsiteY11" fmla="*/ 4826 h 14985"/>
                  <a:gd name="connsiteX12" fmla="*/ 1146 w 2291"/>
                  <a:gd name="connsiteY12" fmla="*/ 4826 h 14985"/>
                  <a:gd name="connsiteX13" fmla="*/ 2165 w 2291"/>
                  <a:gd name="connsiteY13" fmla="*/ 4826 h 14985"/>
                  <a:gd name="connsiteX14" fmla="*/ 2037 w 2291"/>
                  <a:gd name="connsiteY14" fmla="*/ 6858 h 14985"/>
                  <a:gd name="connsiteX15" fmla="*/ 2037 w 2291"/>
                  <a:gd name="connsiteY15" fmla="*/ 8890 h 14985"/>
                  <a:gd name="connsiteX16" fmla="*/ 2037 w 2291"/>
                  <a:gd name="connsiteY16" fmla="*/ 11049 h 14985"/>
                  <a:gd name="connsiteX17" fmla="*/ 2037 w 2291"/>
                  <a:gd name="connsiteY17" fmla="*/ 13081 h 14985"/>
                  <a:gd name="connsiteX18" fmla="*/ 2165 w 2291"/>
                  <a:gd name="connsiteY18" fmla="*/ 14986 h 14985"/>
                  <a:gd name="connsiteX19" fmla="*/ 1146 w 2291"/>
                  <a:gd name="connsiteY19" fmla="*/ 14986 h 14985"/>
                  <a:gd name="connsiteX20" fmla="*/ 127 w 2291"/>
                  <a:gd name="connsiteY20" fmla="*/ 14986 h 14985"/>
                  <a:gd name="connsiteX21" fmla="*/ 255 w 2291"/>
                  <a:gd name="connsiteY21" fmla="*/ 13081 h 14985"/>
                  <a:gd name="connsiteX22" fmla="*/ 255 w 2291"/>
                  <a:gd name="connsiteY22" fmla="*/ 11049 h 14985"/>
                  <a:gd name="connsiteX23" fmla="*/ 255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7" y="127"/>
                      <a:pt x="891" y="0"/>
                      <a:pt x="1146" y="0"/>
                    </a:cubicBezTo>
                    <a:cubicBezTo>
                      <a:pt x="1401" y="0"/>
                      <a:pt x="1655" y="0"/>
                      <a:pt x="1910" y="381"/>
                    </a:cubicBezTo>
                    <a:cubicBezTo>
                      <a:pt x="2165" y="635"/>
                      <a:pt x="2292" y="889"/>
                      <a:pt x="2292" y="1143"/>
                    </a:cubicBezTo>
                    <a:cubicBezTo>
                      <a:pt x="2292" y="1397"/>
                      <a:pt x="2292" y="1651"/>
                      <a:pt x="1910" y="1905"/>
                    </a:cubicBezTo>
                    <a:cubicBezTo>
                      <a:pt x="1655" y="2159"/>
                      <a:pt x="1401" y="2286"/>
                      <a:pt x="1146" y="2286"/>
                    </a:cubicBezTo>
                    <a:cubicBezTo>
                      <a:pt x="891" y="2286"/>
                      <a:pt x="637" y="2286"/>
                      <a:pt x="382" y="1905"/>
                    </a:cubicBezTo>
                    <a:cubicBezTo>
                      <a:pt x="127" y="1651"/>
                      <a:pt x="0" y="1397"/>
                      <a:pt x="0" y="1143"/>
                    </a:cubicBezTo>
                    <a:close/>
                    <a:moveTo>
                      <a:pt x="255" y="8890"/>
                    </a:moveTo>
                    <a:cubicBezTo>
                      <a:pt x="255" y="8255"/>
                      <a:pt x="255" y="7620"/>
                      <a:pt x="255" y="6858"/>
                    </a:cubicBezTo>
                    <a:cubicBezTo>
                      <a:pt x="255" y="6096"/>
                      <a:pt x="255" y="5461"/>
                      <a:pt x="127" y="4826"/>
                    </a:cubicBezTo>
                    <a:cubicBezTo>
                      <a:pt x="509" y="4826"/>
                      <a:pt x="891" y="4826"/>
                      <a:pt x="1146" y="4826"/>
                    </a:cubicBezTo>
                    <a:cubicBezTo>
                      <a:pt x="1401" y="4826"/>
                      <a:pt x="1655" y="4826"/>
                      <a:pt x="2165" y="4826"/>
                    </a:cubicBezTo>
                    <a:cubicBezTo>
                      <a:pt x="2165" y="5461"/>
                      <a:pt x="2165" y="6096"/>
                      <a:pt x="2037" y="6858"/>
                    </a:cubicBezTo>
                    <a:cubicBezTo>
                      <a:pt x="2037" y="7620"/>
                      <a:pt x="2037" y="8255"/>
                      <a:pt x="2037" y="8890"/>
                    </a:cubicBezTo>
                    <a:lnTo>
                      <a:pt x="2037" y="11049"/>
                    </a:lnTo>
                    <a:cubicBezTo>
                      <a:pt x="2037" y="11684"/>
                      <a:pt x="2037" y="12319"/>
                      <a:pt x="2037" y="13081"/>
                    </a:cubicBezTo>
                    <a:cubicBezTo>
                      <a:pt x="2037" y="13843"/>
                      <a:pt x="2037" y="14478"/>
                      <a:pt x="2165" y="14986"/>
                    </a:cubicBezTo>
                    <a:cubicBezTo>
                      <a:pt x="1783" y="14986"/>
                      <a:pt x="1528" y="14986"/>
                      <a:pt x="1146" y="14986"/>
                    </a:cubicBezTo>
                    <a:cubicBezTo>
                      <a:pt x="764" y="14986"/>
                      <a:pt x="509" y="14986"/>
                      <a:pt x="127" y="14986"/>
                    </a:cubicBezTo>
                    <a:cubicBezTo>
                      <a:pt x="127" y="14478"/>
                      <a:pt x="127" y="13716"/>
                      <a:pt x="255" y="13081"/>
                    </a:cubicBezTo>
                    <a:cubicBezTo>
                      <a:pt x="255" y="12319"/>
                      <a:pt x="255" y="11684"/>
                      <a:pt x="255" y="11049"/>
                    </a:cubicBezTo>
                    <a:lnTo>
                      <a:pt x="255" y="8890"/>
                    </a:lnTo>
                    <a:close/>
                  </a:path>
                </a:pathLst>
              </a:custGeom>
              <a:solidFill>
                <a:srgbClr val="FFFFFF"/>
              </a:solidFill>
              <a:ln w="0" cap="flat">
                <a:noFill/>
                <a:prstDash val="solid"/>
                <a:miter/>
              </a:ln>
            </p:spPr>
            <p:txBody>
              <a:bodyPr rtlCol="0" anchor="ctr"/>
              <a:lstStyle/>
              <a:p>
                <a:endParaRPr lang="en-AD" sz="2400"/>
              </a:p>
            </p:txBody>
          </p:sp>
          <p:sp>
            <p:nvSpPr>
              <p:cNvPr id="192" name="Freeform 191">
                <a:extLst>
                  <a:ext uri="{FF2B5EF4-FFF2-40B4-BE49-F238E27FC236}">
                    <a16:creationId xmlns:a16="http://schemas.microsoft.com/office/drawing/2014/main" id="{C16A95BB-3CB0-1125-9755-78926ACCC3D4}"/>
                  </a:ext>
                </a:extLst>
              </p:cNvPr>
              <p:cNvSpPr/>
              <p:nvPr/>
            </p:nvSpPr>
            <p:spPr>
              <a:xfrm>
                <a:off x="4231052" y="4851653"/>
                <a:ext cx="10566" cy="10414"/>
              </a:xfrm>
              <a:custGeom>
                <a:avLst/>
                <a:gdLst>
                  <a:gd name="connsiteX0" fmla="*/ 0 w 10566"/>
                  <a:gd name="connsiteY0" fmla="*/ 5207 h 10414"/>
                  <a:gd name="connsiteX1" fmla="*/ 509 w 10566"/>
                  <a:gd name="connsiteY1" fmla="*/ 2794 h 10414"/>
                  <a:gd name="connsiteX2" fmla="*/ 1782 w 10566"/>
                  <a:gd name="connsiteY2" fmla="*/ 1143 h 10414"/>
                  <a:gd name="connsiteX3" fmla="*/ 3437 w 10566"/>
                  <a:gd name="connsiteY3" fmla="*/ 254 h 10414"/>
                  <a:gd name="connsiteX4" fmla="*/ 5347 w 10566"/>
                  <a:gd name="connsiteY4" fmla="*/ 0 h 10414"/>
                  <a:gd name="connsiteX5" fmla="*/ 7257 w 10566"/>
                  <a:gd name="connsiteY5" fmla="*/ 254 h 10414"/>
                  <a:gd name="connsiteX6" fmla="*/ 8912 w 10566"/>
                  <a:gd name="connsiteY6" fmla="*/ 1143 h 10414"/>
                  <a:gd name="connsiteX7" fmla="*/ 10058 w 10566"/>
                  <a:gd name="connsiteY7" fmla="*/ 2794 h 10414"/>
                  <a:gd name="connsiteX8" fmla="*/ 10567 w 10566"/>
                  <a:gd name="connsiteY8" fmla="*/ 5207 h 10414"/>
                  <a:gd name="connsiteX9" fmla="*/ 10058 w 10566"/>
                  <a:gd name="connsiteY9" fmla="*/ 7620 h 10414"/>
                  <a:gd name="connsiteX10" fmla="*/ 8912 w 10566"/>
                  <a:gd name="connsiteY10" fmla="*/ 9271 h 10414"/>
                  <a:gd name="connsiteX11" fmla="*/ 7257 w 10566"/>
                  <a:gd name="connsiteY11" fmla="*/ 10160 h 10414"/>
                  <a:gd name="connsiteX12" fmla="*/ 5347 w 10566"/>
                  <a:gd name="connsiteY12" fmla="*/ 10414 h 10414"/>
                  <a:gd name="connsiteX13" fmla="*/ 3437 w 10566"/>
                  <a:gd name="connsiteY13" fmla="*/ 10160 h 10414"/>
                  <a:gd name="connsiteX14" fmla="*/ 1782 w 10566"/>
                  <a:gd name="connsiteY14" fmla="*/ 9271 h 10414"/>
                  <a:gd name="connsiteX15" fmla="*/ 509 w 10566"/>
                  <a:gd name="connsiteY15" fmla="*/ 7620 h 10414"/>
                  <a:gd name="connsiteX16" fmla="*/ 0 w 10566"/>
                  <a:gd name="connsiteY16" fmla="*/ 5207 h 10414"/>
                  <a:gd name="connsiteX17" fmla="*/ 1782 w 10566"/>
                  <a:gd name="connsiteY17" fmla="*/ 5207 h 10414"/>
                  <a:gd name="connsiteX18" fmla="*/ 1910 w 10566"/>
                  <a:gd name="connsiteY18" fmla="*/ 6985 h 10414"/>
                  <a:gd name="connsiteX19" fmla="*/ 2419 w 10566"/>
                  <a:gd name="connsiteY19" fmla="*/ 8509 h 10414"/>
                  <a:gd name="connsiteX20" fmla="*/ 3437 w 10566"/>
                  <a:gd name="connsiteY20" fmla="*/ 9525 h 10414"/>
                  <a:gd name="connsiteX21" fmla="*/ 4965 w 10566"/>
                  <a:gd name="connsiteY21" fmla="*/ 9906 h 10414"/>
                  <a:gd name="connsiteX22" fmla="*/ 6493 w 10566"/>
                  <a:gd name="connsiteY22" fmla="*/ 9525 h 10414"/>
                  <a:gd name="connsiteX23" fmla="*/ 7512 w 10566"/>
                  <a:gd name="connsiteY23" fmla="*/ 8509 h 10414"/>
                  <a:gd name="connsiteX24" fmla="*/ 8021 w 10566"/>
                  <a:gd name="connsiteY24" fmla="*/ 6985 h 10414"/>
                  <a:gd name="connsiteX25" fmla="*/ 8148 w 10566"/>
                  <a:gd name="connsiteY25" fmla="*/ 5207 h 10414"/>
                  <a:gd name="connsiteX26" fmla="*/ 8021 w 10566"/>
                  <a:gd name="connsiteY26" fmla="*/ 3429 h 10414"/>
                  <a:gd name="connsiteX27" fmla="*/ 7512 w 10566"/>
                  <a:gd name="connsiteY27" fmla="*/ 1905 h 10414"/>
                  <a:gd name="connsiteX28" fmla="*/ 6493 w 10566"/>
                  <a:gd name="connsiteY28" fmla="*/ 889 h 10414"/>
                  <a:gd name="connsiteX29" fmla="*/ 4965 w 10566"/>
                  <a:gd name="connsiteY29" fmla="*/ 508 h 10414"/>
                  <a:gd name="connsiteX30" fmla="*/ 3437 w 10566"/>
                  <a:gd name="connsiteY30" fmla="*/ 889 h 10414"/>
                  <a:gd name="connsiteX31" fmla="*/ 2419 w 10566"/>
                  <a:gd name="connsiteY31" fmla="*/ 1905 h 10414"/>
                  <a:gd name="connsiteX32" fmla="*/ 1910 w 10566"/>
                  <a:gd name="connsiteY32" fmla="*/ 3429 h 10414"/>
                  <a:gd name="connsiteX33" fmla="*/ 1782 w 10566"/>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6" h="10414">
                    <a:moveTo>
                      <a:pt x="0" y="5207"/>
                    </a:moveTo>
                    <a:cubicBezTo>
                      <a:pt x="0" y="4191"/>
                      <a:pt x="127" y="3429"/>
                      <a:pt x="509" y="2794"/>
                    </a:cubicBezTo>
                    <a:cubicBezTo>
                      <a:pt x="764" y="2159"/>
                      <a:pt x="1273" y="1524"/>
                      <a:pt x="1782" y="1143"/>
                    </a:cubicBezTo>
                    <a:cubicBezTo>
                      <a:pt x="2292" y="762"/>
                      <a:pt x="2801" y="381"/>
                      <a:pt x="3437" y="254"/>
                    </a:cubicBezTo>
                    <a:cubicBezTo>
                      <a:pt x="4074" y="0"/>
                      <a:pt x="4711" y="0"/>
                      <a:pt x="5347" y="0"/>
                    </a:cubicBezTo>
                    <a:cubicBezTo>
                      <a:pt x="5984" y="0"/>
                      <a:pt x="6620" y="0"/>
                      <a:pt x="7257" y="254"/>
                    </a:cubicBezTo>
                    <a:cubicBezTo>
                      <a:pt x="7893" y="508"/>
                      <a:pt x="8403" y="762"/>
                      <a:pt x="8912" y="1143"/>
                    </a:cubicBezTo>
                    <a:cubicBezTo>
                      <a:pt x="9421"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0" y="10287"/>
                      <a:pt x="5984" y="10414"/>
                      <a:pt x="5347" y="10414"/>
                    </a:cubicBezTo>
                    <a:cubicBezTo>
                      <a:pt x="4711" y="10414"/>
                      <a:pt x="4074" y="10414"/>
                      <a:pt x="3437" y="10160"/>
                    </a:cubicBezTo>
                    <a:cubicBezTo>
                      <a:pt x="2801" y="9906"/>
                      <a:pt x="2292" y="9652"/>
                      <a:pt x="1782" y="9271"/>
                    </a:cubicBezTo>
                    <a:cubicBezTo>
                      <a:pt x="1273" y="8890"/>
                      <a:pt x="891" y="8255"/>
                      <a:pt x="509" y="7620"/>
                    </a:cubicBezTo>
                    <a:cubicBezTo>
                      <a:pt x="254" y="6985"/>
                      <a:pt x="0" y="6096"/>
                      <a:pt x="0" y="5207"/>
                    </a:cubicBezTo>
                    <a:close/>
                    <a:moveTo>
                      <a:pt x="1782" y="5207"/>
                    </a:moveTo>
                    <a:cubicBezTo>
                      <a:pt x="1782" y="5207"/>
                      <a:pt x="1782" y="6350"/>
                      <a:pt x="1910" y="6985"/>
                    </a:cubicBezTo>
                    <a:cubicBezTo>
                      <a:pt x="1910" y="7493"/>
                      <a:pt x="2165" y="8001"/>
                      <a:pt x="2419" y="8509"/>
                    </a:cubicBezTo>
                    <a:cubicBezTo>
                      <a:pt x="2673" y="8890"/>
                      <a:pt x="3055" y="9271"/>
                      <a:pt x="3437" y="9525"/>
                    </a:cubicBezTo>
                    <a:cubicBezTo>
                      <a:pt x="3819" y="9779"/>
                      <a:pt x="4456" y="9906"/>
                      <a:pt x="4965" y="9906"/>
                    </a:cubicBezTo>
                    <a:cubicBezTo>
                      <a:pt x="5474" y="9906"/>
                      <a:pt x="6111" y="9779"/>
                      <a:pt x="6493" y="9525"/>
                    </a:cubicBezTo>
                    <a:cubicBezTo>
                      <a:pt x="6875" y="9271"/>
                      <a:pt x="7257" y="8890"/>
                      <a:pt x="7512" y="8509"/>
                    </a:cubicBezTo>
                    <a:cubicBezTo>
                      <a:pt x="7766" y="8128"/>
                      <a:pt x="7893" y="7620"/>
                      <a:pt x="8021" y="6985"/>
                    </a:cubicBezTo>
                    <a:cubicBezTo>
                      <a:pt x="8021" y="6477"/>
                      <a:pt x="8148" y="5842"/>
                      <a:pt x="8148" y="5207"/>
                    </a:cubicBezTo>
                    <a:cubicBezTo>
                      <a:pt x="8148" y="4572"/>
                      <a:pt x="8148" y="4064"/>
                      <a:pt x="8021" y="3429"/>
                    </a:cubicBezTo>
                    <a:cubicBezTo>
                      <a:pt x="8021" y="2921"/>
                      <a:pt x="7766" y="2413"/>
                      <a:pt x="7512" y="1905"/>
                    </a:cubicBezTo>
                    <a:cubicBezTo>
                      <a:pt x="7257" y="1524"/>
                      <a:pt x="6875" y="1143"/>
                      <a:pt x="6493" y="889"/>
                    </a:cubicBezTo>
                    <a:cubicBezTo>
                      <a:pt x="6111" y="635"/>
                      <a:pt x="5474" y="508"/>
                      <a:pt x="4965" y="508"/>
                    </a:cubicBezTo>
                    <a:cubicBezTo>
                      <a:pt x="4456" y="508"/>
                      <a:pt x="3819" y="635"/>
                      <a:pt x="3437" y="889"/>
                    </a:cubicBezTo>
                    <a:cubicBezTo>
                      <a:pt x="3055" y="1143"/>
                      <a:pt x="2673" y="1524"/>
                      <a:pt x="2419" y="1905"/>
                    </a:cubicBezTo>
                    <a:cubicBezTo>
                      <a:pt x="2165" y="2286"/>
                      <a:pt x="2037" y="2794"/>
                      <a:pt x="1910" y="3429"/>
                    </a:cubicBezTo>
                    <a:cubicBezTo>
                      <a:pt x="1910" y="3937"/>
                      <a:pt x="1782" y="4572"/>
                      <a:pt x="1782" y="5207"/>
                    </a:cubicBezTo>
                    <a:close/>
                  </a:path>
                </a:pathLst>
              </a:custGeom>
              <a:solidFill>
                <a:srgbClr val="FFFFFF"/>
              </a:solidFill>
              <a:ln w="0" cap="flat">
                <a:noFill/>
                <a:prstDash val="solid"/>
                <a:miter/>
              </a:ln>
            </p:spPr>
            <p:txBody>
              <a:bodyPr rtlCol="0" anchor="ctr"/>
              <a:lstStyle/>
              <a:p>
                <a:endParaRPr lang="en-AD" sz="2400"/>
              </a:p>
            </p:txBody>
          </p:sp>
          <p:sp>
            <p:nvSpPr>
              <p:cNvPr id="193" name="Freeform 192">
                <a:extLst>
                  <a:ext uri="{FF2B5EF4-FFF2-40B4-BE49-F238E27FC236}">
                    <a16:creationId xmlns:a16="http://schemas.microsoft.com/office/drawing/2014/main" id="{00E5F1DD-A8AF-94D0-DA87-8E0884C2A97E}"/>
                  </a:ext>
                </a:extLst>
              </p:cNvPr>
              <p:cNvSpPr/>
              <p:nvPr/>
            </p:nvSpPr>
            <p:spPr>
              <a:xfrm>
                <a:off x="4243911"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5 w 8784"/>
                  <a:gd name="connsiteY24" fmla="*/ 3683 h 10414"/>
                  <a:gd name="connsiteX25" fmla="*/ 8785 w 8784"/>
                  <a:gd name="connsiteY25" fmla="*/ 5588 h 10414"/>
                  <a:gd name="connsiteX26" fmla="*/ 8785 w 8784"/>
                  <a:gd name="connsiteY26" fmla="*/ 7620 h 10414"/>
                  <a:gd name="connsiteX27" fmla="*/ 8785 w 8784"/>
                  <a:gd name="connsiteY27" fmla="*/ 9017 h 10414"/>
                  <a:gd name="connsiteX28" fmla="*/ 8785 w 8784"/>
                  <a:gd name="connsiteY28" fmla="*/ 9652 h 10414"/>
                  <a:gd name="connsiteX29" fmla="*/ 8785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3" y="1397"/>
                      <a:pt x="8530" y="1905"/>
                    </a:cubicBezTo>
                    <a:cubicBezTo>
                      <a:pt x="8785" y="2413"/>
                      <a:pt x="8785" y="3048"/>
                      <a:pt x="8785" y="3683"/>
                    </a:cubicBezTo>
                    <a:cubicBezTo>
                      <a:pt x="8785" y="4318"/>
                      <a:pt x="8785" y="4953"/>
                      <a:pt x="8785" y="5588"/>
                    </a:cubicBezTo>
                    <a:cubicBezTo>
                      <a:pt x="8785" y="6223"/>
                      <a:pt x="8785" y="6985"/>
                      <a:pt x="8785" y="7620"/>
                    </a:cubicBezTo>
                    <a:lnTo>
                      <a:pt x="8785" y="9017"/>
                    </a:lnTo>
                    <a:cubicBezTo>
                      <a:pt x="8785" y="9017"/>
                      <a:pt x="8785" y="9525"/>
                      <a:pt x="8785" y="9652"/>
                    </a:cubicBezTo>
                    <a:cubicBezTo>
                      <a:pt x="8785" y="9906"/>
                      <a:pt x="8785" y="10033"/>
                      <a:pt x="8785"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194" name="Freeform 193">
                <a:extLst>
                  <a:ext uri="{FF2B5EF4-FFF2-40B4-BE49-F238E27FC236}">
                    <a16:creationId xmlns:a16="http://schemas.microsoft.com/office/drawing/2014/main" id="{26BD2F93-A118-2145-BA3C-8127FBE43BE2}"/>
                  </a:ext>
                </a:extLst>
              </p:cNvPr>
              <p:cNvSpPr/>
              <p:nvPr/>
            </p:nvSpPr>
            <p:spPr>
              <a:xfrm>
                <a:off x="4261353" y="4846828"/>
                <a:ext cx="8784" cy="15366"/>
              </a:xfrm>
              <a:custGeom>
                <a:avLst/>
                <a:gdLst>
                  <a:gd name="connsiteX0" fmla="*/ 1018 w 8784"/>
                  <a:gd name="connsiteY0" fmla="*/ 13081 h 15366"/>
                  <a:gd name="connsiteX1" fmla="*/ 1782 w 8784"/>
                  <a:gd name="connsiteY1" fmla="*/ 13843 h 15366"/>
                  <a:gd name="connsiteX2" fmla="*/ 2801 w 8784"/>
                  <a:gd name="connsiteY2" fmla="*/ 14351 h 15366"/>
                  <a:gd name="connsiteX3" fmla="*/ 4074 w 8784"/>
                  <a:gd name="connsiteY3" fmla="*/ 14605 h 15366"/>
                  <a:gd name="connsiteX4" fmla="*/ 5347 w 8784"/>
                  <a:gd name="connsiteY4" fmla="*/ 14351 h 15366"/>
                  <a:gd name="connsiteX5" fmla="*/ 6366 w 8784"/>
                  <a:gd name="connsiteY5" fmla="*/ 13716 h 15366"/>
                  <a:gd name="connsiteX6" fmla="*/ 7002 w 8784"/>
                  <a:gd name="connsiteY6" fmla="*/ 12700 h 15366"/>
                  <a:gd name="connsiteX7" fmla="*/ 7257 w 8784"/>
                  <a:gd name="connsiteY7" fmla="*/ 11430 h 15366"/>
                  <a:gd name="connsiteX8" fmla="*/ 6748 w 8784"/>
                  <a:gd name="connsiteY8" fmla="*/ 9906 h 15366"/>
                  <a:gd name="connsiteX9" fmla="*/ 5474 w 8784"/>
                  <a:gd name="connsiteY9" fmla="*/ 8890 h 15366"/>
                  <a:gd name="connsiteX10" fmla="*/ 3819 w 8784"/>
                  <a:gd name="connsiteY10" fmla="*/ 8128 h 15366"/>
                  <a:gd name="connsiteX11" fmla="*/ 2164 w 8784"/>
                  <a:gd name="connsiteY11" fmla="*/ 7366 h 15366"/>
                  <a:gd name="connsiteX12" fmla="*/ 891 w 8784"/>
                  <a:gd name="connsiteY12" fmla="*/ 6096 h 15366"/>
                  <a:gd name="connsiteX13" fmla="*/ 382 w 8784"/>
                  <a:gd name="connsiteY13" fmla="*/ 4064 h 15366"/>
                  <a:gd name="connsiteX14" fmla="*/ 764 w 8784"/>
                  <a:gd name="connsiteY14" fmla="*/ 2413 h 15366"/>
                  <a:gd name="connsiteX15" fmla="*/ 1655 w 8784"/>
                  <a:gd name="connsiteY15" fmla="*/ 1143 h 15366"/>
                  <a:gd name="connsiteX16" fmla="*/ 3183 w 8784"/>
                  <a:gd name="connsiteY16" fmla="*/ 254 h 15366"/>
                  <a:gd name="connsiteX17" fmla="*/ 5092 w 8784"/>
                  <a:gd name="connsiteY17" fmla="*/ 0 h 15366"/>
                  <a:gd name="connsiteX18" fmla="*/ 6875 w 8784"/>
                  <a:gd name="connsiteY18" fmla="*/ 254 h 15366"/>
                  <a:gd name="connsiteX19" fmla="*/ 8275 w 8784"/>
                  <a:gd name="connsiteY19" fmla="*/ 1016 h 15366"/>
                  <a:gd name="connsiteX20" fmla="*/ 7893 w 8784"/>
                  <a:gd name="connsiteY20" fmla="*/ 1778 h 15366"/>
                  <a:gd name="connsiteX21" fmla="*/ 7639 w 8784"/>
                  <a:gd name="connsiteY21" fmla="*/ 2794 h 15366"/>
                  <a:gd name="connsiteX22" fmla="*/ 7384 w 8784"/>
                  <a:gd name="connsiteY22" fmla="*/ 2794 h 15366"/>
                  <a:gd name="connsiteX23" fmla="*/ 7130 w 8784"/>
                  <a:gd name="connsiteY23" fmla="*/ 2159 h 15366"/>
                  <a:gd name="connsiteX24" fmla="*/ 6620 w 8784"/>
                  <a:gd name="connsiteY24" fmla="*/ 1524 h 15366"/>
                  <a:gd name="connsiteX25" fmla="*/ 5856 w 8784"/>
                  <a:gd name="connsiteY25" fmla="*/ 1016 h 15366"/>
                  <a:gd name="connsiteX26" fmla="*/ 4838 w 8784"/>
                  <a:gd name="connsiteY26" fmla="*/ 762 h 15366"/>
                  <a:gd name="connsiteX27" fmla="*/ 3692 w 8784"/>
                  <a:gd name="connsiteY27" fmla="*/ 1016 h 15366"/>
                  <a:gd name="connsiteX28" fmla="*/ 2801 w 8784"/>
                  <a:gd name="connsiteY28" fmla="*/ 1524 h 15366"/>
                  <a:gd name="connsiteX29" fmla="*/ 2164 w 8784"/>
                  <a:gd name="connsiteY29" fmla="*/ 2413 h 15366"/>
                  <a:gd name="connsiteX30" fmla="*/ 1910 w 8784"/>
                  <a:gd name="connsiteY30" fmla="*/ 3429 h 15366"/>
                  <a:gd name="connsiteX31" fmla="*/ 2419 w 8784"/>
                  <a:gd name="connsiteY31" fmla="*/ 4953 h 15366"/>
                  <a:gd name="connsiteX32" fmla="*/ 3692 w 8784"/>
                  <a:gd name="connsiteY32" fmla="*/ 5969 h 15366"/>
                  <a:gd name="connsiteX33" fmla="*/ 5347 w 8784"/>
                  <a:gd name="connsiteY33" fmla="*/ 6731 h 15366"/>
                  <a:gd name="connsiteX34" fmla="*/ 7002 w 8784"/>
                  <a:gd name="connsiteY34" fmla="*/ 7493 h 15366"/>
                  <a:gd name="connsiteX35" fmla="*/ 8275 w 8784"/>
                  <a:gd name="connsiteY35" fmla="*/ 8636 h 15366"/>
                  <a:gd name="connsiteX36" fmla="*/ 8785 w 8784"/>
                  <a:gd name="connsiteY36" fmla="*/ 10541 h 15366"/>
                  <a:gd name="connsiteX37" fmla="*/ 8403 w 8784"/>
                  <a:gd name="connsiteY37" fmla="*/ 12446 h 15366"/>
                  <a:gd name="connsiteX38" fmla="*/ 7384 w 8784"/>
                  <a:gd name="connsiteY38" fmla="*/ 13970 h 15366"/>
                  <a:gd name="connsiteX39" fmla="*/ 5729 w 8784"/>
                  <a:gd name="connsiteY39" fmla="*/ 14986 h 15366"/>
                  <a:gd name="connsiteX40" fmla="*/ 3565 w 8784"/>
                  <a:gd name="connsiteY40" fmla="*/ 15367 h 15366"/>
                  <a:gd name="connsiteX41" fmla="*/ 1400 w 8784"/>
                  <a:gd name="connsiteY41" fmla="*/ 14986 h 15366"/>
                  <a:gd name="connsiteX42" fmla="*/ 0 w 8784"/>
                  <a:gd name="connsiteY42" fmla="*/ 14224 h 15366"/>
                  <a:gd name="connsiteX43" fmla="*/ 254 w 8784"/>
                  <a:gd name="connsiteY43" fmla="*/ 13335 h 15366"/>
                  <a:gd name="connsiteX44" fmla="*/ 382 w 8784"/>
                  <a:gd name="connsiteY44" fmla="*/ 12319 h 15366"/>
                  <a:gd name="connsiteX45" fmla="*/ 636 w 8784"/>
                  <a:gd name="connsiteY45" fmla="*/ 12319 h 15366"/>
                  <a:gd name="connsiteX46" fmla="*/ 1146 w 8784"/>
                  <a:gd name="connsiteY46" fmla="*/ 13081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84" h="15366">
                    <a:moveTo>
                      <a:pt x="1018" y="13081"/>
                    </a:moveTo>
                    <a:cubicBezTo>
                      <a:pt x="1018" y="13081"/>
                      <a:pt x="1400" y="13589"/>
                      <a:pt x="1782" y="13843"/>
                    </a:cubicBezTo>
                    <a:cubicBezTo>
                      <a:pt x="2164" y="14097"/>
                      <a:pt x="2419" y="14224"/>
                      <a:pt x="2801" y="14351"/>
                    </a:cubicBezTo>
                    <a:cubicBezTo>
                      <a:pt x="3183" y="14478"/>
                      <a:pt x="3565" y="14605"/>
                      <a:pt x="4074" y="14605"/>
                    </a:cubicBezTo>
                    <a:cubicBezTo>
                      <a:pt x="4583" y="14605"/>
                      <a:pt x="4965" y="14605"/>
                      <a:pt x="5347" y="14351"/>
                    </a:cubicBezTo>
                    <a:cubicBezTo>
                      <a:pt x="5729" y="14224"/>
                      <a:pt x="5984" y="13970"/>
                      <a:pt x="6366" y="13716"/>
                    </a:cubicBezTo>
                    <a:cubicBezTo>
                      <a:pt x="6620" y="13462"/>
                      <a:pt x="6875" y="13081"/>
                      <a:pt x="7002" y="12700"/>
                    </a:cubicBezTo>
                    <a:cubicBezTo>
                      <a:pt x="7130" y="12319"/>
                      <a:pt x="7257" y="11938"/>
                      <a:pt x="7257" y="11430"/>
                    </a:cubicBezTo>
                    <a:cubicBezTo>
                      <a:pt x="7257" y="10795"/>
                      <a:pt x="7130" y="10287"/>
                      <a:pt x="6748" y="9906"/>
                    </a:cubicBezTo>
                    <a:cubicBezTo>
                      <a:pt x="6366" y="9525"/>
                      <a:pt x="5984" y="9144"/>
                      <a:pt x="5474" y="8890"/>
                    </a:cubicBezTo>
                    <a:cubicBezTo>
                      <a:pt x="4965" y="8636"/>
                      <a:pt x="4456" y="8382"/>
                      <a:pt x="3819" y="8128"/>
                    </a:cubicBezTo>
                    <a:cubicBezTo>
                      <a:pt x="3183" y="7874"/>
                      <a:pt x="2673" y="7620"/>
                      <a:pt x="2164" y="7366"/>
                    </a:cubicBezTo>
                    <a:cubicBezTo>
                      <a:pt x="1655" y="6985"/>
                      <a:pt x="1273" y="6604"/>
                      <a:pt x="891" y="6096"/>
                    </a:cubicBezTo>
                    <a:cubicBezTo>
                      <a:pt x="509" y="5588"/>
                      <a:pt x="382" y="4953"/>
                      <a:pt x="382" y="4064"/>
                    </a:cubicBezTo>
                    <a:cubicBezTo>
                      <a:pt x="382" y="3429"/>
                      <a:pt x="382" y="2921"/>
                      <a:pt x="764" y="2413"/>
                    </a:cubicBezTo>
                    <a:cubicBezTo>
                      <a:pt x="1018" y="1905"/>
                      <a:pt x="1273" y="1524"/>
                      <a:pt x="1655" y="1143"/>
                    </a:cubicBezTo>
                    <a:cubicBezTo>
                      <a:pt x="2037" y="762"/>
                      <a:pt x="2546" y="508"/>
                      <a:pt x="3183" y="254"/>
                    </a:cubicBezTo>
                    <a:cubicBezTo>
                      <a:pt x="3692" y="0"/>
                      <a:pt x="4456" y="0"/>
                      <a:pt x="5092" y="0"/>
                    </a:cubicBezTo>
                    <a:cubicBezTo>
                      <a:pt x="5729" y="0"/>
                      <a:pt x="6366" y="0"/>
                      <a:pt x="6875" y="254"/>
                    </a:cubicBezTo>
                    <a:cubicBezTo>
                      <a:pt x="7384" y="381"/>
                      <a:pt x="7893" y="635"/>
                      <a:pt x="8275" y="1016"/>
                    </a:cubicBezTo>
                    <a:cubicBezTo>
                      <a:pt x="8148" y="1270"/>
                      <a:pt x="8021" y="1524"/>
                      <a:pt x="7893" y="1778"/>
                    </a:cubicBezTo>
                    <a:cubicBezTo>
                      <a:pt x="7893" y="2032"/>
                      <a:pt x="7766" y="2413"/>
                      <a:pt x="7639" y="2794"/>
                    </a:cubicBezTo>
                    <a:lnTo>
                      <a:pt x="7384" y="2794"/>
                    </a:lnTo>
                    <a:cubicBezTo>
                      <a:pt x="7384" y="2794"/>
                      <a:pt x="7257" y="2413"/>
                      <a:pt x="7130" y="2159"/>
                    </a:cubicBezTo>
                    <a:cubicBezTo>
                      <a:pt x="7130" y="1905"/>
                      <a:pt x="6875" y="1651"/>
                      <a:pt x="6620" y="1524"/>
                    </a:cubicBezTo>
                    <a:cubicBezTo>
                      <a:pt x="6366" y="1270"/>
                      <a:pt x="6111" y="1143"/>
                      <a:pt x="5856" y="1016"/>
                    </a:cubicBezTo>
                    <a:cubicBezTo>
                      <a:pt x="5602" y="889"/>
                      <a:pt x="5220" y="762"/>
                      <a:pt x="4838" y="762"/>
                    </a:cubicBezTo>
                    <a:cubicBezTo>
                      <a:pt x="4456" y="762"/>
                      <a:pt x="4074" y="762"/>
                      <a:pt x="3692" y="1016"/>
                    </a:cubicBezTo>
                    <a:cubicBezTo>
                      <a:pt x="3310" y="1143"/>
                      <a:pt x="3055" y="1270"/>
                      <a:pt x="2801" y="1524"/>
                    </a:cubicBezTo>
                    <a:cubicBezTo>
                      <a:pt x="2546" y="1778"/>
                      <a:pt x="2419" y="2032"/>
                      <a:pt x="2164" y="2413"/>
                    </a:cubicBezTo>
                    <a:cubicBezTo>
                      <a:pt x="2037" y="2794"/>
                      <a:pt x="1910" y="3048"/>
                      <a:pt x="1910" y="3429"/>
                    </a:cubicBezTo>
                    <a:cubicBezTo>
                      <a:pt x="1910" y="4064"/>
                      <a:pt x="2037" y="4572"/>
                      <a:pt x="2419" y="4953"/>
                    </a:cubicBezTo>
                    <a:cubicBezTo>
                      <a:pt x="2801" y="5334"/>
                      <a:pt x="3183" y="5715"/>
                      <a:pt x="3692" y="5969"/>
                    </a:cubicBezTo>
                    <a:cubicBezTo>
                      <a:pt x="4201" y="6223"/>
                      <a:pt x="4711" y="6477"/>
                      <a:pt x="5347" y="6731"/>
                    </a:cubicBezTo>
                    <a:cubicBezTo>
                      <a:pt x="5984" y="6985"/>
                      <a:pt x="6493" y="7239"/>
                      <a:pt x="7002" y="7493"/>
                    </a:cubicBezTo>
                    <a:cubicBezTo>
                      <a:pt x="7512" y="7747"/>
                      <a:pt x="7893" y="8128"/>
                      <a:pt x="8275" y="8636"/>
                    </a:cubicBezTo>
                    <a:cubicBezTo>
                      <a:pt x="8657" y="9144"/>
                      <a:pt x="8785" y="9779"/>
                      <a:pt x="8785" y="10541"/>
                    </a:cubicBezTo>
                    <a:cubicBezTo>
                      <a:pt x="8785" y="11176"/>
                      <a:pt x="8785" y="11811"/>
                      <a:pt x="8403" y="12446"/>
                    </a:cubicBezTo>
                    <a:cubicBezTo>
                      <a:pt x="8148" y="13081"/>
                      <a:pt x="7766" y="13589"/>
                      <a:pt x="7384" y="13970"/>
                    </a:cubicBezTo>
                    <a:cubicBezTo>
                      <a:pt x="6875" y="14351"/>
                      <a:pt x="6366" y="14732"/>
                      <a:pt x="5729" y="14986"/>
                    </a:cubicBezTo>
                    <a:cubicBezTo>
                      <a:pt x="5092" y="15240"/>
                      <a:pt x="4329" y="15367"/>
                      <a:pt x="3565" y="15367"/>
                    </a:cubicBezTo>
                    <a:cubicBezTo>
                      <a:pt x="2673" y="15367"/>
                      <a:pt x="1910" y="15367"/>
                      <a:pt x="1400" y="14986"/>
                    </a:cubicBezTo>
                    <a:cubicBezTo>
                      <a:pt x="891" y="14732"/>
                      <a:pt x="382" y="14478"/>
                      <a:pt x="0" y="14224"/>
                    </a:cubicBezTo>
                    <a:cubicBezTo>
                      <a:pt x="127" y="13843"/>
                      <a:pt x="254" y="13589"/>
                      <a:pt x="254" y="13335"/>
                    </a:cubicBezTo>
                    <a:cubicBezTo>
                      <a:pt x="254" y="13081"/>
                      <a:pt x="254" y="12700"/>
                      <a:pt x="382" y="12319"/>
                    </a:cubicBezTo>
                    <a:lnTo>
                      <a:pt x="636" y="12319"/>
                    </a:lnTo>
                    <a:cubicBezTo>
                      <a:pt x="636" y="12319"/>
                      <a:pt x="891" y="12827"/>
                      <a:pt x="1146" y="13081"/>
                    </a:cubicBezTo>
                    <a:close/>
                  </a:path>
                </a:pathLst>
              </a:custGeom>
              <a:solidFill>
                <a:srgbClr val="FFFFFF"/>
              </a:solidFill>
              <a:ln w="0" cap="flat">
                <a:noFill/>
                <a:prstDash val="solid"/>
                <a:miter/>
              </a:ln>
            </p:spPr>
            <p:txBody>
              <a:bodyPr rtlCol="0" anchor="ctr"/>
              <a:lstStyle/>
              <a:p>
                <a:endParaRPr lang="en-AD" sz="2400"/>
              </a:p>
            </p:txBody>
          </p:sp>
          <p:sp>
            <p:nvSpPr>
              <p:cNvPr id="195" name="Freeform 194">
                <a:extLst>
                  <a:ext uri="{FF2B5EF4-FFF2-40B4-BE49-F238E27FC236}">
                    <a16:creationId xmlns:a16="http://schemas.microsoft.com/office/drawing/2014/main" id="{5286BBF4-C71E-6803-2C4E-4BE7EBCF8946}"/>
                  </a:ext>
                </a:extLst>
              </p:cNvPr>
              <p:cNvSpPr/>
              <p:nvPr/>
            </p:nvSpPr>
            <p:spPr>
              <a:xfrm>
                <a:off x="4271919"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2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5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2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2" y="9906"/>
                    </a:cubicBezTo>
                    <a:cubicBezTo>
                      <a:pt x="5602" y="9906"/>
                      <a:pt x="6239" y="9779"/>
                      <a:pt x="6621" y="9525"/>
                    </a:cubicBezTo>
                    <a:cubicBezTo>
                      <a:pt x="7003" y="9271"/>
                      <a:pt x="7384" y="8890"/>
                      <a:pt x="7639" y="8509"/>
                    </a:cubicBezTo>
                    <a:cubicBezTo>
                      <a:pt x="7893" y="8128"/>
                      <a:pt x="8021" y="7620"/>
                      <a:pt x="8148" y="6985"/>
                    </a:cubicBezTo>
                    <a:cubicBezTo>
                      <a:pt x="8148" y="6477"/>
                      <a:pt x="8275" y="5842"/>
                      <a:pt x="8275" y="5207"/>
                    </a:cubicBezTo>
                    <a:cubicBezTo>
                      <a:pt x="8275" y="4572"/>
                      <a:pt x="8275" y="4064"/>
                      <a:pt x="8148" y="3429"/>
                    </a:cubicBezTo>
                    <a:cubicBezTo>
                      <a:pt x="8148" y="2921"/>
                      <a:pt x="7893" y="2413"/>
                      <a:pt x="7639" y="1905"/>
                    </a:cubicBezTo>
                    <a:cubicBezTo>
                      <a:pt x="7384" y="1524"/>
                      <a:pt x="7003" y="1143"/>
                      <a:pt x="6621" y="889"/>
                    </a:cubicBezTo>
                    <a:cubicBezTo>
                      <a:pt x="6239" y="635"/>
                      <a:pt x="5602" y="508"/>
                      <a:pt x="5092"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196" name="Freeform 195">
                <a:extLst>
                  <a:ext uri="{FF2B5EF4-FFF2-40B4-BE49-F238E27FC236}">
                    <a16:creationId xmlns:a16="http://schemas.microsoft.com/office/drawing/2014/main" id="{B123DBDC-7E0A-8B3B-CF3D-0E19D4EF3918}"/>
                  </a:ext>
                </a:extLst>
              </p:cNvPr>
              <p:cNvSpPr/>
              <p:nvPr/>
            </p:nvSpPr>
            <p:spPr>
              <a:xfrm>
                <a:off x="4285288" y="4845811"/>
                <a:ext cx="2037" cy="15875"/>
              </a:xfrm>
              <a:custGeom>
                <a:avLst/>
                <a:gdLst>
                  <a:gd name="connsiteX0" fmla="*/ 0 w 2037"/>
                  <a:gd name="connsiteY0" fmla="*/ 4572 h 15875"/>
                  <a:gd name="connsiteX1" fmla="*/ 0 w 2037"/>
                  <a:gd name="connsiteY1" fmla="*/ 2921 h 15875"/>
                  <a:gd name="connsiteX2" fmla="*/ 0 w 2037"/>
                  <a:gd name="connsiteY2" fmla="*/ 1270 h 15875"/>
                  <a:gd name="connsiteX3" fmla="*/ 0 w 2037"/>
                  <a:gd name="connsiteY3" fmla="*/ 0 h 15875"/>
                  <a:gd name="connsiteX4" fmla="*/ 1018 w 2037"/>
                  <a:gd name="connsiteY4" fmla="*/ 0 h 15875"/>
                  <a:gd name="connsiteX5" fmla="*/ 2037 w 2037"/>
                  <a:gd name="connsiteY5" fmla="*/ 0 h 15875"/>
                  <a:gd name="connsiteX6" fmla="*/ 2037 w 2037"/>
                  <a:gd name="connsiteY6" fmla="*/ 1270 h 15875"/>
                  <a:gd name="connsiteX7" fmla="*/ 2037 w 2037"/>
                  <a:gd name="connsiteY7" fmla="*/ 2921 h 15875"/>
                  <a:gd name="connsiteX8" fmla="*/ 2037 w 2037"/>
                  <a:gd name="connsiteY8" fmla="*/ 4572 h 15875"/>
                  <a:gd name="connsiteX9" fmla="*/ 2037 w 2037"/>
                  <a:gd name="connsiteY9" fmla="*/ 6096 h 15875"/>
                  <a:gd name="connsiteX10" fmla="*/ 2037 w 2037"/>
                  <a:gd name="connsiteY10" fmla="*/ 9906 h 15875"/>
                  <a:gd name="connsiteX11" fmla="*/ 2037 w 2037"/>
                  <a:gd name="connsiteY11" fmla="*/ 11430 h 15875"/>
                  <a:gd name="connsiteX12" fmla="*/ 2037 w 2037"/>
                  <a:gd name="connsiteY12" fmla="*/ 13081 h 15875"/>
                  <a:gd name="connsiteX13" fmla="*/ 2037 w 2037"/>
                  <a:gd name="connsiteY13" fmla="*/ 14605 h 15875"/>
                  <a:gd name="connsiteX14" fmla="*/ 2037 w 2037"/>
                  <a:gd name="connsiteY14" fmla="*/ 15875 h 15875"/>
                  <a:gd name="connsiteX15" fmla="*/ 1018 w 2037"/>
                  <a:gd name="connsiteY15" fmla="*/ 15875 h 15875"/>
                  <a:gd name="connsiteX16" fmla="*/ 0 w 2037"/>
                  <a:gd name="connsiteY16" fmla="*/ 15875 h 15875"/>
                  <a:gd name="connsiteX17" fmla="*/ 0 w 2037"/>
                  <a:gd name="connsiteY17" fmla="*/ 14605 h 15875"/>
                  <a:gd name="connsiteX18" fmla="*/ 0 w 2037"/>
                  <a:gd name="connsiteY18" fmla="*/ 13081 h 15875"/>
                  <a:gd name="connsiteX19" fmla="*/ 0 w 2037"/>
                  <a:gd name="connsiteY19" fmla="*/ 11430 h 15875"/>
                  <a:gd name="connsiteX20" fmla="*/ 0 w 2037"/>
                  <a:gd name="connsiteY20" fmla="*/ 9906 h 15875"/>
                  <a:gd name="connsiteX21" fmla="*/ 0 w 2037"/>
                  <a:gd name="connsiteY21" fmla="*/ 6096 h 15875"/>
                  <a:gd name="connsiteX22" fmla="*/ 0 w 2037"/>
                  <a:gd name="connsiteY22" fmla="*/ 4572 h 1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37" h="15875">
                    <a:moveTo>
                      <a:pt x="0" y="4572"/>
                    </a:moveTo>
                    <a:cubicBezTo>
                      <a:pt x="0" y="4572"/>
                      <a:pt x="0" y="3429"/>
                      <a:pt x="0" y="2921"/>
                    </a:cubicBezTo>
                    <a:cubicBezTo>
                      <a:pt x="0" y="2413"/>
                      <a:pt x="0" y="1778"/>
                      <a:pt x="0" y="1270"/>
                    </a:cubicBezTo>
                    <a:cubicBezTo>
                      <a:pt x="0" y="762"/>
                      <a:pt x="0" y="381"/>
                      <a:pt x="0" y="0"/>
                    </a:cubicBezTo>
                    <a:cubicBezTo>
                      <a:pt x="382" y="0"/>
                      <a:pt x="764" y="0"/>
                      <a:pt x="1018" y="0"/>
                    </a:cubicBezTo>
                    <a:cubicBezTo>
                      <a:pt x="1273" y="0"/>
                      <a:pt x="1528" y="0"/>
                      <a:pt x="2037" y="0"/>
                    </a:cubicBezTo>
                    <a:cubicBezTo>
                      <a:pt x="2037" y="381"/>
                      <a:pt x="2037" y="762"/>
                      <a:pt x="2037" y="1270"/>
                    </a:cubicBezTo>
                    <a:cubicBezTo>
                      <a:pt x="2037" y="1778"/>
                      <a:pt x="2037" y="2286"/>
                      <a:pt x="2037" y="2921"/>
                    </a:cubicBezTo>
                    <a:cubicBezTo>
                      <a:pt x="2037" y="3429"/>
                      <a:pt x="2037" y="4064"/>
                      <a:pt x="2037" y="4572"/>
                    </a:cubicBezTo>
                    <a:cubicBezTo>
                      <a:pt x="2037" y="5080"/>
                      <a:pt x="2037" y="5715"/>
                      <a:pt x="2037" y="6096"/>
                    </a:cubicBezTo>
                    <a:lnTo>
                      <a:pt x="2037" y="9906"/>
                    </a:lnTo>
                    <a:cubicBezTo>
                      <a:pt x="2037" y="9906"/>
                      <a:pt x="2037" y="10922"/>
                      <a:pt x="2037" y="11430"/>
                    </a:cubicBezTo>
                    <a:cubicBezTo>
                      <a:pt x="2037" y="11938"/>
                      <a:pt x="2037" y="12573"/>
                      <a:pt x="2037" y="13081"/>
                    </a:cubicBezTo>
                    <a:cubicBezTo>
                      <a:pt x="2037" y="13589"/>
                      <a:pt x="2037" y="14224"/>
                      <a:pt x="2037" y="14605"/>
                    </a:cubicBezTo>
                    <a:cubicBezTo>
                      <a:pt x="2037" y="15113"/>
                      <a:pt x="2037" y="15494"/>
                      <a:pt x="2037" y="15875"/>
                    </a:cubicBezTo>
                    <a:cubicBezTo>
                      <a:pt x="1655" y="15875"/>
                      <a:pt x="1400" y="15875"/>
                      <a:pt x="1018" y="15875"/>
                    </a:cubicBezTo>
                    <a:cubicBezTo>
                      <a:pt x="636" y="15875"/>
                      <a:pt x="382" y="15875"/>
                      <a:pt x="0" y="15875"/>
                    </a:cubicBezTo>
                    <a:cubicBezTo>
                      <a:pt x="0" y="15494"/>
                      <a:pt x="0" y="15113"/>
                      <a:pt x="0" y="14605"/>
                    </a:cubicBezTo>
                    <a:cubicBezTo>
                      <a:pt x="0" y="14097"/>
                      <a:pt x="0" y="13589"/>
                      <a:pt x="0" y="13081"/>
                    </a:cubicBezTo>
                    <a:cubicBezTo>
                      <a:pt x="0" y="12573"/>
                      <a:pt x="0" y="11938"/>
                      <a:pt x="0" y="11430"/>
                    </a:cubicBezTo>
                    <a:cubicBezTo>
                      <a:pt x="0" y="10922"/>
                      <a:pt x="0" y="10287"/>
                      <a:pt x="0" y="9906"/>
                    </a:cubicBezTo>
                    <a:lnTo>
                      <a:pt x="0" y="6096"/>
                    </a:lnTo>
                    <a:cubicBezTo>
                      <a:pt x="0" y="6096"/>
                      <a:pt x="0" y="5080"/>
                      <a:pt x="0" y="4572"/>
                    </a:cubicBezTo>
                    <a:close/>
                  </a:path>
                </a:pathLst>
              </a:custGeom>
              <a:solidFill>
                <a:srgbClr val="FFFFFF"/>
              </a:solidFill>
              <a:ln w="0" cap="flat">
                <a:noFill/>
                <a:prstDash val="solid"/>
                <a:miter/>
              </a:ln>
            </p:spPr>
            <p:txBody>
              <a:bodyPr rtlCol="0" anchor="ctr"/>
              <a:lstStyle/>
              <a:p>
                <a:endParaRPr lang="en-AD" sz="2400"/>
              </a:p>
            </p:txBody>
          </p:sp>
          <p:sp>
            <p:nvSpPr>
              <p:cNvPr id="197" name="Freeform 196">
                <a:extLst>
                  <a:ext uri="{FF2B5EF4-FFF2-40B4-BE49-F238E27FC236}">
                    <a16:creationId xmlns:a16="http://schemas.microsoft.com/office/drawing/2014/main" id="{0ADA7740-F9E3-D51F-81A7-28B33825C28D}"/>
                  </a:ext>
                </a:extLst>
              </p:cNvPr>
              <p:cNvSpPr/>
              <p:nvPr/>
            </p:nvSpPr>
            <p:spPr>
              <a:xfrm>
                <a:off x="4290890" y="4851653"/>
                <a:ext cx="8911" cy="10414"/>
              </a:xfrm>
              <a:custGeom>
                <a:avLst/>
                <a:gdLst>
                  <a:gd name="connsiteX0" fmla="*/ 0 w 8911"/>
                  <a:gd name="connsiteY0" fmla="*/ 6985 h 10414"/>
                  <a:gd name="connsiteX1" fmla="*/ 0 w 8911"/>
                  <a:gd name="connsiteY1" fmla="*/ 5080 h 10414"/>
                  <a:gd name="connsiteX2" fmla="*/ 0 w 8911"/>
                  <a:gd name="connsiteY2" fmla="*/ 3429 h 10414"/>
                  <a:gd name="connsiteX3" fmla="*/ 0 w 8911"/>
                  <a:gd name="connsiteY3" fmla="*/ 1778 h 10414"/>
                  <a:gd name="connsiteX4" fmla="*/ 0 w 8911"/>
                  <a:gd name="connsiteY4" fmla="*/ 0 h 10414"/>
                  <a:gd name="connsiteX5" fmla="*/ 891 w 8911"/>
                  <a:gd name="connsiteY5" fmla="*/ 0 h 10414"/>
                  <a:gd name="connsiteX6" fmla="*/ 1782 w 8911"/>
                  <a:gd name="connsiteY6" fmla="*/ 0 h 10414"/>
                  <a:gd name="connsiteX7" fmla="*/ 1655 w 8911"/>
                  <a:gd name="connsiteY7" fmla="*/ 2794 h 10414"/>
                  <a:gd name="connsiteX8" fmla="*/ 1655 w 8911"/>
                  <a:gd name="connsiteY8" fmla="*/ 5969 h 10414"/>
                  <a:gd name="connsiteX9" fmla="*/ 1910 w 8911"/>
                  <a:gd name="connsiteY9" fmla="*/ 7620 h 10414"/>
                  <a:gd name="connsiteX10" fmla="*/ 2419 w 8911"/>
                  <a:gd name="connsiteY10" fmla="*/ 8509 h 10414"/>
                  <a:gd name="connsiteX11" fmla="*/ 3183 w 8911"/>
                  <a:gd name="connsiteY11" fmla="*/ 9017 h 10414"/>
                  <a:gd name="connsiteX12" fmla="*/ 4201 w 8911"/>
                  <a:gd name="connsiteY12" fmla="*/ 9271 h 10414"/>
                  <a:gd name="connsiteX13" fmla="*/ 5729 w 8911"/>
                  <a:gd name="connsiteY13" fmla="*/ 8890 h 10414"/>
                  <a:gd name="connsiteX14" fmla="*/ 6620 w 8911"/>
                  <a:gd name="connsiteY14" fmla="*/ 7874 h 10414"/>
                  <a:gd name="connsiteX15" fmla="*/ 6875 w 8911"/>
                  <a:gd name="connsiteY15" fmla="*/ 7239 h 10414"/>
                  <a:gd name="connsiteX16" fmla="*/ 7002 w 8911"/>
                  <a:gd name="connsiteY16" fmla="*/ 6604 h 10414"/>
                  <a:gd name="connsiteX17" fmla="*/ 7002 w 8911"/>
                  <a:gd name="connsiteY17" fmla="*/ 5461 h 10414"/>
                  <a:gd name="connsiteX18" fmla="*/ 7002 w 8911"/>
                  <a:gd name="connsiteY18" fmla="*/ 3429 h 10414"/>
                  <a:gd name="connsiteX19" fmla="*/ 7002 w 8911"/>
                  <a:gd name="connsiteY19" fmla="*/ 1651 h 10414"/>
                  <a:gd name="connsiteX20" fmla="*/ 7002 w 8911"/>
                  <a:gd name="connsiteY20" fmla="*/ 762 h 10414"/>
                  <a:gd name="connsiteX21" fmla="*/ 7002 w 8911"/>
                  <a:gd name="connsiteY21" fmla="*/ 0 h 10414"/>
                  <a:gd name="connsiteX22" fmla="*/ 7512 w 8911"/>
                  <a:gd name="connsiteY22" fmla="*/ 0 h 10414"/>
                  <a:gd name="connsiteX23" fmla="*/ 8020 w 8911"/>
                  <a:gd name="connsiteY23" fmla="*/ 0 h 10414"/>
                  <a:gd name="connsiteX24" fmla="*/ 8530 w 8911"/>
                  <a:gd name="connsiteY24" fmla="*/ 0 h 10414"/>
                  <a:gd name="connsiteX25" fmla="*/ 8912 w 8911"/>
                  <a:gd name="connsiteY25" fmla="*/ 0 h 10414"/>
                  <a:gd name="connsiteX26" fmla="*/ 8784 w 8911"/>
                  <a:gd name="connsiteY26" fmla="*/ 3175 h 10414"/>
                  <a:gd name="connsiteX27" fmla="*/ 8784 w 8911"/>
                  <a:gd name="connsiteY27" fmla="*/ 6477 h 10414"/>
                  <a:gd name="connsiteX28" fmla="*/ 8784 w 8911"/>
                  <a:gd name="connsiteY28" fmla="*/ 8382 h 10414"/>
                  <a:gd name="connsiteX29" fmla="*/ 8784 w 8911"/>
                  <a:gd name="connsiteY29" fmla="*/ 10160 h 10414"/>
                  <a:gd name="connsiteX30" fmla="*/ 7893 w 8911"/>
                  <a:gd name="connsiteY30" fmla="*/ 10160 h 10414"/>
                  <a:gd name="connsiteX31" fmla="*/ 7002 w 8911"/>
                  <a:gd name="connsiteY31" fmla="*/ 10160 h 10414"/>
                  <a:gd name="connsiteX32" fmla="*/ 7002 w 8911"/>
                  <a:gd name="connsiteY32" fmla="*/ 9779 h 10414"/>
                  <a:gd name="connsiteX33" fmla="*/ 7002 w 8911"/>
                  <a:gd name="connsiteY33" fmla="*/ 9271 h 10414"/>
                  <a:gd name="connsiteX34" fmla="*/ 7002 w 8911"/>
                  <a:gd name="connsiteY34" fmla="*/ 8382 h 10414"/>
                  <a:gd name="connsiteX35" fmla="*/ 7002 w 8911"/>
                  <a:gd name="connsiteY35" fmla="*/ 8382 h 10414"/>
                  <a:gd name="connsiteX36" fmla="*/ 5601 w 8911"/>
                  <a:gd name="connsiteY36" fmla="*/ 9906 h 10414"/>
                  <a:gd name="connsiteX37" fmla="*/ 3692 w 8911"/>
                  <a:gd name="connsiteY37" fmla="*/ 10414 h 10414"/>
                  <a:gd name="connsiteX38" fmla="*/ 1018 w 8911"/>
                  <a:gd name="connsiteY38" fmla="*/ 9525 h 10414"/>
                  <a:gd name="connsiteX39" fmla="*/ 127 w 8911"/>
                  <a:gd name="connsiteY39" fmla="*/ 698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11" h="10414">
                    <a:moveTo>
                      <a:pt x="0" y="6985"/>
                    </a:moveTo>
                    <a:cubicBezTo>
                      <a:pt x="0" y="6223"/>
                      <a:pt x="0" y="5588"/>
                      <a:pt x="0" y="5080"/>
                    </a:cubicBezTo>
                    <a:cubicBezTo>
                      <a:pt x="0" y="4572"/>
                      <a:pt x="0" y="4064"/>
                      <a:pt x="0" y="3429"/>
                    </a:cubicBezTo>
                    <a:cubicBezTo>
                      <a:pt x="0" y="2921"/>
                      <a:pt x="0" y="2413"/>
                      <a:pt x="0" y="1778"/>
                    </a:cubicBezTo>
                    <a:cubicBezTo>
                      <a:pt x="0" y="1143"/>
                      <a:pt x="0" y="635"/>
                      <a:pt x="0" y="0"/>
                    </a:cubicBezTo>
                    <a:cubicBezTo>
                      <a:pt x="382" y="0"/>
                      <a:pt x="636" y="0"/>
                      <a:pt x="891" y="0"/>
                    </a:cubicBezTo>
                    <a:cubicBezTo>
                      <a:pt x="1146" y="0"/>
                      <a:pt x="1400" y="0"/>
                      <a:pt x="1782" y="0"/>
                    </a:cubicBezTo>
                    <a:cubicBezTo>
                      <a:pt x="1782" y="889"/>
                      <a:pt x="1782" y="1778"/>
                      <a:pt x="1655" y="2794"/>
                    </a:cubicBezTo>
                    <a:cubicBezTo>
                      <a:pt x="1655" y="3810"/>
                      <a:pt x="1655" y="4826"/>
                      <a:pt x="1655" y="5969"/>
                    </a:cubicBezTo>
                    <a:cubicBezTo>
                      <a:pt x="1655" y="6731"/>
                      <a:pt x="1655" y="7239"/>
                      <a:pt x="1910" y="7620"/>
                    </a:cubicBezTo>
                    <a:cubicBezTo>
                      <a:pt x="2037" y="8001"/>
                      <a:pt x="2164" y="8255"/>
                      <a:pt x="2419" y="8509"/>
                    </a:cubicBezTo>
                    <a:cubicBezTo>
                      <a:pt x="2673" y="8763"/>
                      <a:pt x="2928" y="8890"/>
                      <a:pt x="3183" y="9017"/>
                    </a:cubicBezTo>
                    <a:cubicBezTo>
                      <a:pt x="3437" y="9144"/>
                      <a:pt x="3819" y="9271"/>
                      <a:pt x="4201" y="9271"/>
                    </a:cubicBezTo>
                    <a:cubicBezTo>
                      <a:pt x="4838" y="9271"/>
                      <a:pt x="5347" y="9144"/>
                      <a:pt x="5729" y="8890"/>
                    </a:cubicBezTo>
                    <a:cubicBezTo>
                      <a:pt x="6111" y="8636"/>
                      <a:pt x="6366" y="8255"/>
                      <a:pt x="6620" y="7874"/>
                    </a:cubicBezTo>
                    <a:cubicBezTo>
                      <a:pt x="6620" y="7620"/>
                      <a:pt x="6748" y="7366"/>
                      <a:pt x="6875" y="7239"/>
                    </a:cubicBezTo>
                    <a:cubicBezTo>
                      <a:pt x="6875" y="7112"/>
                      <a:pt x="6875" y="6858"/>
                      <a:pt x="7002" y="6604"/>
                    </a:cubicBezTo>
                    <a:cubicBezTo>
                      <a:pt x="7130" y="6350"/>
                      <a:pt x="7002" y="5969"/>
                      <a:pt x="7002" y="5461"/>
                    </a:cubicBezTo>
                    <a:cubicBezTo>
                      <a:pt x="7002" y="4953"/>
                      <a:pt x="7002" y="4318"/>
                      <a:pt x="7002" y="3429"/>
                    </a:cubicBezTo>
                    <a:lnTo>
                      <a:pt x="7002" y="1651"/>
                    </a:lnTo>
                    <a:cubicBezTo>
                      <a:pt x="7002" y="1651"/>
                      <a:pt x="7002" y="1016"/>
                      <a:pt x="7002" y="762"/>
                    </a:cubicBezTo>
                    <a:cubicBezTo>
                      <a:pt x="7002" y="508"/>
                      <a:pt x="7002" y="254"/>
                      <a:pt x="7002" y="0"/>
                    </a:cubicBezTo>
                    <a:cubicBezTo>
                      <a:pt x="7130" y="0"/>
                      <a:pt x="7257" y="0"/>
                      <a:pt x="7512" y="0"/>
                    </a:cubicBezTo>
                    <a:cubicBezTo>
                      <a:pt x="7639" y="0"/>
                      <a:pt x="7766" y="0"/>
                      <a:pt x="8020" y="0"/>
                    </a:cubicBezTo>
                    <a:cubicBezTo>
                      <a:pt x="8275" y="0"/>
                      <a:pt x="8275" y="0"/>
                      <a:pt x="8530" y="0"/>
                    </a:cubicBezTo>
                    <a:cubicBezTo>
                      <a:pt x="8657" y="0"/>
                      <a:pt x="8784" y="0"/>
                      <a:pt x="8912" y="0"/>
                    </a:cubicBezTo>
                    <a:cubicBezTo>
                      <a:pt x="8912" y="1143"/>
                      <a:pt x="8912" y="2159"/>
                      <a:pt x="8784" y="3175"/>
                    </a:cubicBezTo>
                    <a:cubicBezTo>
                      <a:pt x="8657" y="4191"/>
                      <a:pt x="8784" y="5334"/>
                      <a:pt x="8784" y="6477"/>
                    </a:cubicBezTo>
                    <a:cubicBezTo>
                      <a:pt x="8784" y="7112"/>
                      <a:pt x="8784" y="7747"/>
                      <a:pt x="8784" y="8382"/>
                    </a:cubicBezTo>
                    <a:cubicBezTo>
                      <a:pt x="8784" y="9017"/>
                      <a:pt x="8784" y="9525"/>
                      <a:pt x="8784" y="10160"/>
                    </a:cubicBezTo>
                    <a:cubicBezTo>
                      <a:pt x="8530" y="10160"/>
                      <a:pt x="8275" y="10160"/>
                      <a:pt x="7893" y="10160"/>
                    </a:cubicBezTo>
                    <a:cubicBezTo>
                      <a:pt x="7512" y="10160"/>
                      <a:pt x="7384" y="10160"/>
                      <a:pt x="7002" y="10160"/>
                    </a:cubicBezTo>
                    <a:cubicBezTo>
                      <a:pt x="7002" y="10033"/>
                      <a:pt x="7002" y="9906"/>
                      <a:pt x="7002" y="9779"/>
                    </a:cubicBezTo>
                    <a:cubicBezTo>
                      <a:pt x="7002" y="9652"/>
                      <a:pt x="7002" y="9525"/>
                      <a:pt x="7002" y="9271"/>
                    </a:cubicBezTo>
                    <a:lnTo>
                      <a:pt x="7002" y="8382"/>
                    </a:lnTo>
                    <a:lnTo>
                      <a:pt x="7002" y="8382"/>
                    </a:lnTo>
                    <a:cubicBezTo>
                      <a:pt x="6620" y="9017"/>
                      <a:pt x="6111" y="9525"/>
                      <a:pt x="5601" y="9906"/>
                    </a:cubicBezTo>
                    <a:cubicBezTo>
                      <a:pt x="4965" y="10287"/>
                      <a:pt x="4329" y="10414"/>
                      <a:pt x="3692" y="10414"/>
                    </a:cubicBezTo>
                    <a:cubicBezTo>
                      <a:pt x="2546" y="10414"/>
                      <a:pt x="1655" y="10160"/>
                      <a:pt x="1018" y="9525"/>
                    </a:cubicBezTo>
                    <a:cubicBezTo>
                      <a:pt x="382" y="8890"/>
                      <a:pt x="127" y="8128"/>
                      <a:pt x="127" y="6985"/>
                    </a:cubicBezTo>
                    <a:close/>
                  </a:path>
                </a:pathLst>
              </a:custGeom>
              <a:solidFill>
                <a:srgbClr val="FFFFFF"/>
              </a:solidFill>
              <a:ln w="0" cap="flat">
                <a:noFill/>
                <a:prstDash val="solid"/>
                <a:miter/>
              </a:ln>
            </p:spPr>
            <p:txBody>
              <a:bodyPr rtlCol="0" anchor="ctr"/>
              <a:lstStyle/>
              <a:p>
                <a:endParaRPr lang="en-AD" sz="2400"/>
              </a:p>
            </p:txBody>
          </p:sp>
          <p:sp>
            <p:nvSpPr>
              <p:cNvPr id="198" name="Freeform 197">
                <a:extLst>
                  <a:ext uri="{FF2B5EF4-FFF2-40B4-BE49-F238E27FC236}">
                    <a16:creationId xmlns:a16="http://schemas.microsoft.com/office/drawing/2014/main" id="{DB9A338E-5B80-B239-3333-FA8AC0981489}"/>
                  </a:ext>
                </a:extLst>
              </p:cNvPr>
              <p:cNvSpPr/>
              <p:nvPr/>
            </p:nvSpPr>
            <p:spPr>
              <a:xfrm>
                <a:off x="4301838" y="4848859"/>
                <a:ext cx="5729" cy="13518"/>
              </a:xfrm>
              <a:custGeom>
                <a:avLst/>
                <a:gdLst>
                  <a:gd name="connsiteX0" fmla="*/ 2928 w 5729"/>
                  <a:gd name="connsiteY0" fmla="*/ 0 h 13518"/>
                  <a:gd name="connsiteX1" fmla="*/ 2928 w 5729"/>
                  <a:gd name="connsiteY1" fmla="*/ 1651 h 13518"/>
                  <a:gd name="connsiteX2" fmla="*/ 2928 w 5729"/>
                  <a:gd name="connsiteY2" fmla="*/ 3175 h 13518"/>
                  <a:gd name="connsiteX3" fmla="*/ 3819 w 5729"/>
                  <a:gd name="connsiteY3" fmla="*/ 3175 h 13518"/>
                  <a:gd name="connsiteX4" fmla="*/ 5220 w 5729"/>
                  <a:gd name="connsiteY4" fmla="*/ 3175 h 13518"/>
                  <a:gd name="connsiteX5" fmla="*/ 5220 w 5729"/>
                  <a:gd name="connsiteY5" fmla="*/ 3429 h 13518"/>
                  <a:gd name="connsiteX6" fmla="*/ 5220 w 5729"/>
                  <a:gd name="connsiteY6" fmla="*/ 3937 h 13518"/>
                  <a:gd name="connsiteX7" fmla="*/ 5220 w 5729"/>
                  <a:gd name="connsiteY7" fmla="*/ 4191 h 13518"/>
                  <a:gd name="connsiteX8" fmla="*/ 4584 w 5729"/>
                  <a:gd name="connsiteY8" fmla="*/ 4191 h 13518"/>
                  <a:gd name="connsiteX9" fmla="*/ 3947 w 5729"/>
                  <a:gd name="connsiteY9" fmla="*/ 4191 h 13518"/>
                  <a:gd name="connsiteX10" fmla="*/ 2928 w 5729"/>
                  <a:gd name="connsiteY10" fmla="*/ 4191 h 13518"/>
                  <a:gd name="connsiteX11" fmla="*/ 2928 w 5729"/>
                  <a:gd name="connsiteY11" fmla="*/ 4826 h 13518"/>
                  <a:gd name="connsiteX12" fmla="*/ 2928 w 5729"/>
                  <a:gd name="connsiteY12" fmla="*/ 6223 h 13518"/>
                  <a:gd name="connsiteX13" fmla="*/ 2928 w 5729"/>
                  <a:gd name="connsiteY13" fmla="*/ 8001 h 13518"/>
                  <a:gd name="connsiteX14" fmla="*/ 2928 w 5729"/>
                  <a:gd name="connsiteY14" fmla="*/ 9652 h 13518"/>
                  <a:gd name="connsiteX15" fmla="*/ 2928 w 5729"/>
                  <a:gd name="connsiteY15" fmla="*/ 10795 h 13518"/>
                  <a:gd name="connsiteX16" fmla="*/ 3183 w 5729"/>
                  <a:gd name="connsiteY16" fmla="*/ 11811 h 13518"/>
                  <a:gd name="connsiteX17" fmla="*/ 3692 w 5729"/>
                  <a:gd name="connsiteY17" fmla="*/ 12573 h 13518"/>
                  <a:gd name="connsiteX18" fmla="*/ 4711 w 5729"/>
                  <a:gd name="connsiteY18" fmla="*/ 12827 h 13518"/>
                  <a:gd name="connsiteX19" fmla="*/ 5220 w 5729"/>
                  <a:gd name="connsiteY19" fmla="*/ 12827 h 13518"/>
                  <a:gd name="connsiteX20" fmla="*/ 5729 w 5729"/>
                  <a:gd name="connsiteY20" fmla="*/ 12827 h 13518"/>
                  <a:gd name="connsiteX21" fmla="*/ 5729 w 5729"/>
                  <a:gd name="connsiteY21" fmla="*/ 13335 h 13518"/>
                  <a:gd name="connsiteX22" fmla="*/ 4965 w 5729"/>
                  <a:gd name="connsiteY22" fmla="*/ 13462 h 13518"/>
                  <a:gd name="connsiteX23" fmla="*/ 4074 w 5729"/>
                  <a:gd name="connsiteY23" fmla="*/ 13462 h 13518"/>
                  <a:gd name="connsiteX24" fmla="*/ 2037 w 5729"/>
                  <a:gd name="connsiteY24" fmla="*/ 12827 h 13518"/>
                  <a:gd name="connsiteX25" fmla="*/ 1401 w 5729"/>
                  <a:gd name="connsiteY25" fmla="*/ 10922 h 13518"/>
                  <a:gd name="connsiteX26" fmla="*/ 1401 w 5729"/>
                  <a:gd name="connsiteY26" fmla="*/ 9652 h 13518"/>
                  <a:gd name="connsiteX27" fmla="*/ 1401 w 5729"/>
                  <a:gd name="connsiteY27" fmla="*/ 8128 h 13518"/>
                  <a:gd name="connsiteX28" fmla="*/ 1401 w 5729"/>
                  <a:gd name="connsiteY28" fmla="*/ 6350 h 13518"/>
                  <a:gd name="connsiteX29" fmla="*/ 1401 w 5729"/>
                  <a:gd name="connsiteY29" fmla="*/ 4191 h 13518"/>
                  <a:gd name="connsiteX30" fmla="*/ 764 w 5729"/>
                  <a:gd name="connsiteY30" fmla="*/ 4191 h 13518"/>
                  <a:gd name="connsiteX31" fmla="*/ 382 w 5729"/>
                  <a:gd name="connsiteY31" fmla="*/ 4191 h 13518"/>
                  <a:gd name="connsiteX32" fmla="*/ 0 w 5729"/>
                  <a:gd name="connsiteY32" fmla="*/ 4191 h 13518"/>
                  <a:gd name="connsiteX33" fmla="*/ 0 w 5729"/>
                  <a:gd name="connsiteY33" fmla="*/ 3937 h 13518"/>
                  <a:gd name="connsiteX34" fmla="*/ 0 w 5729"/>
                  <a:gd name="connsiteY34" fmla="*/ 3683 h 13518"/>
                  <a:gd name="connsiteX35" fmla="*/ 0 w 5729"/>
                  <a:gd name="connsiteY35" fmla="*/ 3429 h 13518"/>
                  <a:gd name="connsiteX36" fmla="*/ 0 w 5729"/>
                  <a:gd name="connsiteY36" fmla="*/ 3175 h 13518"/>
                  <a:gd name="connsiteX37" fmla="*/ 1401 w 5729"/>
                  <a:gd name="connsiteY37" fmla="*/ 3175 h 13518"/>
                  <a:gd name="connsiteX38" fmla="*/ 1401 w 5729"/>
                  <a:gd name="connsiteY38" fmla="*/ 2159 h 13518"/>
                  <a:gd name="connsiteX39" fmla="*/ 1401 w 5729"/>
                  <a:gd name="connsiteY39" fmla="*/ 889 h 13518"/>
                  <a:gd name="connsiteX40" fmla="*/ 3183 w 5729"/>
                  <a:gd name="connsiteY40" fmla="*/ 127 h 13518"/>
                  <a:gd name="connsiteX41" fmla="*/ 3183 w 5729"/>
                  <a:gd name="connsiteY41" fmla="*/ 127 h 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729" h="13518">
                    <a:moveTo>
                      <a:pt x="2928" y="0"/>
                    </a:moveTo>
                    <a:cubicBezTo>
                      <a:pt x="2928" y="0"/>
                      <a:pt x="2928" y="1016"/>
                      <a:pt x="2928" y="1651"/>
                    </a:cubicBezTo>
                    <a:cubicBezTo>
                      <a:pt x="2928" y="2159"/>
                      <a:pt x="2928" y="2667"/>
                      <a:pt x="2928" y="3175"/>
                    </a:cubicBezTo>
                    <a:cubicBezTo>
                      <a:pt x="3055" y="3175"/>
                      <a:pt x="3437" y="3175"/>
                      <a:pt x="3819" y="3175"/>
                    </a:cubicBezTo>
                    <a:cubicBezTo>
                      <a:pt x="4201" y="3175"/>
                      <a:pt x="4711" y="3175"/>
                      <a:pt x="5220" y="3175"/>
                    </a:cubicBezTo>
                    <a:cubicBezTo>
                      <a:pt x="5220" y="3175"/>
                      <a:pt x="5220" y="3175"/>
                      <a:pt x="5220" y="3429"/>
                    </a:cubicBezTo>
                    <a:lnTo>
                      <a:pt x="5220" y="3937"/>
                    </a:lnTo>
                    <a:cubicBezTo>
                      <a:pt x="5220" y="3937"/>
                      <a:pt x="5220" y="4064"/>
                      <a:pt x="5220" y="4191"/>
                    </a:cubicBezTo>
                    <a:cubicBezTo>
                      <a:pt x="5092" y="4191"/>
                      <a:pt x="4838" y="4191"/>
                      <a:pt x="4584" y="4191"/>
                    </a:cubicBezTo>
                    <a:cubicBezTo>
                      <a:pt x="4329" y="4191"/>
                      <a:pt x="4201" y="4191"/>
                      <a:pt x="3947" y="4191"/>
                    </a:cubicBezTo>
                    <a:lnTo>
                      <a:pt x="2928" y="4191"/>
                    </a:lnTo>
                    <a:cubicBezTo>
                      <a:pt x="2928" y="4191"/>
                      <a:pt x="2928" y="4445"/>
                      <a:pt x="2928" y="4826"/>
                    </a:cubicBezTo>
                    <a:cubicBezTo>
                      <a:pt x="2928" y="5207"/>
                      <a:pt x="2928" y="5715"/>
                      <a:pt x="2928" y="6223"/>
                    </a:cubicBezTo>
                    <a:cubicBezTo>
                      <a:pt x="2928" y="6731"/>
                      <a:pt x="2928" y="7366"/>
                      <a:pt x="2928" y="8001"/>
                    </a:cubicBezTo>
                    <a:cubicBezTo>
                      <a:pt x="2928" y="8636"/>
                      <a:pt x="2928" y="9144"/>
                      <a:pt x="2928" y="9652"/>
                    </a:cubicBezTo>
                    <a:cubicBezTo>
                      <a:pt x="2928" y="10033"/>
                      <a:pt x="2928" y="10414"/>
                      <a:pt x="2928" y="10795"/>
                    </a:cubicBezTo>
                    <a:cubicBezTo>
                      <a:pt x="2928" y="11176"/>
                      <a:pt x="2928" y="11557"/>
                      <a:pt x="3183" y="11811"/>
                    </a:cubicBezTo>
                    <a:cubicBezTo>
                      <a:pt x="3183" y="12065"/>
                      <a:pt x="3437" y="12319"/>
                      <a:pt x="3692" y="12573"/>
                    </a:cubicBezTo>
                    <a:cubicBezTo>
                      <a:pt x="3947" y="12827"/>
                      <a:pt x="4201" y="12827"/>
                      <a:pt x="4711" y="12827"/>
                    </a:cubicBezTo>
                    <a:cubicBezTo>
                      <a:pt x="4711" y="12827"/>
                      <a:pt x="4965" y="12827"/>
                      <a:pt x="5220" y="12827"/>
                    </a:cubicBezTo>
                    <a:cubicBezTo>
                      <a:pt x="5474" y="12827"/>
                      <a:pt x="5602" y="12827"/>
                      <a:pt x="5729" y="12827"/>
                    </a:cubicBezTo>
                    <a:lnTo>
                      <a:pt x="5729" y="13335"/>
                    </a:lnTo>
                    <a:cubicBezTo>
                      <a:pt x="5729" y="13335"/>
                      <a:pt x="5220" y="13335"/>
                      <a:pt x="4965" y="13462"/>
                    </a:cubicBezTo>
                    <a:cubicBezTo>
                      <a:pt x="4711" y="13589"/>
                      <a:pt x="4329" y="13462"/>
                      <a:pt x="4074" y="13462"/>
                    </a:cubicBezTo>
                    <a:cubicBezTo>
                      <a:pt x="3183" y="13462"/>
                      <a:pt x="2546" y="13208"/>
                      <a:pt x="2037" y="12827"/>
                    </a:cubicBezTo>
                    <a:cubicBezTo>
                      <a:pt x="1655" y="12446"/>
                      <a:pt x="1401" y="11684"/>
                      <a:pt x="1401" y="10922"/>
                    </a:cubicBezTo>
                    <a:cubicBezTo>
                      <a:pt x="1401" y="10541"/>
                      <a:pt x="1401" y="10160"/>
                      <a:pt x="1401" y="9652"/>
                    </a:cubicBezTo>
                    <a:cubicBezTo>
                      <a:pt x="1401" y="9144"/>
                      <a:pt x="1401" y="8763"/>
                      <a:pt x="1401" y="8128"/>
                    </a:cubicBezTo>
                    <a:cubicBezTo>
                      <a:pt x="1401" y="7620"/>
                      <a:pt x="1401" y="6985"/>
                      <a:pt x="1401" y="6350"/>
                    </a:cubicBezTo>
                    <a:cubicBezTo>
                      <a:pt x="1401" y="5715"/>
                      <a:pt x="1401" y="4953"/>
                      <a:pt x="1401" y="4191"/>
                    </a:cubicBezTo>
                    <a:lnTo>
                      <a:pt x="764" y="4191"/>
                    </a:lnTo>
                    <a:cubicBezTo>
                      <a:pt x="764" y="4191"/>
                      <a:pt x="509" y="4191"/>
                      <a:pt x="382" y="4191"/>
                    </a:cubicBezTo>
                    <a:cubicBezTo>
                      <a:pt x="254" y="4191"/>
                      <a:pt x="127" y="4191"/>
                      <a:pt x="0" y="4191"/>
                    </a:cubicBezTo>
                    <a:cubicBezTo>
                      <a:pt x="0" y="4191"/>
                      <a:pt x="0" y="4064"/>
                      <a:pt x="0" y="3937"/>
                    </a:cubicBezTo>
                    <a:cubicBezTo>
                      <a:pt x="0" y="3937"/>
                      <a:pt x="0" y="3810"/>
                      <a:pt x="0" y="3683"/>
                    </a:cubicBezTo>
                    <a:cubicBezTo>
                      <a:pt x="0" y="3683"/>
                      <a:pt x="0" y="3556"/>
                      <a:pt x="0" y="3429"/>
                    </a:cubicBezTo>
                    <a:cubicBezTo>
                      <a:pt x="0" y="3429"/>
                      <a:pt x="0" y="3302"/>
                      <a:pt x="0" y="3175"/>
                    </a:cubicBezTo>
                    <a:cubicBezTo>
                      <a:pt x="636" y="3175"/>
                      <a:pt x="1146" y="3175"/>
                      <a:pt x="1401" y="3175"/>
                    </a:cubicBezTo>
                    <a:cubicBezTo>
                      <a:pt x="1401" y="2921"/>
                      <a:pt x="1401" y="2540"/>
                      <a:pt x="1401" y="2159"/>
                    </a:cubicBezTo>
                    <a:cubicBezTo>
                      <a:pt x="1401" y="1778"/>
                      <a:pt x="1401" y="1270"/>
                      <a:pt x="1401" y="889"/>
                    </a:cubicBezTo>
                    <a:lnTo>
                      <a:pt x="3183" y="127"/>
                    </a:lnTo>
                    <a:lnTo>
                      <a:pt x="3183" y="127"/>
                    </a:lnTo>
                    <a:close/>
                  </a:path>
                </a:pathLst>
              </a:custGeom>
              <a:solidFill>
                <a:srgbClr val="FFFFFF"/>
              </a:solidFill>
              <a:ln w="0" cap="flat">
                <a:noFill/>
                <a:prstDash val="solid"/>
                <a:miter/>
              </a:ln>
            </p:spPr>
            <p:txBody>
              <a:bodyPr rtlCol="0" anchor="ctr"/>
              <a:lstStyle/>
              <a:p>
                <a:endParaRPr lang="en-AD" sz="2400"/>
              </a:p>
            </p:txBody>
          </p:sp>
          <p:sp>
            <p:nvSpPr>
              <p:cNvPr id="199" name="Freeform 198">
                <a:extLst>
                  <a:ext uri="{FF2B5EF4-FFF2-40B4-BE49-F238E27FC236}">
                    <a16:creationId xmlns:a16="http://schemas.microsoft.com/office/drawing/2014/main" id="{B573DD7B-D520-C34E-76CA-CC580CE832A4}"/>
                  </a:ext>
                </a:extLst>
              </p:cNvPr>
              <p:cNvSpPr/>
              <p:nvPr/>
            </p:nvSpPr>
            <p:spPr>
              <a:xfrm>
                <a:off x="4309222"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255 w 2291"/>
                  <a:gd name="connsiteY9" fmla="*/ 8890 h 14985"/>
                  <a:gd name="connsiteX10" fmla="*/ 255 w 2291"/>
                  <a:gd name="connsiteY10" fmla="*/ 6858 h 14985"/>
                  <a:gd name="connsiteX11" fmla="*/ 127 w 2291"/>
                  <a:gd name="connsiteY11" fmla="*/ 4826 h 14985"/>
                  <a:gd name="connsiteX12" fmla="*/ 1146 w 2291"/>
                  <a:gd name="connsiteY12" fmla="*/ 4826 h 14985"/>
                  <a:gd name="connsiteX13" fmla="*/ 2165 w 2291"/>
                  <a:gd name="connsiteY13" fmla="*/ 4826 h 14985"/>
                  <a:gd name="connsiteX14" fmla="*/ 2037 w 2291"/>
                  <a:gd name="connsiteY14" fmla="*/ 6858 h 14985"/>
                  <a:gd name="connsiteX15" fmla="*/ 2037 w 2291"/>
                  <a:gd name="connsiteY15" fmla="*/ 8890 h 14985"/>
                  <a:gd name="connsiteX16" fmla="*/ 2037 w 2291"/>
                  <a:gd name="connsiteY16" fmla="*/ 11049 h 14985"/>
                  <a:gd name="connsiteX17" fmla="*/ 2037 w 2291"/>
                  <a:gd name="connsiteY17" fmla="*/ 13081 h 14985"/>
                  <a:gd name="connsiteX18" fmla="*/ 2165 w 2291"/>
                  <a:gd name="connsiteY18" fmla="*/ 14986 h 14985"/>
                  <a:gd name="connsiteX19" fmla="*/ 1146 w 2291"/>
                  <a:gd name="connsiteY19" fmla="*/ 14986 h 14985"/>
                  <a:gd name="connsiteX20" fmla="*/ 127 w 2291"/>
                  <a:gd name="connsiteY20" fmla="*/ 14986 h 14985"/>
                  <a:gd name="connsiteX21" fmla="*/ 255 w 2291"/>
                  <a:gd name="connsiteY21" fmla="*/ 13081 h 14985"/>
                  <a:gd name="connsiteX22" fmla="*/ 255 w 2291"/>
                  <a:gd name="connsiteY22" fmla="*/ 11049 h 14985"/>
                  <a:gd name="connsiteX23" fmla="*/ 255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7" y="127"/>
                      <a:pt x="891" y="0"/>
                      <a:pt x="1146" y="0"/>
                    </a:cubicBezTo>
                    <a:cubicBezTo>
                      <a:pt x="1401" y="0"/>
                      <a:pt x="1655" y="0"/>
                      <a:pt x="1910" y="381"/>
                    </a:cubicBezTo>
                    <a:cubicBezTo>
                      <a:pt x="2165" y="635"/>
                      <a:pt x="2292" y="889"/>
                      <a:pt x="2292" y="1143"/>
                    </a:cubicBezTo>
                    <a:cubicBezTo>
                      <a:pt x="2292" y="1397"/>
                      <a:pt x="2292" y="1651"/>
                      <a:pt x="1910" y="1905"/>
                    </a:cubicBezTo>
                    <a:cubicBezTo>
                      <a:pt x="1655" y="2159"/>
                      <a:pt x="1401" y="2286"/>
                      <a:pt x="1146" y="2286"/>
                    </a:cubicBezTo>
                    <a:cubicBezTo>
                      <a:pt x="891" y="2286"/>
                      <a:pt x="637" y="2286"/>
                      <a:pt x="382" y="1905"/>
                    </a:cubicBezTo>
                    <a:cubicBezTo>
                      <a:pt x="127" y="1651"/>
                      <a:pt x="0" y="1397"/>
                      <a:pt x="0" y="1143"/>
                    </a:cubicBezTo>
                    <a:close/>
                    <a:moveTo>
                      <a:pt x="255" y="8890"/>
                    </a:moveTo>
                    <a:cubicBezTo>
                      <a:pt x="255" y="8255"/>
                      <a:pt x="255" y="7620"/>
                      <a:pt x="255" y="6858"/>
                    </a:cubicBezTo>
                    <a:cubicBezTo>
                      <a:pt x="255" y="6096"/>
                      <a:pt x="255" y="5461"/>
                      <a:pt x="127" y="4826"/>
                    </a:cubicBezTo>
                    <a:cubicBezTo>
                      <a:pt x="509" y="4826"/>
                      <a:pt x="891" y="4826"/>
                      <a:pt x="1146" y="4826"/>
                    </a:cubicBezTo>
                    <a:cubicBezTo>
                      <a:pt x="1401" y="4826"/>
                      <a:pt x="1655" y="4826"/>
                      <a:pt x="2165" y="4826"/>
                    </a:cubicBezTo>
                    <a:cubicBezTo>
                      <a:pt x="2165" y="5461"/>
                      <a:pt x="2165" y="6096"/>
                      <a:pt x="2037" y="6858"/>
                    </a:cubicBezTo>
                    <a:cubicBezTo>
                      <a:pt x="2037" y="7620"/>
                      <a:pt x="2037" y="8255"/>
                      <a:pt x="2037" y="8890"/>
                    </a:cubicBezTo>
                    <a:lnTo>
                      <a:pt x="2037" y="11049"/>
                    </a:lnTo>
                    <a:cubicBezTo>
                      <a:pt x="2037" y="11684"/>
                      <a:pt x="2037" y="12319"/>
                      <a:pt x="2037" y="13081"/>
                    </a:cubicBezTo>
                    <a:cubicBezTo>
                      <a:pt x="2037" y="13843"/>
                      <a:pt x="2037" y="14478"/>
                      <a:pt x="2165" y="14986"/>
                    </a:cubicBezTo>
                    <a:cubicBezTo>
                      <a:pt x="1783" y="14986"/>
                      <a:pt x="1528" y="14986"/>
                      <a:pt x="1146" y="14986"/>
                    </a:cubicBezTo>
                    <a:cubicBezTo>
                      <a:pt x="764" y="14986"/>
                      <a:pt x="509" y="14986"/>
                      <a:pt x="127" y="14986"/>
                    </a:cubicBezTo>
                    <a:cubicBezTo>
                      <a:pt x="127" y="14478"/>
                      <a:pt x="127" y="13716"/>
                      <a:pt x="255" y="13081"/>
                    </a:cubicBezTo>
                    <a:cubicBezTo>
                      <a:pt x="255" y="12319"/>
                      <a:pt x="255" y="11684"/>
                      <a:pt x="255" y="11049"/>
                    </a:cubicBezTo>
                    <a:lnTo>
                      <a:pt x="255" y="8890"/>
                    </a:lnTo>
                    <a:close/>
                  </a:path>
                </a:pathLst>
              </a:custGeom>
              <a:solidFill>
                <a:srgbClr val="FFFFFF"/>
              </a:solidFill>
              <a:ln w="0" cap="flat">
                <a:noFill/>
                <a:prstDash val="solid"/>
                <a:miter/>
              </a:ln>
            </p:spPr>
            <p:txBody>
              <a:bodyPr rtlCol="0" anchor="ctr"/>
              <a:lstStyle/>
              <a:p>
                <a:endParaRPr lang="en-AD" sz="2400"/>
              </a:p>
            </p:txBody>
          </p:sp>
          <p:sp>
            <p:nvSpPr>
              <p:cNvPr id="200" name="Freeform 199">
                <a:extLst>
                  <a:ext uri="{FF2B5EF4-FFF2-40B4-BE49-F238E27FC236}">
                    <a16:creationId xmlns:a16="http://schemas.microsoft.com/office/drawing/2014/main" id="{C11DCE35-C622-3CEC-7A92-AC0BA8756709}"/>
                  </a:ext>
                </a:extLst>
              </p:cNvPr>
              <p:cNvSpPr/>
              <p:nvPr/>
            </p:nvSpPr>
            <p:spPr>
              <a:xfrm>
                <a:off x="4314060" y="4851653"/>
                <a:ext cx="10567" cy="10414"/>
              </a:xfrm>
              <a:custGeom>
                <a:avLst/>
                <a:gdLst>
                  <a:gd name="connsiteX0" fmla="*/ 0 w 10567"/>
                  <a:gd name="connsiteY0" fmla="*/ 5207 h 10414"/>
                  <a:gd name="connsiteX1" fmla="*/ 509 w 10567"/>
                  <a:gd name="connsiteY1" fmla="*/ 2794 h 10414"/>
                  <a:gd name="connsiteX2" fmla="*/ 1783 w 10567"/>
                  <a:gd name="connsiteY2" fmla="*/ 1143 h 10414"/>
                  <a:gd name="connsiteX3" fmla="*/ 3438 w 10567"/>
                  <a:gd name="connsiteY3" fmla="*/ 254 h 10414"/>
                  <a:gd name="connsiteX4" fmla="*/ 5347 w 10567"/>
                  <a:gd name="connsiteY4" fmla="*/ 0 h 10414"/>
                  <a:gd name="connsiteX5" fmla="*/ 7257 w 10567"/>
                  <a:gd name="connsiteY5" fmla="*/ 254 h 10414"/>
                  <a:gd name="connsiteX6" fmla="*/ 8912 w 10567"/>
                  <a:gd name="connsiteY6" fmla="*/ 1143 h 10414"/>
                  <a:gd name="connsiteX7" fmla="*/ 10058 w 10567"/>
                  <a:gd name="connsiteY7" fmla="*/ 2794 h 10414"/>
                  <a:gd name="connsiteX8" fmla="*/ 10567 w 10567"/>
                  <a:gd name="connsiteY8" fmla="*/ 5207 h 10414"/>
                  <a:gd name="connsiteX9" fmla="*/ 10058 w 10567"/>
                  <a:gd name="connsiteY9" fmla="*/ 7620 h 10414"/>
                  <a:gd name="connsiteX10" fmla="*/ 8912 w 10567"/>
                  <a:gd name="connsiteY10" fmla="*/ 9271 h 10414"/>
                  <a:gd name="connsiteX11" fmla="*/ 7257 w 10567"/>
                  <a:gd name="connsiteY11" fmla="*/ 10160 h 10414"/>
                  <a:gd name="connsiteX12" fmla="*/ 5347 w 10567"/>
                  <a:gd name="connsiteY12" fmla="*/ 10414 h 10414"/>
                  <a:gd name="connsiteX13" fmla="*/ 3438 w 10567"/>
                  <a:gd name="connsiteY13" fmla="*/ 10160 h 10414"/>
                  <a:gd name="connsiteX14" fmla="*/ 1783 w 10567"/>
                  <a:gd name="connsiteY14" fmla="*/ 9271 h 10414"/>
                  <a:gd name="connsiteX15" fmla="*/ 509 w 10567"/>
                  <a:gd name="connsiteY15" fmla="*/ 7620 h 10414"/>
                  <a:gd name="connsiteX16" fmla="*/ 0 w 10567"/>
                  <a:gd name="connsiteY16" fmla="*/ 5207 h 10414"/>
                  <a:gd name="connsiteX17" fmla="*/ 1910 w 10567"/>
                  <a:gd name="connsiteY17" fmla="*/ 5207 h 10414"/>
                  <a:gd name="connsiteX18" fmla="*/ 2037 w 10567"/>
                  <a:gd name="connsiteY18" fmla="*/ 6985 h 10414"/>
                  <a:gd name="connsiteX19" fmla="*/ 2546 w 10567"/>
                  <a:gd name="connsiteY19" fmla="*/ 8509 h 10414"/>
                  <a:gd name="connsiteX20" fmla="*/ 3565 w 10567"/>
                  <a:gd name="connsiteY20" fmla="*/ 9525 h 10414"/>
                  <a:gd name="connsiteX21" fmla="*/ 5093 w 10567"/>
                  <a:gd name="connsiteY21" fmla="*/ 9906 h 10414"/>
                  <a:gd name="connsiteX22" fmla="*/ 6621 w 10567"/>
                  <a:gd name="connsiteY22" fmla="*/ 9525 h 10414"/>
                  <a:gd name="connsiteX23" fmla="*/ 7639 w 10567"/>
                  <a:gd name="connsiteY23" fmla="*/ 8509 h 10414"/>
                  <a:gd name="connsiteX24" fmla="*/ 8148 w 10567"/>
                  <a:gd name="connsiteY24" fmla="*/ 6985 h 10414"/>
                  <a:gd name="connsiteX25" fmla="*/ 8276 w 10567"/>
                  <a:gd name="connsiteY25" fmla="*/ 5207 h 10414"/>
                  <a:gd name="connsiteX26" fmla="*/ 8148 w 10567"/>
                  <a:gd name="connsiteY26" fmla="*/ 3429 h 10414"/>
                  <a:gd name="connsiteX27" fmla="*/ 7639 w 10567"/>
                  <a:gd name="connsiteY27" fmla="*/ 1905 h 10414"/>
                  <a:gd name="connsiteX28" fmla="*/ 6621 w 10567"/>
                  <a:gd name="connsiteY28" fmla="*/ 889 h 10414"/>
                  <a:gd name="connsiteX29" fmla="*/ 5093 w 10567"/>
                  <a:gd name="connsiteY29" fmla="*/ 508 h 10414"/>
                  <a:gd name="connsiteX30" fmla="*/ 3565 w 10567"/>
                  <a:gd name="connsiteY30" fmla="*/ 889 h 10414"/>
                  <a:gd name="connsiteX31" fmla="*/ 2546 w 10567"/>
                  <a:gd name="connsiteY31" fmla="*/ 1905 h 10414"/>
                  <a:gd name="connsiteX32" fmla="*/ 2037 w 10567"/>
                  <a:gd name="connsiteY32" fmla="*/ 3429 h 10414"/>
                  <a:gd name="connsiteX33" fmla="*/ 1910 w 10567"/>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7" h="10414">
                    <a:moveTo>
                      <a:pt x="0" y="5207"/>
                    </a:moveTo>
                    <a:cubicBezTo>
                      <a:pt x="0" y="4191"/>
                      <a:pt x="127" y="3429"/>
                      <a:pt x="509" y="2794"/>
                    </a:cubicBezTo>
                    <a:cubicBezTo>
                      <a:pt x="764" y="2159"/>
                      <a:pt x="1273" y="1524"/>
                      <a:pt x="1783" y="1143"/>
                    </a:cubicBezTo>
                    <a:cubicBezTo>
                      <a:pt x="2292" y="762"/>
                      <a:pt x="2801" y="381"/>
                      <a:pt x="3438" y="254"/>
                    </a:cubicBezTo>
                    <a:cubicBezTo>
                      <a:pt x="4074" y="0"/>
                      <a:pt x="4711" y="0"/>
                      <a:pt x="5347" y="0"/>
                    </a:cubicBezTo>
                    <a:cubicBezTo>
                      <a:pt x="5984" y="0"/>
                      <a:pt x="6621" y="0"/>
                      <a:pt x="7257" y="254"/>
                    </a:cubicBezTo>
                    <a:cubicBezTo>
                      <a:pt x="7893" y="508"/>
                      <a:pt x="8403" y="762"/>
                      <a:pt x="8912" y="1143"/>
                    </a:cubicBezTo>
                    <a:cubicBezTo>
                      <a:pt x="9422" y="1524"/>
                      <a:pt x="9803" y="2159"/>
                      <a:pt x="10058" y="2794"/>
                    </a:cubicBezTo>
                    <a:cubicBezTo>
                      <a:pt x="10312" y="3429"/>
                      <a:pt x="10567" y="4318"/>
                      <a:pt x="10567" y="5207"/>
                    </a:cubicBezTo>
                    <a:cubicBezTo>
                      <a:pt x="10567" y="6096"/>
                      <a:pt x="10440" y="6985"/>
                      <a:pt x="10058" y="7620"/>
                    </a:cubicBezTo>
                    <a:cubicBezTo>
                      <a:pt x="9803" y="8255"/>
                      <a:pt x="9294" y="8890"/>
                      <a:pt x="8912" y="9271"/>
                    </a:cubicBezTo>
                    <a:cubicBezTo>
                      <a:pt x="8530" y="9652"/>
                      <a:pt x="7893" y="10033"/>
                      <a:pt x="7257" y="10160"/>
                    </a:cubicBezTo>
                    <a:cubicBezTo>
                      <a:pt x="6621" y="10287"/>
                      <a:pt x="5984" y="10414"/>
                      <a:pt x="5347" y="10414"/>
                    </a:cubicBezTo>
                    <a:cubicBezTo>
                      <a:pt x="4711" y="10414"/>
                      <a:pt x="4074" y="10414"/>
                      <a:pt x="3438" y="10160"/>
                    </a:cubicBezTo>
                    <a:cubicBezTo>
                      <a:pt x="2801" y="9906"/>
                      <a:pt x="2292" y="9652"/>
                      <a:pt x="1783" y="9271"/>
                    </a:cubicBezTo>
                    <a:cubicBezTo>
                      <a:pt x="1273" y="8890"/>
                      <a:pt x="891" y="8255"/>
                      <a:pt x="509" y="7620"/>
                    </a:cubicBezTo>
                    <a:cubicBezTo>
                      <a:pt x="255"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4" y="9906"/>
                      <a:pt x="5093" y="9906"/>
                    </a:cubicBezTo>
                    <a:cubicBezTo>
                      <a:pt x="5602" y="9906"/>
                      <a:pt x="6239" y="9779"/>
                      <a:pt x="6621" y="9525"/>
                    </a:cubicBezTo>
                    <a:cubicBezTo>
                      <a:pt x="7003" y="9271"/>
                      <a:pt x="7384" y="8890"/>
                      <a:pt x="7639" y="8509"/>
                    </a:cubicBezTo>
                    <a:cubicBezTo>
                      <a:pt x="7893" y="8128"/>
                      <a:pt x="8021" y="7620"/>
                      <a:pt x="8148" y="6985"/>
                    </a:cubicBezTo>
                    <a:cubicBezTo>
                      <a:pt x="8148" y="6477"/>
                      <a:pt x="8276" y="5842"/>
                      <a:pt x="8276" y="5207"/>
                    </a:cubicBezTo>
                    <a:cubicBezTo>
                      <a:pt x="8276" y="4572"/>
                      <a:pt x="8276" y="4064"/>
                      <a:pt x="8148" y="3429"/>
                    </a:cubicBezTo>
                    <a:cubicBezTo>
                      <a:pt x="8148" y="2921"/>
                      <a:pt x="7893" y="2413"/>
                      <a:pt x="7639" y="1905"/>
                    </a:cubicBezTo>
                    <a:cubicBezTo>
                      <a:pt x="7384" y="1524"/>
                      <a:pt x="7003" y="1143"/>
                      <a:pt x="6621" y="889"/>
                    </a:cubicBezTo>
                    <a:cubicBezTo>
                      <a:pt x="6239" y="635"/>
                      <a:pt x="5602" y="508"/>
                      <a:pt x="5093" y="508"/>
                    </a:cubicBezTo>
                    <a:cubicBezTo>
                      <a:pt x="4584" y="508"/>
                      <a:pt x="3947" y="635"/>
                      <a:pt x="3565" y="889"/>
                    </a:cubicBezTo>
                    <a:cubicBezTo>
                      <a:pt x="3183" y="1143"/>
                      <a:pt x="2801" y="1524"/>
                      <a:pt x="2546" y="1905"/>
                    </a:cubicBezTo>
                    <a:cubicBezTo>
                      <a:pt x="2292" y="2286"/>
                      <a:pt x="2165"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201" name="Freeform 200">
                <a:extLst>
                  <a:ext uri="{FF2B5EF4-FFF2-40B4-BE49-F238E27FC236}">
                    <a16:creationId xmlns:a16="http://schemas.microsoft.com/office/drawing/2014/main" id="{2DE8E316-BE4F-1AB9-D1A3-B8D558E0E073}"/>
                  </a:ext>
                </a:extLst>
              </p:cNvPr>
              <p:cNvSpPr/>
              <p:nvPr/>
            </p:nvSpPr>
            <p:spPr>
              <a:xfrm>
                <a:off x="4327047" y="4851400"/>
                <a:ext cx="8784" cy="10414"/>
              </a:xfrm>
              <a:custGeom>
                <a:avLst/>
                <a:gdLst>
                  <a:gd name="connsiteX0" fmla="*/ 6366 w 8784"/>
                  <a:gd name="connsiteY0" fmla="*/ 2032 h 10414"/>
                  <a:gd name="connsiteX1" fmla="*/ 4711 w 8784"/>
                  <a:gd name="connsiteY1" fmla="*/ 1270 h 10414"/>
                  <a:gd name="connsiteX2" fmla="*/ 2546 w 8784"/>
                  <a:gd name="connsiteY2" fmla="*/ 2159 h 10414"/>
                  <a:gd name="connsiteX3" fmla="*/ 1910 w 8784"/>
                  <a:gd name="connsiteY3" fmla="*/ 4699 h 10414"/>
                  <a:gd name="connsiteX4" fmla="*/ 1910 w 8784"/>
                  <a:gd name="connsiteY4" fmla="*/ 6477 h 10414"/>
                  <a:gd name="connsiteX5" fmla="*/ 1910 w 8784"/>
                  <a:gd name="connsiteY5" fmla="*/ 8509 h 10414"/>
                  <a:gd name="connsiteX6" fmla="*/ 2037 w 8784"/>
                  <a:gd name="connsiteY6" fmla="*/ 10414 h 10414"/>
                  <a:gd name="connsiteX7" fmla="*/ 1018 w 8784"/>
                  <a:gd name="connsiteY7" fmla="*/ 10414 h 10414"/>
                  <a:gd name="connsiteX8" fmla="*/ 0 w 8784"/>
                  <a:gd name="connsiteY8" fmla="*/ 10414 h 10414"/>
                  <a:gd name="connsiteX9" fmla="*/ 127 w 8784"/>
                  <a:gd name="connsiteY9" fmla="*/ 8509 h 10414"/>
                  <a:gd name="connsiteX10" fmla="*/ 127 w 8784"/>
                  <a:gd name="connsiteY10" fmla="*/ 6477 h 10414"/>
                  <a:gd name="connsiteX11" fmla="*/ 127 w 8784"/>
                  <a:gd name="connsiteY11" fmla="*/ 4318 h 10414"/>
                  <a:gd name="connsiteX12" fmla="*/ 127 w 8784"/>
                  <a:gd name="connsiteY12" fmla="*/ 2286 h 10414"/>
                  <a:gd name="connsiteX13" fmla="*/ 0 w 8784"/>
                  <a:gd name="connsiteY13" fmla="*/ 254 h 10414"/>
                  <a:gd name="connsiteX14" fmla="*/ 1018 w 8784"/>
                  <a:gd name="connsiteY14" fmla="*/ 254 h 10414"/>
                  <a:gd name="connsiteX15" fmla="*/ 1400 w 8784"/>
                  <a:gd name="connsiteY15" fmla="*/ 254 h 10414"/>
                  <a:gd name="connsiteX16" fmla="*/ 1910 w 8784"/>
                  <a:gd name="connsiteY16" fmla="*/ 254 h 10414"/>
                  <a:gd name="connsiteX17" fmla="*/ 1910 w 8784"/>
                  <a:gd name="connsiteY17" fmla="*/ 1905 h 10414"/>
                  <a:gd name="connsiteX18" fmla="*/ 1910 w 8784"/>
                  <a:gd name="connsiteY18" fmla="*/ 1905 h 10414"/>
                  <a:gd name="connsiteX19" fmla="*/ 3310 w 8784"/>
                  <a:gd name="connsiteY19" fmla="*/ 508 h 10414"/>
                  <a:gd name="connsiteX20" fmla="*/ 5347 w 8784"/>
                  <a:gd name="connsiteY20" fmla="*/ 0 h 10414"/>
                  <a:gd name="connsiteX21" fmla="*/ 6620 w 8784"/>
                  <a:gd name="connsiteY21" fmla="*/ 127 h 10414"/>
                  <a:gd name="connsiteX22" fmla="*/ 7766 w 8784"/>
                  <a:gd name="connsiteY22" fmla="*/ 762 h 10414"/>
                  <a:gd name="connsiteX23" fmla="*/ 8530 w 8784"/>
                  <a:gd name="connsiteY23" fmla="*/ 1905 h 10414"/>
                  <a:gd name="connsiteX24" fmla="*/ 8785 w 8784"/>
                  <a:gd name="connsiteY24" fmla="*/ 3683 h 10414"/>
                  <a:gd name="connsiteX25" fmla="*/ 8785 w 8784"/>
                  <a:gd name="connsiteY25" fmla="*/ 5588 h 10414"/>
                  <a:gd name="connsiteX26" fmla="*/ 8785 w 8784"/>
                  <a:gd name="connsiteY26" fmla="*/ 7620 h 10414"/>
                  <a:gd name="connsiteX27" fmla="*/ 8785 w 8784"/>
                  <a:gd name="connsiteY27" fmla="*/ 9017 h 10414"/>
                  <a:gd name="connsiteX28" fmla="*/ 8785 w 8784"/>
                  <a:gd name="connsiteY28" fmla="*/ 9652 h 10414"/>
                  <a:gd name="connsiteX29" fmla="*/ 8785 w 8784"/>
                  <a:gd name="connsiteY29" fmla="*/ 10287 h 10414"/>
                  <a:gd name="connsiteX30" fmla="*/ 7893 w 8784"/>
                  <a:gd name="connsiteY30" fmla="*/ 10287 h 10414"/>
                  <a:gd name="connsiteX31" fmla="*/ 7002 w 8784"/>
                  <a:gd name="connsiteY31" fmla="*/ 10287 h 10414"/>
                  <a:gd name="connsiteX32" fmla="*/ 7002 w 8784"/>
                  <a:gd name="connsiteY32" fmla="*/ 8001 h 10414"/>
                  <a:gd name="connsiteX33" fmla="*/ 7002 w 8784"/>
                  <a:gd name="connsiteY33" fmla="*/ 5588 h 10414"/>
                  <a:gd name="connsiteX34" fmla="*/ 7002 w 8784"/>
                  <a:gd name="connsiteY34" fmla="*/ 4318 h 10414"/>
                  <a:gd name="connsiteX35" fmla="*/ 6366 w 8784"/>
                  <a:gd name="connsiteY35" fmla="*/ 1905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84" h="10414">
                    <a:moveTo>
                      <a:pt x="6366" y="2032"/>
                    </a:moveTo>
                    <a:cubicBezTo>
                      <a:pt x="6366" y="2032"/>
                      <a:pt x="5347" y="1270"/>
                      <a:pt x="4711" y="1270"/>
                    </a:cubicBezTo>
                    <a:cubicBezTo>
                      <a:pt x="3692" y="1270"/>
                      <a:pt x="2928" y="1524"/>
                      <a:pt x="2546" y="2159"/>
                    </a:cubicBezTo>
                    <a:cubicBezTo>
                      <a:pt x="2037" y="2794"/>
                      <a:pt x="1910" y="3683"/>
                      <a:pt x="1910" y="4699"/>
                    </a:cubicBezTo>
                    <a:lnTo>
                      <a:pt x="1910" y="6477"/>
                    </a:lnTo>
                    <a:cubicBezTo>
                      <a:pt x="1910" y="7112"/>
                      <a:pt x="1910" y="7747"/>
                      <a:pt x="1910" y="8509"/>
                    </a:cubicBezTo>
                    <a:cubicBezTo>
                      <a:pt x="1910" y="9271"/>
                      <a:pt x="1910" y="9906"/>
                      <a:pt x="2037" y="10414"/>
                    </a:cubicBezTo>
                    <a:cubicBezTo>
                      <a:pt x="1655" y="10414"/>
                      <a:pt x="1400" y="10414"/>
                      <a:pt x="1018" y="10414"/>
                    </a:cubicBezTo>
                    <a:cubicBezTo>
                      <a:pt x="636" y="10414"/>
                      <a:pt x="382" y="10414"/>
                      <a:pt x="0" y="10414"/>
                    </a:cubicBezTo>
                    <a:cubicBezTo>
                      <a:pt x="0" y="9906"/>
                      <a:pt x="0" y="9144"/>
                      <a:pt x="127" y="8509"/>
                    </a:cubicBezTo>
                    <a:cubicBezTo>
                      <a:pt x="127" y="7747"/>
                      <a:pt x="127" y="7112"/>
                      <a:pt x="127" y="6477"/>
                    </a:cubicBezTo>
                    <a:lnTo>
                      <a:pt x="127" y="4318"/>
                    </a:lnTo>
                    <a:cubicBezTo>
                      <a:pt x="127" y="3683"/>
                      <a:pt x="127" y="3048"/>
                      <a:pt x="127" y="2286"/>
                    </a:cubicBezTo>
                    <a:cubicBezTo>
                      <a:pt x="127" y="1524"/>
                      <a:pt x="127" y="889"/>
                      <a:pt x="0" y="254"/>
                    </a:cubicBezTo>
                    <a:cubicBezTo>
                      <a:pt x="382" y="254"/>
                      <a:pt x="764" y="254"/>
                      <a:pt x="1018" y="254"/>
                    </a:cubicBezTo>
                    <a:cubicBezTo>
                      <a:pt x="1018" y="254"/>
                      <a:pt x="1273" y="254"/>
                      <a:pt x="1400" y="254"/>
                    </a:cubicBezTo>
                    <a:cubicBezTo>
                      <a:pt x="1528" y="254"/>
                      <a:pt x="1655" y="254"/>
                      <a:pt x="1910" y="254"/>
                    </a:cubicBezTo>
                    <a:cubicBezTo>
                      <a:pt x="1910" y="762"/>
                      <a:pt x="1910" y="1397"/>
                      <a:pt x="1910" y="1905"/>
                    </a:cubicBezTo>
                    <a:lnTo>
                      <a:pt x="1910" y="1905"/>
                    </a:lnTo>
                    <a:cubicBezTo>
                      <a:pt x="1910" y="1905"/>
                      <a:pt x="2801" y="762"/>
                      <a:pt x="3310" y="508"/>
                    </a:cubicBezTo>
                    <a:cubicBezTo>
                      <a:pt x="3819" y="254"/>
                      <a:pt x="4583" y="0"/>
                      <a:pt x="5347" y="0"/>
                    </a:cubicBezTo>
                    <a:cubicBezTo>
                      <a:pt x="5729" y="0"/>
                      <a:pt x="6111" y="0"/>
                      <a:pt x="6620" y="127"/>
                    </a:cubicBezTo>
                    <a:cubicBezTo>
                      <a:pt x="7130" y="254"/>
                      <a:pt x="7384" y="381"/>
                      <a:pt x="7766" y="762"/>
                    </a:cubicBezTo>
                    <a:cubicBezTo>
                      <a:pt x="8148" y="1143"/>
                      <a:pt x="8403" y="1397"/>
                      <a:pt x="8530" y="1905"/>
                    </a:cubicBezTo>
                    <a:cubicBezTo>
                      <a:pt x="8785" y="2413"/>
                      <a:pt x="8785" y="3048"/>
                      <a:pt x="8785" y="3683"/>
                    </a:cubicBezTo>
                    <a:cubicBezTo>
                      <a:pt x="8785" y="4318"/>
                      <a:pt x="8785" y="4953"/>
                      <a:pt x="8785" y="5588"/>
                    </a:cubicBezTo>
                    <a:cubicBezTo>
                      <a:pt x="8785" y="6223"/>
                      <a:pt x="8785" y="6985"/>
                      <a:pt x="8785" y="7620"/>
                    </a:cubicBezTo>
                    <a:lnTo>
                      <a:pt x="8785" y="9017"/>
                    </a:lnTo>
                    <a:cubicBezTo>
                      <a:pt x="8785" y="9017"/>
                      <a:pt x="8785" y="9525"/>
                      <a:pt x="8785" y="9652"/>
                    </a:cubicBezTo>
                    <a:cubicBezTo>
                      <a:pt x="8785" y="9906"/>
                      <a:pt x="8785" y="10033"/>
                      <a:pt x="8785" y="10287"/>
                    </a:cubicBezTo>
                    <a:cubicBezTo>
                      <a:pt x="8530" y="10287"/>
                      <a:pt x="8148" y="10287"/>
                      <a:pt x="7893" y="10287"/>
                    </a:cubicBezTo>
                    <a:cubicBezTo>
                      <a:pt x="7639" y="10287"/>
                      <a:pt x="7257" y="10287"/>
                      <a:pt x="7002" y="10287"/>
                    </a:cubicBezTo>
                    <a:cubicBezTo>
                      <a:pt x="7002" y="9525"/>
                      <a:pt x="7002" y="8763"/>
                      <a:pt x="7002" y="8001"/>
                    </a:cubicBezTo>
                    <a:cubicBezTo>
                      <a:pt x="7002" y="7239"/>
                      <a:pt x="7002" y="6350"/>
                      <a:pt x="7002" y="5588"/>
                    </a:cubicBezTo>
                    <a:lnTo>
                      <a:pt x="7002" y="4318"/>
                    </a:lnTo>
                    <a:cubicBezTo>
                      <a:pt x="7002" y="3302"/>
                      <a:pt x="6748" y="2413"/>
                      <a:pt x="6366" y="1905"/>
                    </a:cubicBezTo>
                    <a:close/>
                  </a:path>
                </a:pathLst>
              </a:custGeom>
              <a:solidFill>
                <a:srgbClr val="FFFFFF"/>
              </a:solidFill>
              <a:ln w="0" cap="flat">
                <a:noFill/>
                <a:prstDash val="solid"/>
                <a:miter/>
              </a:ln>
            </p:spPr>
            <p:txBody>
              <a:bodyPr rtlCol="0" anchor="ctr"/>
              <a:lstStyle/>
              <a:p>
                <a:endParaRPr lang="en-AD" sz="2400"/>
              </a:p>
            </p:txBody>
          </p:sp>
          <p:sp>
            <p:nvSpPr>
              <p:cNvPr id="202" name="Freeform 201">
                <a:extLst>
                  <a:ext uri="{FF2B5EF4-FFF2-40B4-BE49-F238E27FC236}">
                    <a16:creationId xmlns:a16="http://schemas.microsoft.com/office/drawing/2014/main" id="{8D5AE9A2-E110-4717-F804-596F7ED900C3}"/>
                  </a:ext>
                </a:extLst>
              </p:cNvPr>
              <p:cNvSpPr/>
              <p:nvPr/>
            </p:nvSpPr>
            <p:spPr>
              <a:xfrm>
                <a:off x="4338251" y="4851527"/>
                <a:ext cx="6620" cy="10540"/>
              </a:xfrm>
              <a:custGeom>
                <a:avLst/>
                <a:gdLst>
                  <a:gd name="connsiteX0" fmla="*/ 1018 w 6620"/>
                  <a:gd name="connsiteY0" fmla="*/ 8890 h 10540"/>
                  <a:gd name="connsiteX1" fmla="*/ 1528 w 6620"/>
                  <a:gd name="connsiteY1" fmla="*/ 9398 h 10540"/>
                  <a:gd name="connsiteX2" fmla="*/ 2292 w 6620"/>
                  <a:gd name="connsiteY2" fmla="*/ 9779 h 10540"/>
                  <a:gd name="connsiteX3" fmla="*/ 3183 w 6620"/>
                  <a:gd name="connsiteY3" fmla="*/ 9906 h 10540"/>
                  <a:gd name="connsiteX4" fmla="*/ 3947 w 6620"/>
                  <a:gd name="connsiteY4" fmla="*/ 9779 h 10540"/>
                  <a:gd name="connsiteX5" fmla="*/ 4583 w 6620"/>
                  <a:gd name="connsiteY5" fmla="*/ 9398 h 10540"/>
                  <a:gd name="connsiteX6" fmla="*/ 5092 w 6620"/>
                  <a:gd name="connsiteY6" fmla="*/ 8763 h 10540"/>
                  <a:gd name="connsiteX7" fmla="*/ 5220 w 6620"/>
                  <a:gd name="connsiteY7" fmla="*/ 7874 h 10540"/>
                  <a:gd name="connsiteX8" fmla="*/ 4838 w 6620"/>
                  <a:gd name="connsiteY8" fmla="*/ 6858 h 10540"/>
                  <a:gd name="connsiteX9" fmla="*/ 3947 w 6620"/>
                  <a:gd name="connsiteY9" fmla="*/ 6223 h 10540"/>
                  <a:gd name="connsiteX10" fmla="*/ 2673 w 6620"/>
                  <a:gd name="connsiteY10" fmla="*/ 5842 h 10540"/>
                  <a:gd name="connsiteX11" fmla="*/ 1400 w 6620"/>
                  <a:gd name="connsiteY11" fmla="*/ 5334 h 10540"/>
                  <a:gd name="connsiteX12" fmla="*/ 509 w 6620"/>
                  <a:gd name="connsiteY12" fmla="*/ 4572 h 10540"/>
                  <a:gd name="connsiteX13" fmla="*/ 127 w 6620"/>
                  <a:gd name="connsiteY13" fmla="*/ 3175 h 10540"/>
                  <a:gd name="connsiteX14" fmla="*/ 382 w 6620"/>
                  <a:gd name="connsiteY14" fmla="*/ 1905 h 10540"/>
                  <a:gd name="connsiteX15" fmla="*/ 1018 w 6620"/>
                  <a:gd name="connsiteY15" fmla="*/ 889 h 10540"/>
                  <a:gd name="connsiteX16" fmla="*/ 2164 w 6620"/>
                  <a:gd name="connsiteY16" fmla="*/ 254 h 10540"/>
                  <a:gd name="connsiteX17" fmla="*/ 3692 w 6620"/>
                  <a:gd name="connsiteY17" fmla="*/ 0 h 10540"/>
                  <a:gd name="connsiteX18" fmla="*/ 5092 w 6620"/>
                  <a:gd name="connsiteY18" fmla="*/ 254 h 10540"/>
                  <a:gd name="connsiteX19" fmla="*/ 6111 w 6620"/>
                  <a:gd name="connsiteY19" fmla="*/ 635 h 10540"/>
                  <a:gd name="connsiteX20" fmla="*/ 5729 w 6620"/>
                  <a:gd name="connsiteY20" fmla="*/ 1397 h 10540"/>
                  <a:gd name="connsiteX21" fmla="*/ 5474 w 6620"/>
                  <a:gd name="connsiteY21" fmla="*/ 2159 h 10540"/>
                  <a:gd name="connsiteX22" fmla="*/ 5220 w 6620"/>
                  <a:gd name="connsiteY22" fmla="*/ 2159 h 10540"/>
                  <a:gd name="connsiteX23" fmla="*/ 4583 w 6620"/>
                  <a:gd name="connsiteY23" fmla="*/ 1270 h 10540"/>
                  <a:gd name="connsiteX24" fmla="*/ 3310 w 6620"/>
                  <a:gd name="connsiteY24" fmla="*/ 889 h 10540"/>
                  <a:gd name="connsiteX25" fmla="*/ 2673 w 6620"/>
                  <a:gd name="connsiteY25" fmla="*/ 889 h 10540"/>
                  <a:gd name="connsiteX26" fmla="*/ 2037 w 6620"/>
                  <a:gd name="connsiteY26" fmla="*/ 1270 h 10540"/>
                  <a:gd name="connsiteX27" fmla="*/ 1655 w 6620"/>
                  <a:gd name="connsiteY27" fmla="*/ 1778 h 10540"/>
                  <a:gd name="connsiteX28" fmla="*/ 1528 w 6620"/>
                  <a:gd name="connsiteY28" fmla="*/ 2540 h 10540"/>
                  <a:gd name="connsiteX29" fmla="*/ 1910 w 6620"/>
                  <a:gd name="connsiteY29" fmla="*/ 3556 h 10540"/>
                  <a:gd name="connsiteX30" fmla="*/ 2801 w 6620"/>
                  <a:gd name="connsiteY30" fmla="*/ 4191 h 10540"/>
                  <a:gd name="connsiteX31" fmla="*/ 4074 w 6620"/>
                  <a:gd name="connsiteY31" fmla="*/ 4572 h 10540"/>
                  <a:gd name="connsiteX32" fmla="*/ 5347 w 6620"/>
                  <a:gd name="connsiteY32" fmla="*/ 5080 h 10540"/>
                  <a:gd name="connsiteX33" fmla="*/ 6238 w 6620"/>
                  <a:gd name="connsiteY33" fmla="*/ 5842 h 10540"/>
                  <a:gd name="connsiteX34" fmla="*/ 6620 w 6620"/>
                  <a:gd name="connsiteY34" fmla="*/ 7239 h 10540"/>
                  <a:gd name="connsiteX35" fmla="*/ 6366 w 6620"/>
                  <a:gd name="connsiteY35" fmla="*/ 8509 h 10540"/>
                  <a:gd name="connsiteX36" fmla="*/ 5601 w 6620"/>
                  <a:gd name="connsiteY36" fmla="*/ 9525 h 10540"/>
                  <a:gd name="connsiteX37" fmla="*/ 4456 w 6620"/>
                  <a:gd name="connsiteY37" fmla="*/ 10287 h 10540"/>
                  <a:gd name="connsiteX38" fmla="*/ 2801 w 6620"/>
                  <a:gd name="connsiteY38" fmla="*/ 10541 h 10540"/>
                  <a:gd name="connsiteX39" fmla="*/ 1146 w 6620"/>
                  <a:gd name="connsiteY39" fmla="*/ 10287 h 10540"/>
                  <a:gd name="connsiteX40" fmla="*/ 0 w 6620"/>
                  <a:gd name="connsiteY40" fmla="*/ 9779 h 10540"/>
                  <a:gd name="connsiteX41" fmla="*/ 254 w 6620"/>
                  <a:gd name="connsiteY41" fmla="*/ 9017 h 10540"/>
                  <a:gd name="connsiteX42" fmla="*/ 382 w 6620"/>
                  <a:gd name="connsiteY42" fmla="*/ 8255 h 10540"/>
                  <a:gd name="connsiteX43" fmla="*/ 636 w 6620"/>
                  <a:gd name="connsiteY43" fmla="*/ 8255 h 10540"/>
                  <a:gd name="connsiteX44" fmla="*/ 1018 w 6620"/>
                  <a:gd name="connsiteY44" fmla="*/ 8763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20" h="10540">
                    <a:moveTo>
                      <a:pt x="1018" y="8890"/>
                    </a:moveTo>
                    <a:cubicBezTo>
                      <a:pt x="1018" y="8890"/>
                      <a:pt x="1400" y="9271"/>
                      <a:pt x="1528" y="9398"/>
                    </a:cubicBezTo>
                    <a:cubicBezTo>
                      <a:pt x="1655" y="9525"/>
                      <a:pt x="1910" y="9652"/>
                      <a:pt x="2292" y="9779"/>
                    </a:cubicBezTo>
                    <a:cubicBezTo>
                      <a:pt x="2546" y="9779"/>
                      <a:pt x="2801" y="9906"/>
                      <a:pt x="3183" y="9906"/>
                    </a:cubicBezTo>
                    <a:cubicBezTo>
                      <a:pt x="3437" y="9906"/>
                      <a:pt x="3692" y="9906"/>
                      <a:pt x="3947" y="9779"/>
                    </a:cubicBezTo>
                    <a:cubicBezTo>
                      <a:pt x="4201" y="9779"/>
                      <a:pt x="4456" y="9525"/>
                      <a:pt x="4583" y="9398"/>
                    </a:cubicBezTo>
                    <a:cubicBezTo>
                      <a:pt x="4711" y="9271"/>
                      <a:pt x="4965" y="9017"/>
                      <a:pt x="5092" y="8763"/>
                    </a:cubicBezTo>
                    <a:cubicBezTo>
                      <a:pt x="5092" y="8509"/>
                      <a:pt x="5220" y="8255"/>
                      <a:pt x="5220" y="7874"/>
                    </a:cubicBezTo>
                    <a:cubicBezTo>
                      <a:pt x="5220" y="7493"/>
                      <a:pt x="5220" y="7112"/>
                      <a:pt x="4838" y="6858"/>
                    </a:cubicBezTo>
                    <a:cubicBezTo>
                      <a:pt x="4456" y="6604"/>
                      <a:pt x="4329" y="6477"/>
                      <a:pt x="3947" y="6223"/>
                    </a:cubicBezTo>
                    <a:cubicBezTo>
                      <a:pt x="3565" y="6096"/>
                      <a:pt x="3183" y="5969"/>
                      <a:pt x="2673" y="5842"/>
                    </a:cubicBezTo>
                    <a:cubicBezTo>
                      <a:pt x="2164" y="5715"/>
                      <a:pt x="1782" y="5588"/>
                      <a:pt x="1400" y="5334"/>
                    </a:cubicBezTo>
                    <a:cubicBezTo>
                      <a:pt x="1018" y="5080"/>
                      <a:pt x="764" y="4826"/>
                      <a:pt x="509" y="4572"/>
                    </a:cubicBezTo>
                    <a:cubicBezTo>
                      <a:pt x="254" y="4191"/>
                      <a:pt x="127" y="3810"/>
                      <a:pt x="127" y="3175"/>
                    </a:cubicBezTo>
                    <a:cubicBezTo>
                      <a:pt x="127" y="2667"/>
                      <a:pt x="127" y="2286"/>
                      <a:pt x="382" y="1905"/>
                    </a:cubicBezTo>
                    <a:cubicBezTo>
                      <a:pt x="509" y="1524"/>
                      <a:pt x="764" y="1143"/>
                      <a:pt x="1018" y="889"/>
                    </a:cubicBezTo>
                    <a:cubicBezTo>
                      <a:pt x="1273" y="635"/>
                      <a:pt x="1655" y="381"/>
                      <a:pt x="2164" y="254"/>
                    </a:cubicBezTo>
                    <a:cubicBezTo>
                      <a:pt x="2673" y="127"/>
                      <a:pt x="3055" y="0"/>
                      <a:pt x="3692" y="0"/>
                    </a:cubicBezTo>
                    <a:cubicBezTo>
                      <a:pt x="4201" y="0"/>
                      <a:pt x="4711" y="0"/>
                      <a:pt x="5092" y="254"/>
                    </a:cubicBezTo>
                    <a:cubicBezTo>
                      <a:pt x="5474" y="381"/>
                      <a:pt x="5856" y="508"/>
                      <a:pt x="6111" y="635"/>
                    </a:cubicBezTo>
                    <a:cubicBezTo>
                      <a:pt x="6111" y="889"/>
                      <a:pt x="5856" y="1143"/>
                      <a:pt x="5729" y="1397"/>
                    </a:cubicBezTo>
                    <a:cubicBezTo>
                      <a:pt x="5729" y="1651"/>
                      <a:pt x="5601" y="1905"/>
                      <a:pt x="5474" y="2159"/>
                    </a:cubicBezTo>
                    <a:lnTo>
                      <a:pt x="5220" y="2159"/>
                    </a:lnTo>
                    <a:cubicBezTo>
                      <a:pt x="5220" y="2159"/>
                      <a:pt x="4838" y="1524"/>
                      <a:pt x="4583" y="1270"/>
                    </a:cubicBezTo>
                    <a:cubicBezTo>
                      <a:pt x="4201" y="1016"/>
                      <a:pt x="3819" y="889"/>
                      <a:pt x="3310" y="889"/>
                    </a:cubicBezTo>
                    <a:cubicBezTo>
                      <a:pt x="3055" y="889"/>
                      <a:pt x="2928" y="889"/>
                      <a:pt x="2673" y="889"/>
                    </a:cubicBezTo>
                    <a:cubicBezTo>
                      <a:pt x="2419" y="889"/>
                      <a:pt x="2292" y="1016"/>
                      <a:pt x="2037" y="1270"/>
                    </a:cubicBezTo>
                    <a:cubicBezTo>
                      <a:pt x="1910" y="1397"/>
                      <a:pt x="1782" y="1651"/>
                      <a:pt x="1655" y="1778"/>
                    </a:cubicBezTo>
                    <a:cubicBezTo>
                      <a:pt x="1528" y="1905"/>
                      <a:pt x="1528" y="2286"/>
                      <a:pt x="1528" y="2540"/>
                    </a:cubicBezTo>
                    <a:cubicBezTo>
                      <a:pt x="1528" y="3048"/>
                      <a:pt x="1528" y="3302"/>
                      <a:pt x="1910" y="3556"/>
                    </a:cubicBezTo>
                    <a:cubicBezTo>
                      <a:pt x="2164" y="3810"/>
                      <a:pt x="2419" y="4064"/>
                      <a:pt x="2801" y="4191"/>
                    </a:cubicBezTo>
                    <a:cubicBezTo>
                      <a:pt x="3183" y="4318"/>
                      <a:pt x="3565" y="4445"/>
                      <a:pt x="4074" y="4572"/>
                    </a:cubicBezTo>
                    <a:cubicBezTo>
                      <a:pt x="4456" y="4572"/>
                      <a:pt x="4965" y="4826"/>
                      <a:pt x="5347" y="5080"/>
                    </a:cubicBezTo>
                    <a:cubicBezTo>
                      <a:pt x="5729" y="5334"/>
                      <a:pt x="5983" y="5588"/>
                      <a:pt x="6238" y="5842"/>
                    </a:cubicBezTo>
                    <a:cubicBezTo>
                      <a:pt x="6493" y="6223"/>
                      <a:pt x="6620" y="6604"/>
                      <a:pt x="6620" y="7239"/>
                    </a:cubicBezTo>
                    <a:cubicBezTo>
                      <a:pt x="6620" y="7620"/>
                      <a:pt x="6620" y="8001"/>
                      <a:pt x="6366" y="8509"/>
                    </a:cubicBezTo>
                    <a:cubicBezTo>
                      <a:pt x="6111" y="9017"/>
                      <a:pt x="5983" y="9271"/>
                      <a:pt x="5601" y="9525"/>
                    </a:cubicBezTo>
                    <a:cubicBezTo>
                      <a:pt x="5220" y="9906"/>
                      <a:pt x="4838" y="10033"/>
                      <a:pt x="4456" y="10287"/>
                    </a:cubicBezTo>
                    <a:cubicBezTo>
                      <a:pt x="4074" y="10541"/>
                      <a:pt x="3437" y="10541"/>
                      <a:pt x="2801" y="10541"/>
                    </a:cubicBezTo>
                    <a:cubicBezTo>
                      <a:pt x="2164" y="10541"/>
                      <a:pt x="1655" y="10541"/>
                      <a:pt x="1146" y="10287"/>
                    </a:cubicBezTo>
                    <a:cubicBezTo>
                      <a:pt x="636" y="10033"/>
                      <a:pt x="382" y="10033"/>
                      <a:pt x="0" y="9779"/>
                    </a:cubicBezTo>
                    <a:cubicBezTo>
                      <a:pt x="0" y="9652"/>
                      <a:pt x="127" y="9398"/>
                      <a:pt x="254" y="9017"/>
                    </a:cubicBezTo>
                    <a:cubicBezTo>
                      <a:pt x="254" y="8636"/>
                      <a:pt x="382" y="8382"/>
                      <a:pt x="382" y="8255"/>
                    </a:cubicBezTo>
                    <a:lnTo>
                      <a:pt x="636" y="8255"/>
                    </a:lnTo>
                    <a:cubicBezTo>
                      <a:pt x="636" y="8255"/>
                      <a:pt x="764" y="8509"/>
                      <a:pt x="1018" y="8763"/>
                    </a:cubicBezTo>
                    <a:close/>
                  </a:path>
                </a:pathLst>
              </a:custGeom>
              <a:solidFill>
                <a:srgbClr val="FFFFFF"/>
              </a:solidFill>
              <a:ln w="0" cap="flat">
                <a:noFill/>
                <a:prstDash val="solid"/>
                <a:miter/>
              </a:ln>
            </p:spPr>
            <p:txBody>
              <a:bodyPr rtlCol="0" anchor="ctr"/>
              <a:lstStyle/>
              <a:p>
                <a:endParaRPr lang="en-AD" sz="2400"/>
              </a:p>
            </p:txBody>
          </p:sp>
          <p:sp>
            <p:nvSpPr>
              <p:cNvPr id="203" name="Freeform 202">
                <a:extLst>
                  <a:ext uri="{FF2B5EF4-FFF2-40B4-BE49-F238E27FC236}">
                    <a16:creationId xmlns:a16="http://schemas.microsoft.com/office/drawing/2014/main" id="{47068D1C-9516-F19F-7125-D2CF9F1A6EBE}"/>
                  </a:ext>
                </a:extLst>
              </p:cNvPr>
              <p:cNvSpPr/>
              <p:nvPr/>
            </p:nvSpPr>
            <p:spPr>
              <a:xfrm>
                <a:off x="4353655" y="4847209"/>
                <a:ext cx="8147" cy="15112"/>
              </a:xfrm>
              <a:custGeom>
                <a:avLst/>
                <a:gdLst>
                  <a:gd name="connsiteX0" fmla="*/ 254 w 8147"/>
                  <a:gd name="connsiteY0" fmla="*/ 2794 h 15112"/>
                  <a:gd name="connsiteX1" fmla="*/ 254 w 8147"/>
                  <a:gd name="connsiteY1" fmla="*/ 0 h 15112"/>
                  <a:gd name="connsiteX2" fmla="*/ 2164 w 8147"/>
                  <a:gd name="connsiteY2" fmla="*/ 0 h 15112"/>
                  <a:gd name="connsiteX3" fmla="*/ 4074 w 8147"/>
                  <a:gd name="connsiteY3" fmla="*/ 0 h 15112"/>
                  <a:gd name="connsiteX4" fmla="*/ 5984 w 8147"/>
                  <a:gd name="connsiteY4" fmla="*/ 0 h 15112"/>
                  <a:gd name="connsiteX5" fmla="*/ 8148 w 8147"/>
                  <a:gd name="connsiteY5" fmla="*/ 0 h 15112"/>
                  <a:gd name="connsiteX6" fmla="*/ 8148 w 8147"/>
                  <a:gd name="connsiteY6" fmla="*/ 635 h 15112"/>
                  <a:gd name="connsiteX7" fmla="*/ 8148 w 8147"/>
                  <a:gd name="connsiteY7" fmla="*/ 1270 h 15112"/>
                  <a:gd name="connsiteX8" fmla="*/ 6748 w 8147"/>
                  <a:gd name="connsiteY8" fmla="*/ 1270 h 15112"/>
                  <a:gd name="connsiteX9" fmla="*/ 5092 w 8147"/>
                  <a:gd name="connsiteY9" fmla="*/ 1270 h 15112"/>
                  <a:gd name="connsiteX10" fmla="*/ 3437 w 8147"/>
                  <a:gd name="connsiteY10" fmla="*/ 1270 h 15112"/>
                  <a:gd name="connsiteX11" fmla="*/ 2164 w 8147"/>
                  <a:gd name="connsiteY11" fmla="*/ 1270 h 15112"/>
                  <a:gd name="connsiteX12" fmla="*/ 2164 w 8147"/>
                  <a:gd name="connsiteY12" fmla="*/ 2667 h 15112"/>
                  <a:gd name="connsiteX13" fmla="*/ 2164 w 8147"/>
                  <a:gd name="connsiteY13" fmla="*/ 4064 h 15112"/>
                  <a:gd name="connsiteX14" fmla="*/ 2164 w 8147"/>
                  <a:gd name="connsiteY14" fmla="*/ 5461 h 15112"/>
                  <a:gd name="connsiteX15" fmla="*/ 2164 w 8147"/>
                  <a:gd name="connsiteY15" fmla="*/ 6731 h 15112"/>
                  <a:gd name="connsiteX16" fmla="*/ 4965 w 8147"/>
                  <a:gd name="connsiteY16" fmla="*/ 6731 h 15112"/>
                  <a:gd name="connsiteX17" fmla="*/ 7639 w 8147"/>
                  <a:gd name="connsiteY17" fmla="*/ 6604 h 15112"/>
                  <a:gd name="connsiteX18" fmla="*/ 7639 w 8147"/>
                  <a:gd name="connsiteY18" fmla="*/ 7239 h 15112"/>
                  <a:gd name="connsiteX19" fmla="*/ 7639 w 8147"/>
                  <a:gd name="connsiteY19" fmla="*/ 7874 h 15112"/>
                  <a:gd name="connsiteX20" fmla="*/ 6366 w 8147"/>
                  <a:gd name="connsiteY20" fmla="*/ 7874 h 15112"/>
                  <a:gd name="connsiteX21" fmla="*/ 4965 w 8147"/>
                  <a:gd name="connsiteY21" fmla="*/ 7874 h 15112"/>
                  <a:gd name="connsiteX22" fmla="*/ 3437 w 8147"/>
                  <a:gd name="connsiteY22" fmla="*/ 7874 h 15112"/>
                  <a:gd name="connsiteX23" fmla="*/ 2037 w 8147"/>
                  <a:gd name="connsiteY23" fmla="*/ 7874 h 15112"/>
                  <a:gd name="connsiteX24" fmla="*/ 2037 w 8147"/>
                  <a:gd name="connsiteY24" fmla="*/ 9652 h 15112"/>
                  <a:gd name="connsiteX25" fmla="*/ 2037 w 8147"/>
                  <a:gd name="connsiteY25" fmla="*/ 12446 h 15112"/>
                  <a:gd name="connsiteX26" fmla="*/ 2037 w 8147"/>
                  <a:gd name="connsiteY26" fmla="*/ 15113 h 15112"/>
                  <a:gd name="connsiteX27" fmla="*/ 1018 w 8147"/>
                  <a:gd name="connsiteY27" fmla="*/ 15113 h 15112"/>
                  <a:gd name="connsiteX28" fmla="*/ 0 w 8147"/>
                  <a:gd name="connsiteY28" fmla="*/ 15113 h 15112"/>
                  <a:gd name="connsiteX29" fmla="*/ 0 w 8147"/>
                  <a:gd name="connsiteY29" fmla="*/ 12446 h 15112"/>
                  <a:gd name="connsiteX30" fmla="*/ 0 w 8147"/>
                  <a:gd name="connsiteY30" fmla="*/ 9652 h 15112"/>
                  <a:gd name="connsiteX31" fmla="*/ 0 w 8147"/>
                  <a:gd name="connsiteY31" fmla="*/ 5969 h 15112"/>
                  <a:gd name="connsiteX32" fmla="*/ 0 w 8147"/>
                  <a:gd name="connsiteY32" fmla="*/ 3175 h 1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47" h="15112">
                    <a:moveTo>
                      <a:pt x="254" y="2794"/>
                    </a:moveTo>
                    <a:cubicBezTo>
                      <a:pt x="254" y="1905"/>
                      <a:pt x="254" y="1016"/>
                      <a:pt x="254" y="0"/>
                    </a:cubicBezTo>
                    <a:cubicBezTo>
                      <a:pt x="891" y="0"/>
                      <a:pt x="1528" y="0"/>
                      <a:pt x="2164" y="0"/>
                    </a:cubicBezTo>
                    <a:cubicBezTo>
                      <a:pt x="2801" y="0"/>
                      <a:pt x="3437" y="0"/>
                      <a:pt x="4074" y="0"/>
                    </a:cubicBezTo>
                    <a:cubicBezTo>
                      <a:pt x="4711" y="0"/>
                      <a:pt x="5347" y="0"/>
                      <a:pt x="5984" y="0"/>
                    </a:cubicBezTo>
                    <a:cubicBezTo>
                      <a:pt x="6620" y="0"/>
                      <a:pt x="7384" y="0"/>
                      <a:pt x="8148" y="0"/>
                    </a:cubicBezTo>
                    <a:cubicBezTo>
                      <a:pt x="8148" y="254"/>
                      <a:pt x="8148" y="381"/>
                      <a:pt x="8148" y="635"/>
                    </a:cubicBezTo>
                    <a:cubicBezTo>
                      <a:pt x="8148" y="889"/>
                      <a:pt x="8148" y="1016"/>
                      <a:pt x="8148" y="1270"/>
                    </a:cubicBezTo>
                    <a:cubicBezTo>
                      <a:pt x="7766" y="1270"/>
                      <a:pt x="7257" y="1270"/>
                      <a:pt x="6748" y="1270"/>
                    </a:cubicBezTo>
                    <a:cubicBezTo>
                      <a:pt x="6238" y="1270"/>
                      <a:pt x="5602" y="1270"/>
                      <a:pt x="5092" y="1270"/>
                    </a:cubicBezTo>
                    <a:cubicBezTo>
                      <a:pt x="4583" y="1270"/>
                      <a:pt x="3947" y="1270"/>
                      <a:pt x="3437" y="1270"/>
                    </a:cubicBezTo>
                    <a:cubicBezTo>
                      <a:pt x="2928" y="1270"/>
                      <a:pt x="2546" y="1270"/>
                      <a:pt x="2164" y="1270"/>
                    </a:cubicBezTo>
                    <a:cubicBezTo>
                      <a:pt x="2164" y="1778"/>
                      <a:pt x="2164" y="2286"/>
                      <a:pt x="2164" y="2667"/>
                    </a:cubicBezTo>
                    <a:cubicBezTo>
                      <a:pt x="2164" y="3048"/>
                      <a:pt x="2164" y="3556"/>
                      <a:pt x="2164" y="4064"/>
                    </a:cubicBezTo>
                    <a:cubicBezTo>
                      <a:pt x="2164" y="4572"/>
                      <a:pt x="2164" y="5080"/>
                      <a:pt x="2164" y="5461"/>
                    </a:cubicBezTo>
                    <a:cubicBezTo>
                      <a:pt x="2164" y="5842"/>
                      <a:pt x="2164" y="6350"/>
                      <a:pt x="2164" y="6731"/>
                    </a:cubicBezTo>
                    <a:cubicBezTo>
                      <a:pt x="3055" y="6731"/>
                      <a:pt x="4074" y="6731"/>
                      <a:pt x="4965" y="6731"/>
                    </a:cubicBezTo>
                    <a:cubicBezTo>
                      <a:pt x="5856" y="6731"/>
                      <a:pt x="6748" y="6731"/>
                      <a:pt x="7639" y="6604"/>
                    </a:cubicBezTo>
                    <a:cubicBezTo>
                      <a:pt x="7639" y="6858"/>
                      <a:pt x="7639" y="6985"/>
                      <a:pt x="7639" y="7239"/>
                    </a:cubicBezTo>
                    <a:cubicBezTo>
                      <a:pt x="7639" y="7493"/>
                      <a:pt x="7639" y="7620"/>
                      <a:pt x="7639" y="7874"/>
                    </a:cubicBezTo>
                    <a:cubicBezTo>
                      <a:pt x="7257" y="7874"/>
                      <a:pt x="6875" y="7874"/>
                      <a:pt x="6366" y="7874"/>
                    </a:cubicBezTo>
                    <a:cubicBezTo>
                      <a:pt x="5856" y="7874"/>
                      <a:pt x="5474" y="7874"/>
                      <a:pt x="4965" y="7874"/>
                    </a:cubicBezTo>
                    <a:cubicBezTo>
                      <a:pt x="4456" y="7874"/>
                      <a:pt x="3947" y="7874"/>
                      <a:pt x="3437" y="7874"/>
                    </a:cubicBezTo>
                    <a:lnTo>
                      <a:pt x="2037" y="7874"/>
                    </a:lnTo>
                    <a:lnTo>
                      <a:pt x="2037" y="9652"/>
                    </a:lnTo>
                    <a:cubicBezTo>
                      <a:pt x="2037" y="10541"/>
                      <a:pt x="2037" y="11557"/>
                      <a:pt x="2037" y="12446"/>
                    </a:cubicBezTo>
                    <a:cubicBezTo>
                      <a:pt x="2037" y="13335"/>
                      <a:pt x="2037" y="14224"/>
                      <a:pt x="2037" y="15113"/>
                    </a:cubicBezTo>
                    <a:cubicBezTo>
                      <a:pt x="1655" y="15113"/>
                      <a:pt x="1400" y="15113"/>
                      <a:pt x="1018" y="15113"/>
                    </a:cubicBezTo>
                    <a:cubicBezTo>
                      <a:pt x="636" y="15113"/>
                      <a:pt x="254" y="15113"/>
                      <a:pt x="0" y="15113"/>
                    </a:cubicBezTo>
                    <a:cubicBezTo>
                      <a:pt x="0" y="14224"/>
                      <a:pt x="0" y="13335"/>
                      <a:pt x="0" y="12446"/>
                    </a:cubicBezTo>
                    <a:cubicBezTo>
                      <a:pt x="0" y="11557"/>
                      <a:pt x="0" y="10668"/>
                      <a:pt x="0" y="9652"/>
                    </a:cubicBezTo>
                    <a:lnTo>
                      <a:pt x="0" y="5969"/>
                    </a:lnTo>
                    <a:cubicBezTo>
                      <a:pt x="0" y="5080"/>
                      <a:pt x="0" y="4064"/>
                      <a:pt x="0" y="3175"/>
                    </a:cubicBezTo>
                    <a:close/>
                  </a:path>
                </a:pathLst>
              </a:custGeom>
              <a:solidFill>
                <a:srgbClr val="FFFFFF"/>
              </a:solidFill>
              <a:ln w="0" cap="flat">
                <a:noFill/>
                <a:prstDash val="solid"/>
                <a:miter/>
              </a:ln>
            </p:spPr>
            <p:txBody>
              <a:bodyPr rtlCol="0" anchor="ctr"/>
              <a:lstStyle/>
              <a:p>
                <a:endParaRPr lang="en-AD" sz="2400"/>
              </a:p>
            </p:txBody>
          </p:sp>
          <p:sp>
            <p:nvSpPr>
              <p:cNvPr id="204" name="Freeform 203">
                <a:extLst>
                  <a:ext uri="{FF2B5EF4-FFF2-40B4-BE49-F238E27FC236}">
                    <a16:creationId xmlns:a16="http://schemas.microsoft.com/office/drawing/2014/main" id="{C53E5381-11FC-09E9-BEF0-989807851305}"/>
                  </a:ext>
                </a:extLst>
              </p:cNvPr>
              <p:cNvSpPr/>
              <p:nvPr/>
            </p:nvSpPr>
            <p:spPr>
              <a:xfrm>
                <a:off x="4362440" y="4851653"/>
                <a:ext cx="10566" cy="10414"/>
              </a:xfrm>
              <a:custGeom>
                <a:avLst/>
                <a:gdLst>
                  <a:gd name="connsiteX0" fmla="*/ 0 w 10566"/>
                  <a:gd name="connsiteY0" fmla="*/ 5207 h 10414"/>
                  <a:gd name="connsiteX1" fmla="*/ 509 w 10566"/>
                  <a:gd name="connsiteY1" fmla="*/ 2794 h 10414"/>
                  <a:gd name="connsiteX2" fmla="*/ 1782 w 10566"/>
                  <a:gd name="connsiteY2" fmla="*/ 1143 h 10414"/>
                  <a:gd name="connsiteX3" fmla="*/ 3437 w 10566"/>
                  <a:gd name="connsiteY3" fmla="*/ 254 h 10414"/>
                  <a:gd name="connsiteX4" fmla="*/ 5347 w 10566"/>
                  <a:gd name="connsiteY4" fmla="*/ 0 h 10414"/>
                  <a:gd name="connsiteX5" fmla="*/ 7257 w 10566"/>
                  <a:gd name="connsiteY5" fmla="*/ 254 h 10414"/>
                  <a:gd name="connsiteX6" fmla="*/ 8912 w 10566"/>
                  <a:gd name="connsiteY6" fmla="*/ 1143 h 10414"/>
                  <a:gd name="connsiteX7" fmla="*/ 10058 w 10566"/>
                  <a:gd name="connsiteY7" fmla="*/ 2794 h 10414"/>
                  <a:gd name="connsiteX8" fmla="*/ 10567 w 10566"/>
                  <a:gd name="connsiteY8" fmla="*/ 5207 h 10414"/>
                  <a:gd name="connsiteX9" fmla="*/ 10058 w 10566"/>
                  <a:gd name="connsiteY9" fmla="*/ 7620 h 10414"/>
                  <a:gd name="connsiteX10" fmla="*/ 8912 w 10566"/>
                  <a:gd name="connsiteY10" fmla="*/ 9271 h 10414"/>
                  <a:gd name="connsiteX11" fmla="*/ 7257 w 10566"/>
                  <a:gd name="connsiteY11" fmla="*/ 10160 h 10414"/>
                  <a:gd name="connsiteX12" fmla="*/ 5347 w 10566"/>
                  <a:gd name="connsiteY12" fmla="*/ 10414 h 10414"/>
                  <a:gd name="connsiteX13" fmla="*/ 3437 w 10566"/>
                  <a:gd name="connsiteY13" fmla="*/ 10160 h 10414"/>
                  <a:gd name="connsiteX14" fmla="*/ 1782 w 10566"/>
                  <a:gd name="connsiteY14" fmla="*/ 9271 h 10414"/>
                  <a:gd name="connsiteX15" fmla="*/ 509 w 10566"/>
                  <a:gd name="connsiteY15" fmla="*/ 7620 h 10414"/>
                  <a:gd name="connsiteX16" fmla="*/ 0 w 10566"/>
                  <a:gd name="connsiteY16" fmla="*/ 5207 h 10414"/>
                  <a:gd name="connsiteX17" fmla="*/ 1910 w 10566"/>
                  <a:gd name="connsiteY17" fmla="*/ 5207 h 10414"/>
                  <a:gd name="connsiteX18" fmla="*/ 2037 w 10566"/>
                  <a:gd name="connsiteY18" fmla="*/ 6985 h 10414"/>
                  <a:gd name="connsiteX19" fmla="*/ 2546 w 10566"/>
                  <a:gd name="connsiteY19" fmla="*/ 8509 h 10414"/>
                  <a:gd name="connsiteX20" fmla="*/ 3565 w 10566"/>
                  <a:gd name="connsiteY20" fmla="*/ 9525 h 10414"/>
                  <a:gd name="connsiteX21" fmla="*/ 5092 w 10566"/>
                  <a:gd name="connsiteY21" fmla="*/ 9906 h 10414"/>
                  <a:gd name="connsiteX22" fmla="*/ 6620 w 10566"/>
                  <a:gd name="connsiteY22" fmla="*/ 9525 h 10414"/>
                  <a:gd name="connsiteX23" fmla="*/ 7639 w 10566"/>
                  <a:gd name="connsiteY23" fmla="*/ 8509 h 10414"/>
                  <a:gd name="connsiteX24" fmla="*/ 8148 w 10566"/>
                  <a:gd name="connsiteY24" fmla="*/ 6985 h 10414"/>
                  <a:gd name="connsiteX25" fmla="*/ 8275 w 10566"/>
                  <a:gd name="connsiteY25" fmla="*/ 5207 h 10414"/>
                  <a:gd name="connsiteX26" fmla="*/ 8148 w 10566"/>
                  <a:gd name="connsiteY26" fmla="*/ 3429 h 10414"/>
                  <a:gd name="connsiteX27" fmla="*/ 7639 w 10566"/>
                  <a:gd name="connsiteY27" fmla="*/ 1905 h 10414"/>
                  <a:gd name="connsiteX28" fmla="*/ 6620 w 10566"/>
                  <a:gd name="connsiteY28" fmla="*/ 889 h 10414"/>
                  <a:gd name="connsiteX29" fmla="*/ 5092 w 10566"/>
                  <a:gd name="connsiteY29" fmla="*/ 508 h 10414"/>
                  <a:gd name="connsiteX30" fmla="*/ 3565 w 10566"/>
                  <a:gd name="connsiteY30" fmla="*/ 889 h 10414"/>
                  <a:gd name="connsiteX31" fmla="*/ 2546 w 10566"/>
                  <a:gd name="connsiteY31" fmla="*/ 1905 h 10414"/>
                  <a:gd name="connsiteX32" fmla="*/ 2037 w 10566"/>
                  <a:gd name="connsiteY32" fmla="*/ 3429 h 10414"/>
                  <a:gd name="connsiteX33" fmla="*/ 1910 w 10566"/>
                  <a:gd name="connsiteY33" fmla="*/ 5207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566" h="10414">
                    <a:moveTo>
                      <a:pt x="0" y="5207"/>
                    </a:moveTo>
                    <a:cubicBezTo>
                      <a:pt x="0" y="4191"/>
                      <a:pt x="127" y="3429"/>
                      <a:pt x="509" y="2794"/>
                    </a:cubicBezTo>
                    <a:cubicBezTo>
                      <a:pt x="764" y="2159"/>
                      <a:pt x="1273" y="1524"/>
                      <a:pt x="1782" y="1143"/>
                    </a:cubicBezTo>
                    <a:cubicBezTo>
                      <a:pt x="2292" y="762"/>
                      <a:pt x="2801" y="381"/>
                      <a:pt x="3437" y="254"/>
                    </a:cubicBezTo>
                    <a:cubicBezTo>
                      <a:pt x="4074" y="0"/>
                      <a:pt x="4711" y="0"/>
                      <a:pt x="5347" y="0"/>
                    </a:cubicBezTo>
                    <a:cubicBezTo>
                      <a:pt x="5984" y="0"/>
                      <a:pt x="6620" y="0"/>
                      <a:pt x="7257" y="254"/>
                    </a:cubicBezTo>
                    <a:cubicBezTo>
                      <a:pt x="7893" y="508"/>
                      <a:pt x="8403" y="762"/>
                      <a:pt x="8912" y="1143"/>
                    </a:cubicBezTo>
                    <a:cubicBezTo>
                      <a:pt x="9421" y="1524"/>
                      <a:pt x="9803" y="2159"/>
                      <a:pt x="10058" y="2794"/>
                    </a:cubicBezTo>
                    <a:cubicBezTo>
                      <a:pt x="10312" y="3429"/>
                      <a:pt x="10567" y="4318"/>
                      <a:pt x="10567" y="5207"/>
                    </a:cubicBezTo>
                    <a:cubicBezTo>
                      <a:pt x="10567" y="6096"/>
                      <a:pt x="10439" y="6985"/>
                      <a:pt x="10058" y="7620"/>
                    </a:cubicBezTo>
                    <a:cubicBezTo>
                      <a:pt x="9803" y="8255"/>
                      <a:pt x="9294" y="8890"/>
                      <a:pt x="8912" y="9271"/>
                    </a:cubicBezTo>
                    <a:cubicBezTo>
                      <a:pt x="8530" y="9652"/>
                      <a:pt x="7893" y="10033"/>
                      <a:pt x="7257" y="10160"/>
                    </a:cubicBezTo>
                    <a:cubicBezTo>
                      <a:pt x="6620" y="10287"/>
                      <a:pt x="5984" y="10414"/>
                      <a:pt x="5347" y="10414"/>
                    </a:cubicBezTo>
                    <a:cubicBezTo>
                      <a:pt x="4711" y="10414"/>
                      <a:pt x="4074" y="10414"/>
                      <a:pt x="3437" y="10160"/>
                    </a:cubicBezTo>
                    <a:cubicBezTo>
                      <a:pt x="2801" y="9906"/>
                      <a:pt x="2292" y="9652"/>
                      <a:pt x="1782" y="9271"/>
                    </a:cubicBezTo>
                    <a:cubicBezTo>
                      <a:pt x="1273" y="8890"/>
                      <a:pt x="891" y="8255"/>
                      <a:pt x="509" y="7620"/>
                    </a:cubicBezTo>
                    <a:cubicBezTo>
                      <a:pt x="254" y="6985"/>
                      <a:pt x="0" y="6096"/>
                      <a:pt x="0" y="5207"/>
                    </a:cubicBezTo>
                    <a:close/>
                    <a:moveTo>
                      <a:pt x="1910" y="5207"/>
                    </a:moveTo>
                    <a:cubicBezTo>
                      <a:pt x="1910" y="5207"/>
                      <a:pt x="1910" y="6350"/>
                      <a:pt x="2037" y="6985"/>
                    </a:cubicBezTo>
                    <a:cubicBezTo>
                      <a:pt x="2037" y="7493"/>
                      <a:pt x="2292" y="8001"/>
                      <a:pt x="2546" y="8509"/>
                    </a:cubicBezTo>
                    <a:cubicBezTo>
                      <a:pt x="2801" y="8890"/>
                      <a:pt x="3183" y="9271"/>
                      <a:pt x="3565" y="9525"/>
                    </a:cubicBezTo>
                    <a:cubicBezTo>
                      <a:pt x="3947" y="9779"/>
                      <a:pt x="4583" y="9906"/>
                      <a:pt x="5092" y="9906"/>
                    </a:cubicBezTo>
                    <a:cubicBezTo>
                      <a:pt x="5602" y="9906"/>
                      <a:pt x="6238" y="9779"/>
                      <a:pt x="6620" y="9525"/>
                    </a:cubicBezTo>
                    <a:cubicBezTo>
                      <a:pt x="7002" y="9271"/>
                      <a:pt x="7384" y="8890"/>
                      <a:pt x="7639" y="8509"/>
                    </a:cubicBezTo>
                    <a:cubicBezTo>
                      <a:pt x="7893" y="8128"/>
                      <a:pt x="8021" y="7620"/>
                      <a:pt x="8148" y="6985"/>
                    </a:cubicBezTo>
                    <a:cubicBezTo>
                      <a:pt x="8148" y="6477"/>
                      <a:pt x="8275" y="5842"/>
                      <a:pt x="8275" y="5207"/>
                    </a:cubicBezTo>
                    <a:cubicBezTo>
                      <a:pt x="8275" y="4572"/>
                      <a:pt x="8275" y="4064"/>
                      <a:pt x="8148" y="3429"/>
                    </a:cubicBezTo>
                    <a:cubicBezTo>
                      <a:pt x="8148" y="2921"/>
                      <a:pt x="7893" y="2413"/>
                      <a:pt x="7639" y="1905"/>
                    </a:cubicBezTo>
                    <a:cubicBezTo>
                      <a:pt x="7384" y="1524"/>
                      <a:pt x="7002" y="1143"/>
                      <a:pt x="6620" y="889"/>
                    </a:cubicBezTo>
                    <a:cubicBezTo>
                      <a:pt x="6238" y="635"/>
                      <a:pt x="5602" y="508"/>
                      <a:pt x="5092" y="508"/>
                    </a:cubicBezTo>
                    <a:cubicBezTo>
                      <a:pt x="4583" y="508"/>
                      <a:pt x="3947" y="635"/>
                      <a:pt x="3565" y="889"/>
                    </a:cubicBezTo>
                    <a:cubicBezTo>
                      <a:pt x="3183" y="1143"/>
                      <a:pt x="2801" y="1524"/>
                      <a:pt x="2546" y="1905"/>
                    </a:cubicBezTo>
                    <a:cubicBezTo>
                      <a:pt x="2292" y="2286"/>
                      <a:pt x="2164" y="2794"/>
                      <a:pt x="2037" y="3429"/>
                    </a:cubicBezTo>
                    <a:cubicBezTo>
                      <a:pt x="2037" y="3937"/>
                      <a:pt x="1910" y="4572"/>
                      <a:pt x="1910" y="5207"/>
                    </a:cubicBezTo>
                    <a:close/>
                  </a:path>
                </a:pathLst>
              </a:custGeom>
              <a:solidFill>
                <a:srgbClr val="FFFFFF"/>
              </a:solidFill>
              <a:ln w="0" cap="flat">
                <a:noFill/>
                <a:prstDash val="solid"/>
                <a:miter/>
              </a:ln>
            </p:spPr>
            <p:txBody>
              <a:bodyPr rtlCol="0" anchor="ctr"/>
              <a:lstStyle/>
              <a:p>
                <a:endParaRPr lang="en-AD" sz="2400"/>
              </a:p>
            </p:txBody>
          </p:sp>
          <p:sp>
            <p:nvSpPr>
              <p:cNvPr id="205" name="Freeform 204">
                <a:extLst>
                  <a:ext uri="{FF2B5EF4-FFF2-40B4-BE49-F238E27FC236}">
                    <a16:creationId xmlns:a16="http://schemas.microsoft.com/office/drawing/2014/main" id="{B3836C5F-CB60-0FA0-FF43-82048A01AFA1}"/>
                  </a:ext>
                </a:extLst>
              </p:cNvPr>
              <p:cNvSpPr/>
              <p:nvPr/>
            </p:nvSpPr>
            <p:spPr>
              <a:xfrm>
                <a:off x="4375426" y="4851780"/>
                <a:ext cx="5474" cy="10286"/>
              </a:xfrm>
              <a:custGeom>
                <a:avLst/>
                <a:gdLst>
                  <a:gd name="connsiteX0" fmla="*/ 4456 w 5474"/>
                  <a:gd name="connsiteY0" fmla="*/ 1524 h 10286"/>
                  <a:gd name="connsiteX1" fmla="*/ 3819 w 5474"/>
                  <a:gd name="connsiteY1" fmla="*/ 1524 h 10286"/>
                  <a:gd name="connsiteX2" fmla="*/ 2928 w 5474"/>
                  <a:gd name="connsiteY2" fmla="*/ 1778 h 10286"/>
                  <a:gd name="connsiteX3" fmla="*/ 2292 w 5474"/>
                  <a:gd name="connsiteY3" fmla="*/ 2413 h 10286"/>
                  <a:gd name="connsiteX4" fmla="*/ 1910 w 5474"/>
                  <a:gd name="connsiteY4" fmla="*/ 3302 h 10286"/>
                  <a:gd name="connsiteX5" fmla="*/ 1783 w 5474"/>
                  <a:gd name="connsiteY5" fmla="*/ 4445 h 10286"/>
                  <a:gd name="connsiteX6" fmla="*/ 1783 w 5474"/>
                  <a:gd name="connsiteY6" fmla="*/ 6858 h 10286"/>
                  <a:gd name="connsiteX7" fmla="*/ 1783 w 5474"/>
                  <a:gd name="connsiteY7" fmla="*/ 9017 h 10286"/>
                  <a:gd name="connsiteX8" fmla="*/ 1783 w 5474"/>
                  <a:gd name="connsiteY8" fmla="*/ 10287 h 10286"/>
                  <a:gd name="connsiteX9" fmla="*/ 891 w 5474"/>
                  <a:gd name="connsiteY9" fmla="*/ 10287 h 10286"/>
                  <a:gd name="connsiteX10" fmla="*/ 0 w 5474"/>
                  <a:gd name="connsiteY10" fmla="*/ 10287 h 10286"/>
                  <a:gd name="connsiteX11" fmla="*/ 0 w 5474"/>
                  <a:gd name="connsiteY11" fmla="*/ 8255 h 10286"/>
                  <a:gd name="connsiteX12" fmla="*/ 0 w 5474"/>
                  <a:gd name="connsiteY12" fmla="*/ 5207 h 10286"/>
                  <a:gd name="connsiteX13" fmla="*/ 0 w 5474"/>
                  <a:gd name="connsiteY13" fmla="*/ 4572 h 10286"/>
                  <a:gd name="connsiteX14" fmla="*/ 0 w 5474"/>
                  <a:gd name="connsiteY14" fmla="*/ 2667 h 10286"/>
                  <a:gd name="connsiteX15" fmla="*/ 0 w 5474"/>
                  <a:gd name="connsiteY15" fmla="*/ 127 h 10286"/>
                  <a:gd name="connsiteX16" fmla="*/ 509 w 5474"/>
                  <a:gd name="connsiteY16" fmla="*/ 127 h 10286"/>
                  <a:gd name="connsiteX17" fmla="*/ 1019 w 5474"/>
                  <a:gd name="connsiteY17" fmla="*/ 127 h 10286"/>
                  <a:gd name="connsiteX18" fmla="*/ 1401 w 5474"/>
                  <a:gd name="connsiteY18" fmla="*/ 127 h 10286"/>
                  <a:gd name="connsiteX19" fmla="*/ 1910 w 5474"/>
                  <a:gd name="connsiteY19" fmla="*/ 127 h 10286"/>
                  <a:gd name="connsiteX20" fmla="*/ 1910 w 5474"/>
                  <a:gd name="connsiteY20" fmla="*/ 1397 h 10286"/>
                  <a:gd name="connsiteX21" fmla="*/ 1910 w 5474"/>
                  <a:gd name="connsiteY21" fmla="*/ 2286 h 10286"/>
                  <a:gd name="connsiteX22" fmla="*/ 1910 w 5474"/>
                  <a:gd name="connsiteY22" fmla="*/ 2286 h 10286"/>
                  <a:gd name="connsiteX23" fmla="*/ 4711 w 5474"/>
                  <a:gd name="connsiteY23" fmla="*/ 0 h 10286"/>
                  <a:gd name="connsiteX24" fmla="*/ 5092 w 5474"/>
                  <a:gd name="connsiteY24" fmla="*/ 0 h 10286"/>
                  <a:gd name="connsiteX25" fmla="*/ 5474 w 5474"/>
                  <a:gd name="connsiteY25" fmla="*/ 0 h 10286"/>
                  <a:gd name="connsiteX26" fmla="*/ 5347 w 5474"/>
                  <a:gd name="connsiteY26" fmla="*/ 762 h 10286"/>
                  <a:gd name="connsiteX27" fmla="*/ 5347 w 5474"/>
                  <a:gd name="connsiteY27" fmla="*/ 1651 h 10286"/>
                  <a:gd name="connsiteX28" fmla="*/ 5220 w 5474"/>
                  <a:gd name="connsiteY28" fmla="*/ 1651 h 10286"/>
                  <a:gd name="connsiteX29" fmla="*/ 4838 w 5474"/>
                  <a:gd name="connsiteY29" fmla="*/ 1524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4" h="10286">
                    <a:moveTo>
                      <a:pt x="4456" y="1524"/>
                    </a:moveTo>
                    <a:cubicBezTo>
                      <a:pt x="4456" y="1524"/>
                      <a:pt x="4074" y="1524"/>
                      <a:pt x="3819" y="1524"/>
                    </a:cubicBezTo>
                    <a:cubicBezTo>
                      <a:pt x="3437" y="1524"/>
                      <a:pt x="3183" y="1524"/>
                      <a:pt x="2928" y="1778"/>
                    </a:cubicBezTo>
                    <a:cubicBezTo>
                      <a:pt x="2673" y="1905"/>
                      <a:pt x="2419" y="2159"/>
                      <a:pt x="2292" y="2413"/>
                    </a:cubicBezTo>
                    <a:cubicBezTo>
                      <a:pt x="2165" y="2667"/>
                      <a:pt x="1910" y="3048"/>
                      <a:pt x="1910" y="3302"/>
                    </a:cubicBezTo>
                    <a:cubicBezTo>
                      <a:pt x="1910" y="3683"/>
                      <a:pt x="1783" y="4064"/>
                      <a:pt x="1783" y="4445"/>
                    </a:cubicBezTo>
                    <a:lnTo>
                      <a:pt x="1783" y="6858"/>
                    </a:lnTo>
                    <a:cubicBezTo>
                      <a:pt x="1783" y="7874"/>
                      <a:pt x="1783" y="8509"/>
                      <a:pt x="1783" y="9017"/>
                    </a:cubicBezTo>
                    <a:cubicBezTo>
                      <a:pt x="1783" y="9525"/>
                      <a:pt x="1783" y="9906"/>
                      <a:pt x="1783" y="10287"/>
                    </a:cubicBezTo>
                    <a:cubicBezTo>
                      <a:pt x="1528" y="10287"/>
                      <a:pt x="1273" y="10287"/>
                      <a:pt x="891" y="10287"/>
                    </a:cubicBezTo>
                    <a:cubicBezTo>
                      <a:pt x="636" y="10287"/>
                      <a:pt x="254" y="10287"/>
                      <a:pt x="0" y="10287"/>
                    </a:cubicBezTo>
                    <a:cubicBezTo>
                      <a:pt x="0" y="9779"/>
                      <a:pt x="0" y="9144"/>
                      <a:pt x="0" y="8255"/>
                    </a:cubicBezTo>
                    <a:cubicBezTo>
                      <a:pt x="0" y="7366"/>
                      <a:pt x="0" y="6350"/>
                      <a:pt x="0" y="5207"/>
                    </a:cubicBezTo>
                    <a:lnTo>
                      <a:pt x="0" y="4572"/>
                    </a:lnTo>
                    <a:cubicBezTo>
                      <a:pt x="0" y="4572"/>
                      <a:pt x="0" y="3429"/>
                      <a:pt x="0" y="2667"/>
                    </a:cubicBezTo>
                    <a:cubicBezTo>
                      <a:pt x="0" y="1905"/>
                      <a:pt x="0" y="1143"/>
                      <a:pt x="0" y="127"/>
                    </a:cubicBezTo>
                    <a:cubicBezTo>
                      <a:pt x="127" y="127"/>
                      <a:pt x="254" y="127"/>
                      <a:pt x="509" y="127"/>
                    </a:cubicBezTo>
                    <a:cubicBezTo>
                      <a:pt x="636" y="127"/>
                      <a:pt x="764" y="127"/>
                      <a:pt x="1019" y="127"/>
                    </a:cubicBezTo>
                    <a:cubicBezTo>
                      <a:pt x="1146" y="127"/>
                      <a:pt x="1273" y="127"/>
                      <a:pt x="1401" y="127"/>
                    </a:cubicBezTo>
                    <a:cubicBezTo>
                      <a:pt x="1528" y="127"/>
                      <a:pt x="1655" y="127"/>
                      <a:pt x="1910" y="127"/>
                    </a:cubicBezTo>
                    <a:cubicBezTo>
                      <a:pt x="1910" y="635"/>
                      <a:pt x="1910" y="1016"/>
                      <a:pt x="1910" y="1397"/>
                    </a:cubicBezTo>
                    <a:cubicBezTo>
                      <a:pt x="1910" y="1651"/>
                      <a:pt x="1910" y="2032"/>
                      <a:pt x="1910" y="2286"/>
                    </a:cubicBezTo>
                    <a:lnTo>
                      <a:pt x="1910" y="2286"/>
                    </a:lnTo>
                    <a:cubicBezTo>
                      <a:pt x="2801" y="762"/>
                      <a:pt x="3692" y="0"/>
                      <a:pt x="4711" y="0"/>
                    </a:cubicBezTo>
                    <a:cubicBezTo>
                      <a:pt x="4838" y="0"/>
                      <a:pt x="4965" y="0"/>
                      <a:pt x="5092" y="0"/>
                    </a:cubicBezTo>
                    <a:cubicBezTo>
                      <a:pt x="5092" y="0"/>
                      <a:pt x="5347" y="0"/>
                      <a:pt x="5474" y="0"/>
                    </a:cubicBezTo>
                    <a:cubicBezTo>
                      <a:pt x="5474" y="127"/>
                      <a:pt x="5474" y="381"/>
                      <a:pt x="5347" y="762"/>
                    </a:cubicBezTo>
                    <a:cubicBezTo>
                      <a:pt x="5347" y="1143"/>
                      <a:pt x="5347" y="1397"/>
                      <a:pt x="5347" y="1651"/>
                    </a:cubicBezTo>
                    <a:lnTo>
                      <a:pt x="5220" y="1651"/>
                    </a:lnTo>
                    <a:cubicBezTo>
                      <a:pt x="5220" y="1651"/>
                      <a:pt x="4965" y="1651"/>
                      <a:pt x="4838" y="1524"/>
                    </a:cubicBezTo>
                    <a:close/>
                  </a:path>
                </a:pathLst>
              </a:custGeom>
              <a:solidFill>
                <a:srgbClr val="FFFFFF"/>
              </a:solidFill>
              <a:ln w="0" cap="flat">
                <a:noFill/>
                <a:prstDash val="solid"/>
                <a:miter/>
              </a:ln>
            </p:spPr>
            <p:txBody>
              <a:bodyPr rtlCol="0" anchor="ctr"/>
              <a:lstStyle/>
              <a:p>
                <a:endParaRPr lang="en-AD" sz="2400"/>
              </a:p>
            </p:txBody>
          </p:sp>
          <p:sp>
            <p:nvSpPr>
              <p:cNvPr id="206" name="Freeform 205">
                <a:extLst>
                  <a:ext uri="{FF2B5EF4-FFF2-40B4-BE49-F238E27FC236}">
                    <a16:creationId xmlns:a16="http://schemas.microsoft.com/office/drawing/2014/main" id="{0BCBC935-F897-E56A-79DD-B74EAC23C5CF}"/>
                  </a:ext>
                </a:extLst>
              </p:cNvPr>
              <p:cNvSpPr/>
              <p:nvPr/>
            </p:nvSpPr>
            <p:spPr>
              <a:xfrm>
                <a:off x="4389049" y="4847209"/>
                <a:ext cx="8020" cy="14858"/>
              </a:xfrm>
              <a:custGeom>
                <a:avLst/>
                <a:gdLst>
                  <a:gd name="connsiteX0" fmla="*/ 0 w 8020"/>
                  <a:gd name="connsiteY0" fmla="*/ 2794 h 14858"/>
                  <a:gd name="connsiteX1" fmla="*/ 0 w 8020"/>
                  <a:gd name="connsiteY1" fmla="*/ 0 h 14858"/>
                  <a:gd name="connsiteX2" fmla="*/ 509 w 8020"/>
                  <a:gd name="connsiteY2" fmla="*/ 0 h 14858"/>
                  <a:gd name="connsiteX3" fmla="*/ 1018 w 8020"/>
                  <a:gd name="connsiteY3" fmla="*/ 0 h 14858"/>
                  <a:gd name="connsiteX4" fmla="*/ 1528 w 8020"/>
                  <a:gd name="connsiteY4" fmla="*/ 0 h 14858"/>
                  <a:gd name="connsiteX5" fmla="*/ 2037 w 8020"/>
                  <a:gd name="connsiteY5" fmla="*/ 0 h 14858"/>
                  <a:gd name="connsiteX6" fmla="*/ 2037 w 8020"/>
                  <a:gd name="connsiteY6" fmla="*/ 2794 h 14858"/>
                  <a:gd name="connsiteX7" fmla="*/ 2037 w 8020"/>
                  <a:gd name="connsiteY7" fmla="*/ 5588 h 14858"/>
                  <a:gd name="connsiteX8" fmla="*/ 2037 w 8020"/>
                  <a:gd name="connsiteY8" fmla="*/ 10287 h 14858"/>
                  <a:gd name="connsiteX9" fmla="*/ 2037 w 8020"/>
                  <a:gd name="connsiteY9" fmla="*/ 13843 h 14858"/>
                  <a:gd name="connsiteX10" fmla="*/ 4965 w 8020"/>
                  <a:gd name="connsiteY10" fmla="*/ 13843 h 14858"/>
                  <a:gd name="connsiteX11" fmla="*/ 8021 w 8020"/>
                  <a:gd name="connsiteY11" fmla="*/ 13589 h 14858"/>
                  <a:gd name="connsiteX12" fmla="*/ 8021 w 8020"/>
                  <a:gd name="connsiteY12" fmla="*/ 14224 h 14858"/>
                  <a:gd name="connsiteX13" fmla="*/ 8021 w 8020"/>
                  <a:gd name="connsiteY13" fmla="*/ 14859 h 14858"/>
                  <a:gd name="connsiteX14" fmla="*/ 6111 w 8020"/>
                  <a:gd name="connsiteY14" fmla="*/ 14859 h 14858"/>
                  <a:gd name="connsiteX15" fmla="*/ 2164 w 8020"/>
                  <a:gd name="connsiteY15" fmla="*/ 14859 h 14858"/>
                  <a:gd name="connsiteX16" fmla="*/ 127 w 8020"/>
                  <a:gd name="connsiteY16" fmla="*/ 14859 h 14858"/>
                  <a:gd name="connsiteX17" fmla="*/ 127 w 8020"/>
                  <a:gd name="connsiteY17" fmla="*/ 12192 h 14858"/>
                  <a:gd name="connsiteX18" fmla="*/ 127 w 8020"/>
                  <a:gd name="connsiteY18" fmla="*/ 9398 h 14858"/>
                  <a:gd name="connsiteX19" fmla="*/ 127 w 8020"/>
                  <a:gd name="connsiteY19" fmla="*/ 5715 h 14858"/>
                  <a:gd name="connsiteX20" fmla="*/ 127 w 8020"/>
                  <a:gd name="connsiteY20" fmla="*/ 2921 h 1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20" h="14858">
                    <a:moveTo>
                      <a:pt x="0" y="2794"/>
                    </a:moveTo>
                    <a:cubicBezTo>
                      <a:pt x="0" y="1905"/>
                      <a:pt x="0" y="1016"/>
                      <a:pt x="0" y="0"/>
                    </a:cubicBezTo>
                    <a:cubicBezTo>
                      <a:pt x="127" y="0"/>
                      <a:pt x="382" y="0"/>
                      <a:pt x="509" y="0"/>
                    </a:cubicBezTo>
                    <a:cubicBezTo>
                      <a:pt x="636" y="0"/>
                      <a:pt x="891" y="0"/>
                      <a:pt x="1018" y="0"/>
                    </a:cubicBezTo>
                    <a:cubicBezTo>
                      <a:pt x="1146" y="0"/>
                      <a:pt x="1400" y="0"/>
                      <a:pt x="1528" y="0"/>
                    </a:cubicBezTo>
                    <a:cubicBezTo>
                      <a:pt x="1655" y="0"/>
                      <a:pt x="1910" y="0"/>
                      <a:pt x="2037" y="0"/>
                    </a:cubicBezTo>
                    <a:cubicBezTo>
                      <a:pt x="2037" y="889"/>
                      <a:pt x="2037" y="1905"/>
                      <a:pt x="2037" y="2794"/>
                    </a:cubicBezTo>
                    <a:cubicBezTo>
                      <a:pt x="2037" y="3683"/>
                      <a:pt x="2037" y="4572"/>
                      <a:pt x="2037" y="5588"/>
                    </a:cubicBezTo>
                    <a:cubicBezTo>
                      <a:pt x="2037" y="7366"/>
                      <a:pt x="2037" y="8890"/>
                      <a:pt x="2037" y="10287"/>
                    </a:cubicBezTo>
                    <a:cubicBezTo>
                      <a:pt x="2037" y="11557"/>
                      <a:pt x="2037" y="12827"/>
                      <a:pt x="2037" y="13843"/>
                    </a:cubicBezTo>
                    <a:cubicBezTo>
                      <a:pt x="3055" y="13843"/>
                      <a:pt x="4074" y="13843"/>
                      <a:pt x="4965" y="13843"/>
                    </a:cubicBezTo>
                    <a:cubicBezTo>
                      <a:pt x="5856" y="13843"/>
                      <a:pt x="6875" y="13843"/>
                      <a:pt x="8021" y="13589"/>
                    </a:cubicBezTo>
                    <a:cubicBezTo>
                      <a:pt x="8021" y="13843"/>
                      <a:pt x="8021" y="14097"/>
                      <a:pt x="8021" y="14224"/>
                    </a:cubicBezTo>
                    <a:cubicBezTo>
                      <a:pt x="8021" y="14351"/>
                      <a:pt x="8021" y="14605"/>
                      <a:pt x="8021" y="14859"/>
                    </a:cubicBezTo>
                    <a:cubicBezTo>
                      <a:pt x="7384" y="14859"/>
                      <a:pt x="6748" y="14859"/>
                      <a:pt x="6111" y="14859"/>
                    </a:cubicBezTo>
                    <a:lnTo>
                      <a:pt x="2164" y="14859"/>
                    </a:lnTo>
                    <a:cubicBezTo>
                      <a:pt x="2164" y="14859"/>
                      <a:pt x="891" y="14859"/>
                      <a:pt x="127" y="14859"/>
                    </a:cubicBezTo>
                    <a:cubicBezTo>
                      <a:pt x="127" y="13970"/>
                      <a:pt x="127" y="13081"/>
                      <a:pt x="127" y="12192"/>
                    </a:cubicBezTo>
                    <a:cubicBezTo>
                      <a:pt x="127" y="11303"/>
                      <a:pt x="127" y="10414"/>
                      <a:pt x="127" y="9398"/>
                    </a:cubicBezTo>
                    <a:lnTo>
                      <a:pt x="127" y="5715"/>
                    </a:lnTo>
                    <a:cubicBezTo>
                      <a:pt x="127" y="4826"/>
                      <a:pt x="127" y="3810"/>
                      <a:pt x="127" y="2921"/>
                    </a:cubicBezTo>
                    <a:close/>
                  </a:path>
                </a:pathLst>
              </a:custGeom>
              <a:solidFill>
                <a:srgbClr val="FFFFFF"/>
              </a:solidFill>
              <a:ln w="0" cap="flat">
                <a:noFill/>
                <a:prstDash val="solid"/>
                <a:miter/>
              </a:ln>
            </p:spPr>
            <p:txBody>
              <a:bodyPr rtlCol="0" anchor="ctr"/>
              <a:lstStyle/>
              <a:p>
                <a:endParaRPr lang="en-AD" sz="2400"/>
              </a:p>
            </p:txBody>
          </p:sp>
          <p:sp>
            <p:nvSpPr>
              <p:cNvPr id="207" name="Freeform 206">
                <a:extLst>
                  <a:ext uri="{FF2B5EF4-FFF2-40B4-BE49-F238E27FC236}">
                    <a16:creationId xmlns:a16="http://schemas.microsoft.com/office/drawing/2014/main" id="{E7AD9A73-5CA0-27D3-2BF9-3D9AD449180D}"/>
                  </a:ext>
                </a:extLst>
              </p:cNvPr>
              <p:cNvSpPr/>
              <p:nvPr/>
            </p:nvSpPr>
            <p:spPr>
              <a:xfrm>
                <a:off x="4399743" y="4846828"/>
                <a:ext cx="2291" cy="14985"/>
              </a:xfrm>
              <a:custGeom>
                <a:avLst/>
                <a:gdLst>
                  <a:gd name="connsiteX0" fmla="*/ 0 w 2291"/>
                  <a:gd name="connsiteY0" fmla="*/ 1143 h 14985"/>
                  <a:gd name="connsiteX1" fmla="*/ 382 w 2291"/>
                  <a:gd name="connsiteY1" fmla="*/ 381 h 14985"/>
                  <a:gd name="connsiteX2" fmla="*/ 1146 w 2291"/>
                  <a:gd name="connsiteY2" fmla="*/ 0 h 14985"/>
                  <a:gd name="connsiteX3" fmla="*/ 1910 w 2291"/>
                  <a:gd name="connsiteY3" fmla="*/ 381 h 14985"/>
                  <a:gd name="connsiteX4" fmla="*/ 2292 w 2291"/>
                  <a:gd name="connsiteY4" fmla="*/ 1143 h 14985"/>
                  <a:gd name="connsiteX5" fmla="*/ 1910 w 2291"/>
                  <a:gd name="connsiteY5" fmla="*/ 1905 h 14985"/>
                  <a:gd name="connsiteX6" fmla="*/ 1146 w 2291"/>
                  <a:gd name="connsiteY6" fmla="*/ 2286 h 14985"/>
                  <a:gd name="connsiteX7" fmla="*/ 382 w 2291"/>
                  <a:gd name="connsiteY7" fmla="*/ 1905 h 14985"/>
                  <a:gd name="connsiteX8" fmla="*/ 0 w 2291"/>
                  <a:gd name="connsiteY8" fmla="*/ 1143 h 14985"/>
                  <a:gd name="connsiteX9" fmla="*/ 382 w 2291"/>
                  <a:gd name="connsiteY9" fmla="*/ 8890 h 14985"/>
                  <a:gd name="connsiteX10" fmla="*/ 382 w 2291"/>
                  <a:gd name="connsiteY10" fmla="*/ 6858 h 14985"/>
                  <a:gd name="connsiteX11" fmla="*/ 254 w 2291"/>
                  <a:gd name="connsiteY11" fmla="*/ 4826 h 14985"/>
                  <a:gd name="connsiteX12" fmla="*/ 1273 w 2291"/>
                  <a:gd name="connsiteY12" fmla="*/ 4826 h 14985"/>
                  <a:gd name="connsiteX13" fmla="*/ 2292 w 2291"/>
                  <a:gd name="connsiteY13" fmla="*/ 4826 h 14985"/>
                  <a:gd name="connsiteX14" fmla="*/ 2165 w 2291"/>
                  <a:gd name="connsiteY14" fmla="*/ 6858 h 14985"/>
                  <a:gd name="connsiteX15" fmla="*/ 2165 w 2291"/>
                  <a:gd name="connsiteY15" fmla="*/ 8890 h 14985"/>
                  <a:gd name="connsiteX16" fmla="*/ 2165 w 2291"/>
                  <a:gd name="connsiteY16" fmla="*/ 11049 h 14985"/>
                  <a:gd name="connsiteX17" fmla="*/ 2165 w 2291"/>
                  <a:gd name="connsiteY17" fmla="*/ 13081 h 14985"/>
                  <a:gd name="connsiteX18" fmla="*/ 2292 w 2291"/>
                  <a:gd name="connsiteY18" fmla="*/ 14986 h 14985"/>
                  <a:gd name="connsiteX19" fmla="*/ 1273 w 2291"/>
                  <a:gd name="connsiteY19" fmla="*/ 14986 h 14985"/>
                  <a:gd name="connsiteX20" fmla="*/ 254 w 2291"/>
                  <a:gd name="connsiteY20" fmla="*/ 14986 h 14985"/>
                  <a:gd name="connsiteX21" fmla="*/ 382 w 2291"/>
                  <a:gd name="connsiteY21" fmla="*/ 13081 h 14985"/>
                  <a:gd name="connsiteX22" fmla="*/ 382 w 2291"/>
                  <a:gd name="connsiteY22" fmla="*/ 11049 h 14985"/>
                  <a:gd name="connsiteX23" fmla="*/ 382 w 2291"/>
                  <a:gd name="connsiteY23" fmla="*/ 8890 h 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91" h="14985">
                    <a:moveTo>
                      <a:pt x="0" y="1143"/>
                    </a:moveTo>
                    <a:cubicBezTo>
                      <a:pt x="0" y="1143"/>
                      <a:pt x="0" y="635"/>
                      <a:pt x="382" y="381"/>
                    </a:cubicBezTo>
                    <a:cubicBezTo>
                      <a:pt x="636" y="127"/>
                      <a:pt x="891" y="0"/>
                      <a:pt x="1146" y="0"/>
                    </a:cubicBezTo>
                    <a:cubicBezTo>
                      <a:pt x="1400" y="0"/>
                      <a:pt x="1655" y="0"/>
                      <a:pt x="1910" y="381"/>
                    </a:cubicBezTo>
                    <a:cubicBezTo>
                      <a:pt x="2165" y="635"/>
                      <a:pt x="2292" y="889"/>
                      <a:pt x="2292" y="1143"/>
                    </a:cubicBezTo>
                    <a:cubicBezTo>
                      <a:pt x="2292" y="1397"/>
                      <a:pt x="2292" y="1651"/>
                      <a:pt x="1910" y="1905"/>
                    </a:cubicBezTo>
                    <a:cubicBezTo>
                      <a:pt x="1655" y="2159"/>
                      <a:pt x="1400" y="2286"/>
                      <a:pt x="1146" y="2286"/>
                    </a:cubicBezTo>
                    <a:cubicBezTo>
                      <a:pt x="891" y="2286"/>
                      <a:pt x="636" y="2286"/>
                      <a:pt x="382" y="1905"/>
                    </a:cubicBezTo>
                    <a:cubicBezTo>
                      <a:pt x="127" y="1651"/>
                      <a:pt x="0" y="1397"/>
                      <a:pt x="0" y="1143"/>
                    </a:cubicBezTo>
                    <a:close/>
                    <a:moveTo>
                      <a:pt x="382" y="8890"/>
                    </a:moveTo>
                    <a:cubicBezTo>
                      <a:pt x="382" y="8255"/>
                      <a:pt x="382" y="7620"/>
                      <a:pt x="382" y="6858"/>
                    </a:cubicBezTo>
                    <a:cubicBezTo>
                      <a:pt x="382" y="6096"/>
                      <a:pt x="382" y="5461"/>
                      <a:pt x="254" y="4826"/>
                    </a:cubicBezTo>
                    <a:cubicBezTo>
                      <a:pt x="636" y="4826"/>
                      <a:pt x="1018" y="4826"/>
                      <a:pt x="1273" y="4826"/>
                    </a:cubicBezTo>
                    <a:cubicBezTo>
                      <a:pt x="1528" y="4826"/>
                      <a:pt x="1782" y="4826"/>
                      <a:pt x="2292" y="4826"/>
                    </a:cubicBezTo>
                    <a:cubicBezTo>
                      <a:pt x="2292" y="5461"/>
                      <a:pt x="2292" y="6096"/>
                      <a:pt x="2165" y="6858"/>
                    </a:cubicBezTo>
                    <a:cubicBezTo>
                      <a:pt x="2165" y="7620"/>
                      <a:pt x="2165" y="8255"/>
                      <a:pt x="2165" y="8890"/>
                    </a:cubicBezTo>
                    <a:lnTo>
                      <a:pt x="2165" y="11049"/>
                    </a:lnTo>
                    <a:cubicBezTo>
                      <a:pt x="2165" y="11684"/>
                      <a:pt x="2165" y="12319"/>
                      <a:pt x="2165" y="13081"/>
                    </a:cubicBezTo>
                    <a:cubicBezTo>
                      <a:pt x="2165" y="13843"/>
                      <a:pt x="2165" y="14478"/>
                      <a:pt x="2292" y="14986"/>
                    </a:cubicBezTo>
                    <a:cubicBezTo>
                      <a:pt x="1910" y="14986"/>
                      <a:pt x="1655" y="14986"/>
                      <a:pt x="1273" y="14986"/>
                    </a:cubicBezTo>
                    <a:cubicBezTo>
                      <a:pt x="891" y="14986"/>
                      <a:pt x="636" y="14986"/>
                      <a:pt x="254" y="14986"/>
                    </a:cubicBezTo>
                    <a:cubicBezTo>
                      <a:pt x="254" y="14478"/>
                      <a:pt x="254" y="13716"/>
                      <a:pt x="382" y="13081"/>
                    </a:cubicBezTo>
                    <a:cubicBezTo>
                      <a:pt x="382" y="12319"/>
                      <a:pt x="382" y="11684"/>
                      <a:pt x="382" y="11049"/>
                    </a:cubicBezTo>
                    <a:lnTo>
                      <a:pt x="382" y="8890"/>
                    </a:lnTo>
                    <a:close/>
                  </a:path>
                </a:pathLst>
              </a:custGeom>
              <a:solidFill>
                <a:srgbClr val="FFFFFF"/>
              </a:solidFill>
              <a:ln w="0" cap="flat">
                <a:noFill/>
                <a:prstDash val="solid"/>
                <a:miter/>
              </a:ln>
            </p:spPr>
            <p:txBody>
              <a:bodyPr rtlCol="0" anchor="ctr"/>
              <a:lstStyle/>
              <a:p>
                <a:endParaRPr lang="en-AD" sz="2400"/>
              </a:p>
            </p:txBody>
          </p:sp>
          <p:sp>
            <p:nvSpPr>
              <p:cNvPr id="208" name="Freeform 207">
                <a:extLst>
                  <a:ext uri="{FF2B5EF4-FFF2-40B4-BE49-F238E27FC236}">
                    <a16:creationId xmlns:a16="http://schemas.microsoft.com/office/drawing/2014/main" id="{F2C6B321-F7E1-944B-D500-9DF2F35883F2}"/>
                  </a:ext>
                </a:extLst>
              </p:cNvPr>
              <p:cNvSpPr/>
              <p:nvPr/>
            </p:nvSpPr>
            <p:spPr>
              <a:xfrm>
                <a:off x="4404199" y="4845558"/>
                <a:ext cx="5983" cy="16382"/>
              </a:xfrm>
              <a:custGeom>
                <a:avLst/>
                <a:gdLst>
                  <a:gd name="connsiteX0" fmla="*/ 4711 w 5983"/>
                  <a:gd name="connsiteY0" fmla="*/ 1651 h 16382"/>
                  <a:gd name="connsiteX1" fmla="*/ 3947 w 5983"/>
                  <a:gd name="connsiteY1" fmla="*/ 1778 h 16382"/>
                  <a:gd name="connsiteX2" fmla="*/ 3437 w 5983"/>
                  <a:gd name="connsiteY2" fmla="*/ 2286 h 16382"/>
                  <a:gd name="connsiteX3" fmla="*/ 3183 w 5983"/>
                  <a:gd name="connsiteY3" fmla="*/ 2921 h 16382"/>
                  <a:gd name="connsiteX4" fmla="*/ 3183 w 5983"/>
                  <a:gd name="connsiteY4" fmla="*/ 3683 h 16382"/>
                  <a:gd name="connsiteX5" fmla="*/ 3183 w 5983"/>
                  <a:gd name="connsiteY5" fmla="*/ 4826 h 16382"/>
                  <a:gd name="connsiteX6" fmla="*/ 3310 w 5983"/>
                  <a:gd name="connsiteY6" fmla="*/ 6223 h 16382"/>
                  <a:gd name="connsiteX7" fmla="*/ 4456 w 5983"/>
                  <a:gd name="connsiteY7" fmla="*/ 6223 h 16382"/>
                  <a:gd name="connsiteX8" fmla="*/ 5602 w 5983"/>
                  <a:gd name="connsiteY8" fmla="*/ 6223 h 16382"/>
                  <a:gd name="connsiteX9" fmla="*/ 5602 w 5983"/>
                  <a:gd name="connsiteY9" fmla="*/ 6477 h 16382"/>
                  <a:gd name="connsiteX10" fmla="*/ 5602 w 5983"/>
                  <a:gd name="connsiteY10" fmla="*/ 6731 h 16382"/>
                  <a:gd name="connsiteX11" fmla="*/ 5602 w 5983"/>
                  <a:gd name="connsiteY11" fmla="*/ 6985 h 16382"/>
                  <a:gd name="connsiteX12" fmla="*/ 5602 w 5983"/>
                  <a:gd name="connsiteY12" fmla="*/ 7239 h 16382"/>
                  <a:gd name="connsiteX13" fmla="*/ 4456 w 5983"/>
                  <a:gd name="connsiteY13" fmla="*/ 7239 h 16382"/>
                  <a:gd name="connsiteX14" fmla="*/ 3310 w 5983"/>
                  <a:gd name="connsiteY14" fmla="*/ 7239 h 16382"/>
                  <a:gd name="connsiteX15" fmla="*/ 3310 w 5983"/>
                  <a:gd name="connsiteY15" fmla="*/ 11811 h 16382"/>
                  <a:gd name="connsiteX16" fmla="*/ 3310 w 5983"/>
                  <a:gd name="connsiteY16" fmla="*/ 16383 h 16382"/>
                  <a:gd name="connsiteX17" fmla="*/ 2801 w 5983"/>
                  <a:gd name="connsiteY17" fmla="*/ 16383 h 16382"/>
                  <a:gd name="connsiteX18" fmla="*/ 2292 w 5983"/>
                  <a:gd name="connsiteY18" fmla="*/ 16383 h 16382"/>
                  <a:gd name="connsiteX19" fmla="*/ 1400 w 5983"/>
                  <a:gd name="connsiteY19" fmla="*/ 16383 h 16382"/>
                  <a:gd name="connsiteX20" fmla="*/ 1528 w 5983"/>
                  <a:gd name="connsiteY20" fmla="*/ 11811 h 16382"/>
                  <a:gd name="connsiteX21" fmla="*/ 1528 w 5983"/>
                  <a:gd name="connsiteY21" fmla="*/ 7112 h 16382"/>
                  <a:gd name="connsiteX22" fmla="*/ 764 w 5983"/>
                  <a:gd name="connsiteY22" fmla="*/ 7112 h 16382"/>
                  <a:gd name="connsiteX23" fmla="*/ 0 w 5983"/>
                  <a:gd name="connsiteY23" fmla="*/ 7112 h 16382"/>
                  <a:gd name="connsiteX24" fmla="*/ 0 w 5983"/>
                  <a:gd name="connsiteY24" fmla="*/ 6858 h 16382"/>
                  <a:gd name="connsiteX25" fmla="*/ 0 w 5983"/>
                  <a:gd name="connsiteY25" fmla="*/ 6604 h 16382"/>
                  <a:gd name="connsiteX26" fmla="*/ 0 w 5983"/>
                  <a:gd name="connsiteY26" fmla="*/ 6350 h 16382"/>
                  <a:gd name="connsiteX27" fmla="*/ 0 w 5983"/>
                  <a:gd name="connsiteY27" fmla="*/ 6096 h 16382"/>
                  <a:gd name="connsiteX28" fmla="*/ 764 w 5983"/>
                  <a:gd name="connsiteY28" fmla="*/ 6096 h 16382"/>
                  <a:gd name="connsiteX29" fmla="*/ 1528 w 5983"/>
                  <a:gd name="connsiteY29" fmla="*/ 6096 h 16382"/>
                  <a:gd name="connsiteX30" fmla="*/ 1655 w 5983"/>
                  <a:gd name="connsiteY30" fmla="*/ 4699 h 16382"/>
                  <a:gd name="connsiteX31" fmla="*/ 2037 w 5983"/>
                  <a:gd name="connsiteY31" fmla="*/ 3302 h 16382"/>
                  <a:gd name="connsiteX32" fmla="*/ 2673 w 5983"/>
                  <a:gd name="connsiteY32" fmla="*/ 1905 h 16382"/>
                  <a:gd name="connsiteX33" fmla="*/ 3437 w 5983"/>
                  <a:gd name="connsiteY33" fmla="*/ 889 h 16382"/>
                  <a:gd name="connsiteX34" fmla="*/ 4456 w 5983"/>
                  <a:gd name="connsiteY34" fmla="*/ 254 h 16382"/>
                  <a:gd name="connsiteX35" fmla="*/ 5602 w 5983"/>
                  <a:gd name="connsiteY35" fmla="*/ 0 h 16382"/>
                  <a:gd name="connsiteX36" fmla="*/ 5984 w 5983"/>
                  <a:gd name="connsiteY36" fmla="*/ 0 h 16382"/>
                  <a:gd name="connsiteX37" fmla="*/ 5984 w 5983"/>
                  <a:gd name="connsiteY37" fmla="*/ 889 h 16382"/>
                  <a:gd name="connsiteX38" fmla="*/ 5984 w 5983"/>
                  <a:gd name="connsiteY38" fmla="*/ 1778 h 16382"/>
                  <a:gd name="connsiteX39" fmla="*/ 5856 w 5983"/>
                  <a:gd name="connsiteY39" fmla="*/ 1778 h 16382"/>
                  <a:gd name="connsiteX40" fmla="*/ 4711 w 5983"/>
                  <a:gd name="connsiteY40" fmla="*/ 1524 h 1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983" h="16382">
                    <a:moveTo>
                      <a:pt x="4711" y="1651"/>
                    </a:moveTo>
                    <a:cubicBezTo>
                      <a:pt x="4711" y="1651"/>
                      <a:pt x="4074" y="1651"/>
                      <a:pt x="3947" y="1778"/>
                    </a:cubicBezTo>
                    <a:cubicBezTo>
                      <a:pt x="3692" y="1778"/>
                      <a:pt x="3565" y="2032"/>
                      <a:pt x="3437" y="2286"/>
                    </a:cubicBezTo>
                    <a:cubicBezTo>
                      <a:pt x="3310" y="2540"/>
                      <a:pt x="3183" y="2667"/>
                      <a:pt x="3183" y="2921"/>
                    </a:cubicBezTo>
                    <a:cubicBezTo>
                      <a:pt x="3183" y="3175"/>
                      <a:pt x="3183" y="3429"/>
                      <a:pt x="3183" y="3683"/>
                    </a:cubicBezTo>
                    <a:cubicBezTo>
                      <a:pt x="3183" y="3937"/>
                      <a:pt x="3183" y="4318"/>
                      <a:pt x="3183" y="4826"/>
                    </a:cubicBezTo>
                    <a:cubicBezTo>
                      <a:pt x="3183" y="5334"/>
                      <a:pt x="3183" y="5715"/>
                      <a:pt x="3310" y="6223"/>
                    </a:cubicBezTo>
                    <a:cubicBezTo>
                      <a:pt x="3692" y="6223"/>
                      <a:pt x="4074" y="6223"/>
                      <a:pt x="4456" y="6223"/>
                    </a:cubicBezTo>
                    <a:cubicBezTo>
                      <a:pt x="4838" y="6223"/>
                      <a:pt x="5220" y="6223"/>
                      <a:pt x="5602" y="6223"/>
                    </a:cubicBezTo>
                    <a:cubicBezTo>
                      <a:pt x="5602" y="6223"/>
                      <a:pt x="5602" y="6350"/>
                      <a:pt x="5602" y="6477"/>
                    </a:cubicBezTo>
                    <a:cubicBezTo>
                      <a:pt x="5602" y="6477"/>
                      <a:pt x="5602" y="6604"/>
                      <a:pt x="5602" y="6731"/>
                    </a:cubicBezTo>
                    <a:cubicBezTo>
                      <a:pt x="5602" y="6858"/>
                      <a:pt x="5602" y="6858"/>
                      <a:pt x="5602" y="6985"/>
                    </a:cubicBezTo>
                    <a:cubicBezTo>
                      <a:pt x="5602" y="6985"/>
                      <a:pt x="5602" y="7112"/>
                      <a:pt x="5602" y="7239"/>
                    </a:cubicBezTo>
                    <a:cubicBezTo>
                      <a:pt x="5220" y="7239"/>
                      <a:pt x="4838" y="7239"/>
                      <a:pt x="4456" y="7239"/>
                    </a:cubicBezTo>
                    <a:cubicBezTo>
                      <a:pt x="4074" y="7239"/>
                      <a:pt x="3692" y="7239"/>
                      <a:pt x="3310" y="7239"/>
                    </a:cubicBezTo>
                    <a:cubicBezTo>
                      <a:pt x="3310" y="8763"/>
                      <a:pt x="3310" y="10287"/>
                      <a:pt x="3310" y="11811"/>
                    </a:cubicBezTo>
                    <a:cubicBezTo>
                      <a:pt x="3310" y="13335"/>
                      <a:pt x="3310" y="14859"/>
                      <a:pt x="3310" y="16383"/>
                    </a:cubicBezTo>
                    <a:cubicBezTo>
                      <a:pt x="3183" y="16383"/>
                      <a:pt x="3055" y="16383"/>
                      <a:pt x="2801" y="16383"/>
                    </a:cubicBezTo>
                    <a:lnTo>
                      <a:pt x="2292" y="16383"/>
                    </a:lnTo>
                    <a:cubicBezTo>
                      <a:pt x="2292" y="16383"/>
                      <a:pt x="1655" y="16383"/>
                      <a:pt x="1400" y="16383"/>
                    </a:cubicBezTo>
                    <a:cubicBezTo>
                      <a:pt x="1400" y="14859"/>
                      <a:pt x="1528" y="13335"/>
                      <a:pt x="1528" y="11811"/>
                    </a:cubicBezTo>
                    <a:cubicBezTo>
                      <a:pt x="1528" y="10287"/>
                      <a:pt x="1528" y="8763"/>
                      <a:pt x="1528" y="7112"/>
                    </a:cubicBezTo>
                    <a:cubicBezTo>
                      <a:pt x="1273" y="7112"/>
                      <a:pt x="1018" y="7112"/>
                      <a:pt x="764" y="7112"/>
                    </a:cubicBezTo>
                    <a:cubicBezTo>
                      <a:pt x="509" y="7112"/>
                      <a:pt x="254" y="7112"/>
                      <a:pt x="0" y="7112"/>
                    </a:cubicBezTo>
                    <a:cubicBezTo>
                      <a:pt x="0" y="7112"/>
                      <a:pt x="0" y="6985"/>
                      <a:pt x="0" y="6858"/>
                    </a:cubicBezTo>
                    <a:cubicBezTo>
                      <a:pt x="0" y="6858"/>
                      <a:pt x="0" y="6731"/>
                      <a:pt x="0" y="6604"/>
                    </a:cubicBezTo>
                    <a:cubicBezTo>
                      <a:pt x="0" y="6477"/>
                      <a:pt x="0" y="6477"/>
                      <a:pt x="0" y="6350"/>
                    </a:cubicBezTo>
                    <a:cubicBezTo>
                      <a:pt x="0" y="6350"/>
                      <a:pt x="0" y="6223"/>
                      <a:pt x="0" y="6096"/>
                    </a:cubicBezTo>
                    <a:cubicBezTo>
                      <a:pt x="254" y="6096"/>
                      <a:pt x="509" y="6096"/>
                      <a:pt x="764" y="6096"/>
                    </a:cubicBezTo>
                    <a:cubicBezTo>
                      <a:pt x="1018" y="6096"/>
                      <a:pt x="1273" y="6096"/>
                      <a:pt x="1528" y="6096"/>
                    </a:cubicBezTo>
                    <a:cubicBezTo>
                      <a:pt x="1528" y="5715"/>
                      <a:pt x="1528" y="5207"/>
                      <a:pt x="1655" y="4699"/>
                    </a:cubicBezTo>
                    <a:cubicBezTo>
                      <a:pt x="1655" y="4191"/>
                      <a:pt x="1910" y="3683"/>
                      <a:pt x="2037" y="3302"/>
                    </a:cubicBezTo>
                    <a:cubicBezTo>
                      <a:pt x="2164" y="2794"/>
                      <a:pt x="2419" y="2413"/>
                      <a:pt x="2673" y="1905"/>
                    </a:cubicBezTo>
                    <a:cubicBezTo>
                      <a:pt x="2928" y="1397"/>
                      <a:pt x="3183" y="1143"/>
                      <a:pt x="3437" y="889"/>
                    </a:cubicBezTo>
                    <a:cubicBezTo>
                      <a:pt x="3692" y="635"/>
                      <a:pt x="4074" y="381"/>
                      <a:pt x="4456" y="254"/>
                    </a:cubicBezTo>
                    <a:cubicBezTo>
                      <a:pt x="4838" y="0"/>
                      <a:pt x="5220" y="0"/>
                      <a:pt x="5602" y="0"/>
                    </a:cubicBezTo>
                    <a:cubicBezTo>
                      <a:pt x="5729" y="0"/>
                      <a:pt x="5856" y="0"/>
                      <a:pt x="5984" y="0"/>
                    </a:cubicBezTo>
                    <a:cubicBezTo>
                      <a:pt x="5984" y="254"/>
                      <a:pt x="5984" y="508"/>
                      <a:pt x="5984" y="889"/>
                    </a:cubicBezTo>
                    <a:cubicBezTo>
                      <a:pt x="5984" y="1143"/>
                      <a:pt x="5984" y="1397"/>
                      <a:pt x="5984" y="1778"/>
                    </a:cubicBezTo>
                    <a:lnTo>
                      <a:pt x="5856" y="1778"/>
                    </a:lnTo>
                    <a:cubicBezTo>
                      <a:pt x="5856" y="1778"/>
                      <a:pt x="5092" y="1524"/>
                      <a:pt x="4711" y="1524"/>
                    </a:cubicBezTo>
                    <a:close/>
                  </a:path>
                </a:pathLst>
              </a:custGeom>
              <a:solidFill>
                <a:srgbClr val="FFFFFF"/>
              </a:solidFill>
              <a:ln w="0" cap="flat">
                <a:noFill/>
                <a:prstDash val="solid"/>
                <a:miter/>
              </a:ln>
            </p:spPr>
            <p:txBody>
              <a:bodyPr rtlCol="0" anchor="ctr"/>
              <a:lstStyle/>
              <a:p>
                <a:endParaRPr lang="en-AD" sz="2400"/>
              </a:p>
            </p:txBody>
          </p:sp>
          <p:sp>
            <p:nvSpPr>
              <p:cNvPr id="209" name="Freeform 208">
                <a:extLst>
                  <a:ext uri="{FF2B5EF4-FFF2-40B4-BE49-F238E27FC236}">
                    <a16:creationId xmlns:a16="http://schemas.microsoft.com/office/drawing/2014/main" id="{BB2B5629-191E-E750-EE4F-93B67935D3DA}"/>
                  </a:ext>
                </a:extLst>
              </p:cNvPr>
              <p:cNvSpPr/>
              <p:nvPr/>
            </p:nvSpPr>
            <p:spPr>
              <a:xfrm>
                <a:off x="4410438" y="4851527"/>
                <a:ext cx="9548" cy="10540"/>
              </a:xfrm>
              <a:custGeom>
                <a:avLst/>
                <a:gdLst>
                  <a:gd name="connsiteX0" fmla="*/ 254 w 9548"/>
                  <a:gd name="connsiteY0" fmla="*/ 5588 h 10540"/>
                  <a:gd name="connsiteX1" fmla="*/ 1528 w 9548"/>
                  <a:gd name="connsiteY1" fmla="*/ 1524 h 10540"/>
                  <a:gd name="connsiteX2" fmla="*/ 5220 w 9548"/>
                  <a:gd name="connsiteY2" fmla="*/ 0 h 10540"/>
                  <a:gd name="connsiteX3" fmla="*/ 7130 w 9548"/>
                  <a:gd name="connsiteY3" fmla="*/ 381 h 10540"/>
                  <a:gd name="connsiteX4" fmla="*/ 8530 w 9548"/>
                  <a:gd name="connsiteY4" fmla="*/ 1270 h 10540"/>
                  <a:gd name="connsiteX5" fmla="*/ 9294 w 9548"/>
                  <a:gd name="connsiteY5" fmla="*/ 2667 h 10540"/>
                  <a:gd name="connsiteX6" fmla="*/ 9549 w 9548"/>
                  <a:gd name="connsiteY6" fmla="*/ 4318 h 10540"/>
                  <a:gd name="connsiteX7" fmla="*/ 9549 w 9548"/>
                  <a:gd name="connsiteY7" fmla="*/ 4699 h 10540"/>
                  <a:gd name="connsiteX8" fmla="*/ 9549 w 9548"/>
                  <a:gd name="connsiteY8" fmla="*/ 5080 h 10540"/>
                  <a:gd name="connsiteX9" fmla="*/ 7257 w 9548"/>
                  <a:gd name="connsiteY9" fmla="*/ 5080 h 10540"/>
                  <a:gd name="connsiteX10" fmla="*/ 4965 w 9548"/>
                  <a:gd name="connsiteY10" fmla="*/ 5080 h 10540"/>
                  <a:gd name="connsiteX11" fmla="*/ 3565 w 9548"/>
                  <a:gd name="connsiteY11" fmla="*/ 5080 h 10540"/>
                  <a:gd name="connsiteX12" fmla="*/ 2165 w 9548"/>
                  <a:gd name="connsiteY12" fmla="*/ 5080 h 10540"/>
                  <a:gd name="connsiteX13" fmla="*/ 2165 w 9548"/>
                  <a:gd name="connsiteY13" fmla="*/ 5461 h 10540"/>
                  <a:gd name="connsiteX14" fmla="*/ 2165 w 9548"/>
                  <a:gd name="connsiteY14" fmla="*/ 5715 h 10540"/>
                  <a:gd name="connsiteX15" fmla="*/ 2419 w 9548"/>
                  <a:gd name="connsiteY15" fmla="*/ 7239 h 10540"/>
                  <a:gd name="connsiteX16" fmla="*/ 3183 w 9548"/>
                  <a:gd name="connsiteY16" fmla="*/ 8509 h 10540"/>
                  <a:gd name="connsiteX17" fmla="*/ 4329 w 9548"/>
                  <a:gd name="connsiteY17" fmla="*/ 9398 h 10540"/>
                  <a:gd name="connsiteX18" fmla="*/ 5856 w 9548"/>
                  <a:gd name="connsiteY18" fmla="*/ 9652 h 10540"/>
                  <a:gd name="connsiteX19" fmla="*/ 6748 w 9548"/>
                  <a:gd name="connsiteY19" fmla="*/ 9652 h 10540"/>
                  <a:gd name="connsiteX20" fmla="*/ 7639 w 9548"/>
                  <a:gd name="connsiteY20" fmla="*/ 9271 h 10540"/>
                  <a:gd name="connsiteX21" fmla="*/ 8403 w 9548"/>
                  <a:gd name="connsiteY21" fmla="*/ 8763 h 10540"/>
                  <a:gd name="connsiteX22" fmla="*/ 9039 w 9548"/>
                  <a:gd name="connsiteY22" fmla="*/ 8128 h 10540"/>
                  <a:gd name="connsiteX23" fmla="*/ 9039 w 9548"/>
                  <a:gd name="connsiteY23" fmla="*/ 8128 h 10540"/>
                  <a:gd name="connsiteX24" fmla="*/ 8912 w 9548"/>
                  <a:gd name="connsiteY24" fmla="*/ 9271 h 10540"/>
                  <a:gd name="connsiteX25" fmla="*/ 7257 w 9548"/>
                  <a:gd name="connsiteY25" fmla="*/ 10160 h 10540"/>
                  <a:gd name="connsiteX26" fmla="*/ 5220 w 9548"/>
                  <a:gd name="connsiteY26" fmla="*/ 10541 h 10540"/>
                  <a:gd name="connsiteX27" fmla="*/ 3055 w 9548"/>
                  <a:gd name="connsiteY27" fmla="*/ 10160 h 10540"/>
                  <a:gd name="connsiteX28" fmla="*/ 1401 w 9548"/>
                  <a:gd name="connsiteY28" fmla="*/ 9144 h 10540"/>
                  <a:gd name="connsiteX29" fmla="*/ 382 w 9548"/>
                  <a:gd name="connsiteY29" fmla="*/ 7493 h 10540"/>
                  <a:gd name="connsiteX30" fmla="*/ 0 w 9548"/>
                  <a:gd name="connsiteY30" fmla="*/ 5461 h 10540"/>
                  <a:gd name="connsiteX31" fmla="*/ 5220 w 9548"/>
                  <a:gd name="connsiteY31" fmla="*/ 635 h 10540"/>
                  <a:gd name="connsiteX32" fmla="*/ 3819 w 9548"/>
                  <a:gd name="connsiteY32" fmla="*/ 1016 h 10540"/>
                  <a:gd name="connsiteX33" fmla="*/ 2928 w 9548"/>
                  <a:gd name="connsiteY33" fmla="*/ 1905 h 10540"/>
                  <a:gd name="connsiteX34" fmla="*/ 2419 w 9548"/>
                  <a:gd name="connsiteY34" fmla="*/ 3048 h 10540"/>
                  <a:gd name="connsiteX35" fmla="*/ 2165 w 9548"/>
                  <a:gd name="connsiteY35" fmla="*/ 4318 h 10540"/>
                  <a:gd name="connsiteX36" fmla="*/ 3565 w 9548"/>
                  <a:gd name="connsiteY36" fmla="*/ 4318 h 10540"/>
                  <a:gd name="connsiteX37" fmla="*/ 4965 w 9548"/>
                  <a:gd name="connsiteY37" fmla="*/ 4318 h 10540"/>
                  <a:gd name="connsiteX38" fmla="*/ 6366 w 9548"/>
                  <a:gd name="connsiteY38" fmla="*/ 4318 h 10540"/>
                  <a:gd name="connsiteX39" fmla="*/ 7766 w 9548"/>
                  <a:gd name="connsiteY39" fmla="*/ 4318 h 10540"/>
                  <a:gd name="connsiteX40" fmla="*/ 7766 w 9548"/>
                  <a:gd name="connsiteY40" fmla="*/ 3048 h 10540"/>
                  <a:gd name="connsiteX41" fmla="*/ 7384 w 9548"/>
                  <a:gd name="connsiteY41" fmla="*/ 1905 h 10540"/>
                  <a:gd name="connsiteX42" fmla="*/ 6620 w 9548"/>
                  <a:gd name="connsiteY42" fmla="*/ 1016 h 10540"/>
                  <a:gd name="connsiteX43" fmla="*/ 5220 w 9548"/>
                  <a:gd name="connsiteY43" fmla="*/ 635 h 1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48" h="10540">
                    <a:moveTo>
                      <a:pt x="254" y="5588"/>
                    </a:moveTo>
                    <a:cubicBezTo>
                      <a:pt x="254" y="3810"/>
                      <a:pt x="636" y="2413"/>
                      <a:pt x="1528" y="1524"/>
                    </a:cubicBezTo>
                    <a:cubicBezTo>
                      <a:pt x="2419" y="508"/>
                      <a:pt x="3565" y="0"/>
                      <a:pt x="5220" y="0"/>
                    </a:cubicBezTo>
                    <a:cubicBezTo>
                      <a:pt x="5984" y="0"/>
                      <a:pt x="6620" y="0"/>
                      <a:pt x="7130" y="381"/>
                    </a:cubicBezTo>
                    <a:cubicBezTo>
                      <a:pt x="7639" y="635"/>
                      <a:pt x="8148" y="889"/>
                      <a:pt x="8530" y="1270"/>
                    </a:cubicBezTo>
                    <a:cubicBezTo>
                      <a:pt x="8912" y="1651"/>
                      <a:pt x="9167" y="2159"/>
                      <a:pt x="9294" y="2667"/>
                    </a:cubicBezTo>
                    <a:cubicBezTo>
                      <a:pt x="9421" y="3175"/>
                      <a:pt x="9549" y="3810"/>
                      <a:pt x="9549" y="4318"/>
                    </a:cubicBezTo>
                    <a:cubicBezTo>
                      <a:pt x="9549" y="4445"/>
                      <a:pt x="9549" y="4572"/>
                      <a:pt x="9549" y="4699"/>
                    </a:cubicBezTo>
                    <a:cubicBezTo>
                      <a:pt x="9549" y="4826"/>
                      <a:pt x="9549" y="4953"/>
                      <a:pt x="9549" y="5080"/>
                    </a:cubicBezTo>
                    <a:cubicBezTo>
                      <a:pt x="8785" y="5080"/>
                      <a:pt x="8021" y="5080"/>
                      <a:pt x="7257" y="5080"/>
                    </a:cubicBezTo>
                    <a:cubicBezTo>
                      <a:pt x="6493" y="5080"/>
                      <a:pt x="5729" y="5080"/>
                      <a:pt x="4965" y="5080"/>
                    </a:cubicBezTo>
                    <a:cubicBezTo>
                      <a:pt x="4456" y="5080"/>
                      <a:pt x="4074" y="5080"/>
                      <a:pt x="3565" y="5080"/>
                    </a:cubicBezTo>
                    <a:cubicBezTo>
                      <a:pt x="3055" y="5080"/>
                      <a:pt x="2673" y="5080"/>
                      <a:pt x="2165" y="5080"/>
                    </a:cubicBezTo>
                    <a:cubicBezTo>
                      <a:pt x="2165" y="5080"/>
                      <a:pt x="2165" y="5207"/>
                      <a:pt x="2165" y="5461"/>
                    </a:cubicBezTo>
                    <a:lnTo>
                      <a:pt x="2165" y="5715"/>
                    </a:lnTo>
                    <a:cubicBezTo>
                      <a:pt x="2165" y="5715"/>
                      <a:pt x="2165" y="6731"/>
                      <a:pt x="2419" y="7239"/>
                    </a:cubicBezTo>
                    <a:cubicBezTo>
                      <a:pt x="2546" y="7747"/>
                      <a:pt x="2801" y="8128"/>
                      <a:pt x="3183" y="8509"/>
                    </a:cubicBezTo>
                    <a:cubicBezTo>
                      <a:pt x="3437" y="8890"/>
                      <a:pt x="3819" y="9144"/>
                      <a:pt x="4329" y="9398"/>
                    </a:cubicBezTo>
                    <a:cubicBezTo>
                      <a:pt x="4838" y="9652"/>
                      <a:pt x="5347" y="9652"/>
                      <a:pt x="5856" y="9652"/>
                    </a:cubicBezTo>
                    <a:cubicBezTo>
                      <a:pt x="6111" y="9652"/>
                      <a:pt x="6493" y="9652"/>
                      <a:pt x="6748" y="9652"/>
                    </a:cubicBezTo>
                    <a:cubicBezTo>
                      <a:pt x="7002" y="9652"/>
                      <a:pt x="7384" y="9525"/>
                      <a:pt x="7639" y="9271"/>
                    </a:cubicBezTo>
                    <a:cubicBezTo>
                      <a:pt x="7893" y="9144"/>
                      <a:pt x="8148" y="9017"/>
                      <a:pt x="8403" y="8763"/>
                    </a:cubicBezTo>
                    <a:cubicBezTo>
                      <a:pt x="8657" y="8636"/>
                      <a:pt x="8912" y="8382"/>
                      <a:pt x="9039" y="8128"/>
                    </a:cubicBezTo>
                    <a:lnTo>
                      <a:pt x="9039" y="8128"/>
                    </a:lnTo>
                    <a:cubicBezTo>
                      <a:pt x="9039" y="8128"/>
                      <a:pt x="8912" y="9271"/>
                      <a:pt x="8912" y="9271"/>
                    </a:cubicBezTo>
                    <a:cubicBezTo>
                      <a:pt x="8530" y="9652"/>
                      <a:pt x="7893" y="9906"/>
                      <a:pt x="7257" y="10160"/>
                    </a:cubicBezTo>
                    <a:cubicBezTo>
                      <a:pt x="6620" y="10414"/>
                      <a:pt x="5984" y="10541"/>
                      <a:pt x="5220" y="10541"/>
                    </a:cubicBezTo>
                    <a:cubicBezTo>
                      <a:pt x="4456" y="10541"/>
                      <a:pt x="3692" y="10541"/>
                      <a:pt x="3055" y="10160"/>
                    </a:cubicBezTo>
                    <a:cubicBezTo>
                      <a:pt x="2419" y="9779"/>
                      <a:pt x="1910" y="9525"/>
                      <a:pt x="1401" y="9144"/>
                    </a:cubicBezTo>
                    <a:cubicBezTo>
                      <a:pt x="891" y="8763"/>
                      <a:pt x="636" y="8128"/>
                      <a:pt x="382" y="7493"/>
                    </a:cubicBezTo>
                    <a:cubicBezTo>
                      <a:pt x="127" y="6858"/>
                      <a:pt x="0" y="6223"/>
                      <a:pt x="0" y="5461"/>
                    </a:cubicBezTo>
                    <a:close/>
                    <a:moveTo>
                      <a:pt x="5220" y="635"/>
                    </a:moveTo>
                    <a:cubicBezTo>
                      <a:pt x="5220" y="635"/>
                      <a:pt x="4202" y="635"/>
                      <a:pt x="3819" y="1016"/>
                    </a:cubicBezTo>
                    <a:cubicBezTo>
                      <a:pt x="3437" y="1270"/>
                      <a:pt x="3183" y="1524"/>
                      <a:pt x="2928" y="1905"/>
                    </a:cubicBezTo>
                    <a:cubicBezTo>
                      <a:pt x="2673" y="2286"/>
                      <a:pt x="2546" y="2667"/>
                      <a:pt x="2419" y="3048"/>
                    </a:cubicBezTo>
                    <a:cubicBezTo>
                      <a:pt x="2419" y="3429"/>
                      <a:pt x="2165" y="3937"/>
                      <a:pt x="2165" y="4318"/>
                    </a:cubicBezTo>
                    <a:cubicBezTo>
                      <a:pt x="2546" y="4318"/>
                      <a:pt x="3055" y="4318"/>
                      <a:pt x="3565" y="4318"/>
                    </a:cubicBezTo>
                    <a:cubicBezTo>
                      <a:pt x="4074" y="4318"/>
                      <a:pt x="4456" y="4318"/>
                      <a:pt x="4965" y="4318"/>
                    </a:cubicBezTo>
                    <a:cubicBezTo>
                      <a:pt x="5474" y="4318"/>
                      <a:pt x="5856" y="4318"/>
                      <a:pt x="6366" y="4318"/>
                    </a:cubicBezTo>
                    <a:cubicBezTo>
                      <a:pt x="6875" y="4318"/>
                      <a:pt x="7384" y="4318"/>
                      <a:pt x="7766" y="4318"/>
                    </a:cubicBezTo>
                    <a:cubicBezTo>
                      <a:pt x="7766" y="3937"/>
                      <a:pt x="7766" y="3556"/>
                      <a:pt x="7766" y="3048"/>
                    </a:cubicBezTo>
                    <a:cubicBezTo>
                      <a:pt x="7766" y="2667"/>
                      <a:pt x="7512" y="2159"/>
                      <a:pt x="7384" y="1905"/>
                    </a:cubicBezTo>
                    <a:cubicBezTo>
                      <a:pt x="7130" y="1524"/>
                      <a:pt x="6875" y="1270"/>
                      <a:pt x="6620" y="1016"/>
                    </a:cubicBezTo>
                    <a:cubicBezTo>
                      <a:pt x="6238" y="762"/>
                      <a:pt x="5856" y="635"/>
                      <a:pt x="5220" y="635"/>
                    </a:cubicBezTo>
                    <a:close/>
                  </a:path>
                </a:pathLst>
              </a:custGeom>
              <a:solidFill>
                <a:srgbClr val="FFFFFF"/>
              </a:solidFill>
              <a:ln w="0" cap="flat">
                <a:noFill/>
                <a:prstDash val="solid"/>
                <a:miter/>
              </a:ln>
            </p:spPr>
            <p:txBody>
              <a:bodyPr rtlCol="0" anchor="ctr"/>
              <a:lstStyle/>
              <a:p>
                <a:endParaRPr lang="en-AD" sz="2400"/>
              </a:p>
            </p:txBody>
          </p:sp>
          <p:sp>
            <p:nvSpPr>
              <p:cNvPr id="210" name="Freeform 209">
                <a:extLst>
                  <a:ext uri="{FF2B5EF4-FFF2-40B4-BE49-F238E27FC236}">
                    <a16:creationId xmlns:a16="http://schemas.microsoft.com/office/drawing/2014/main" id="{D02A647D-1131-80F2-A103-52A8F9A57955}"/>
                  </a:ext>
                </a:extLst>
              </p:cNvPr>
              <p:cNvSpPr/>
              <p:nvPr/>
            </p:nvSpPr>
            <p:spPr>
              <a:xfrm>
                <a:off x="4025821" y="4737100"/>
                <a:ext cx="23043" cy="72009"/>
              </a:xfrm>
              <a:custGeom>
                <a:avLst/>
                <a:gdLst>
                  <a:gd name="connsiteX0" fmla="*/ 23044 w 23043"/>
                  <a:gd name="connsiteY0" fmla="*/ 0 h 72009"/>
                  <a:gd name="connsiteX1" fmla="*/ 23044 w 23043"/>
                  <a:gd name="connsiteY1" fmla="*/ 72009 h 72009"/>
                  <a:gd name="connsiteX2" fmla="*/ 0 w 23043"/>
                  <a:gd name="connsiteY2" fmla="*/ 72009 h 72009"/>
                  <a:gd name="connsiteX3" fmla="*/ 0 w 23043"/>
                  <a:gd name="connsiteY3" fmla="*/ 0 h 72009"/>
                  <a:gd name="connsiteX4" fmla="*/ 23044 w 23043"/>
                  <a:gd name="connsiteY4" fmla="*/ 0 h 7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3" h="72009">
                    <a:moveTo>
                      <a:pt x="23044" y="0"/>
                    </a:moveTo>
                    <a:lnTo>
                      <a:pt x="23044" y="72009"/>
                    </a:lnTo>
                    <a:lnTo>
                      <a:pt x="0" y="72009"/>
                    </a:lnTo>
                    <a:lnTo>
                      <a:pt x="0" y="0"/>
                    </a:lnTo>
                    <a:lnTo>
                      <a:pt x="23044" y="0"/>
                    </a:lnTo>
                    <a:close/>
                  </a:path>
                </a:pathLst>
              </a:custGeom>
              <a:solidFill>
                <a:srgbClr val="FFFFFF"/>
              </a:solidFill>
              <a:ln w="0" cap="flat">
                <a:noFill/>
                <a:prstDash val="solid"/>
                <a:miter/>
              </a:ln>
            </p:spPr>
            <p:txBody>
              <a:bodyPr rtlCol="0" anchor="ctr"/>
              <a:lstStyle/>
              <a:p>
                <a:endParaRPr lang="en-AD" sz="2400"/>
              </a:p>
            </p:txBody>
          </p:sp>
          <p:sp>
            <p:nvSpPr>
              <p:cNvPr id="211" name="Freeform 210">
                <a:extLst>
                  <a:ext uri="{FF2B5EF4-FFF2-40B4-BE49-F238E27FC236}">
                    <a16:creationId xmlns:a16="http://schemas.microsoft.com/office/drawing/2014/main" id="{F6300667-FA90-C9DC-E78C-A8E0E1C1DB14}"/>
                  </a:ext>
                </a:extLst>
              </p:cNvPr>
              <p:cNvSpPr/>
              <p:nvPr/>
            </p:nvSpPr>
            <p:spPr>
              <a:xfrm>
                <a:off x="4054721" y="4756658"/>
                <a:ext cx="69386" cy="52323"/>
              </a:xfrm>
              <a:custGeom>
                <a:avLst/>
                <a:gdLst>
                  <a:gd name="connsiteX0" fmla="*/ 17951 w 69386"/>
                  <a:gd name="connsiteY0" fmla="*/ 1270 h 52323"/>
                  <a:gd name="connsiteX1" fmla="*/ 17951 w 69386"/>
                  <a:gd name="connsiteY1" fmla="*/ 9017 h 52323"/>
                  <a:gd name="connsiteX2" fmla="*/ 18970 w 69386"/>
                  <a:gd name="connsiteY2" fmla="*/ 9017 h 52323"/>
                  <a:gd name="connsiteX3" fmla="*/ 40741 w 69386"/>
                  <a:gd name="connsiteY3" fmla="*/ 0 h 52323"/>
                  <a:gd name="connsiteX4" fmla="*/ 63785 w 69386"/>
                  <a:gd name="connsiteY4" fmla="*/ 6350 h 52323"/>
                  <a:gd name="connsiteX5" fmla="*/ 69386 w 69386"/>
                  <a:gd name="connsiteY5" fmla="*/ 29083 h 52323"/>
                  <a:gd name="connsiteX6" fmla="*/ 69386 w 69386"/>
                  <a:gd name="connsiteY6" fmla="*/ 52324 h 52323"/>
                  <a:gd name="connsiteX7" fmla="*/ 50289 w 69386"/>
                  <a:gd name="connsiteY7" fmla="*/ 52324 h 52323"/>
                  <a:gd name="connsiteX8" fmla="*/ 50289 w 69386"/>
                  <a:gd name="connsiteY8" fmla="*/ 29083 h 52323"/>
                  <a:gd name="connsiteX9" fmla="*/ 47870 w 69386"/>
                  <a:gd name="connsiteY9" fmla="*/ 17145 h 52323"/>
                  <a:gd name="connsiteX10" fmla="*/ 35011 w 69386"/>
                  <a:gd name="connsiteY10" fmla="*/ 14351 h 52323"/>
                  <a:gd name="connsiteX11" fmla="*/ 21898 w 69386"/>
                  <a:gd name="connsiteY11" fmla="*/ 17653 h 52323"/>
                  <a:gd name="connsiteX12" fmla="*/ 19097 w 69386"/>
                  <a:gd name="connsiteY12" fmla="*/ 31877 h 52323"/>
                  <a:gd name="connsiteX13" fmla="*/ 19097 w 69386"/>
                  <a:gd name="connsiteY13" fmla="*/ 52324 h 52323"/>
                  <a:gd name="connsiteX14" fmla="*/ 0 w 69386"/>
                  <a:gd name="connsiteY14" fmla="*/ 52324 h 52323"/>
                  <a:gd name="connsiteX15" fmla="*/ 0 w 69386"/>
                  <a:gd name="connsiteY15" fmla="*/ 1270 h 52323"/>
                  <a:gd name="connsiteX16" fmla="*/ 18079 w 69386"/>
                  <a:gd name="connsiteY16" fmla="*/ 1270 h 5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386" h="52323">
                    <a:moveTo>
                      <a:pt x="17951" y="1270"/>
                    </a:moveTo>
                    <a:lnTo>
                      <a:pt x="17951" y="9017"/>
                    </a:lnTo>
                    <a:lnTo>
                      <a:pt x="18970" y="9017"/>
                    </a:lnTo>
                    <a:cubicBezTo>
                      <a:pt x="22407" y="2413"/>
                      <a:pt x="28264" y="0"/>
                      <a:pt x="40741" y="0"/>
                    </a:cubicBezTo>
                    <a:cubicBezTo>
                      <a:pt x="53217" y="0"/>
                      <a:pt x="59201" y="1778"/>
                      <a:pt x="63785" y="6350"/>
                    </a:cubicBezTo>
                    <a:cubicBezTo>
                      <a:pt x="68495" y="11176"/>
                      <a:pt x="69386" y="15113"/>
                      <a:pt x="69386" y="29083"/>
                    </a:cubicBezTo>
                    <a:lnTo>
                      <a:pt x="69386" y="52324"/>
                    </a:lnTo>
                    <a:lnTo>
                      <a:pt x="50289" y="52324"/>
                    </a:lnTo>
                    <a:lnTo>
                      <a:pt x="50289" y="29083"/>
                    </a:lnTo>
                    <a:cubicBezTo>
                      <a:pt x="50289" y="20828"/>
                      <a:pt x="49907" y="19050"/>
                      <a:pt x="47870" y="17145"/>
                    </a:cubicBezTo>
                    <a:cubicBezTo>
                      <a:pt x="45833" y="15113"/>
                      <a:pt x="42141" y="14351"/>
                      <a:pt x="35011" y="14351"/>
                    </a:cubicBezTo>
                    <a:cubicBezTo>
                      <a:pt x="27882" y="14351"/>
                      <a:pt x="24190" y="15367"/>
                      <a:pt x="21898" y="17653"/>
                    </a:cubicBezTo>
                    <a:cubicBezTo>
                      <a:pt x="19479" y="20193"/>
                      <a:pt x="19097" y="22479"/>
                      <a:pt x="19097" y="31877"/>
                    </a:cubicBezTo>
                    <a:lnTo>
                      <a:pt x="19097" y="52324"/>
                    </a:lnTo>
                    <a:lnTo>
                      <a:pt x="0" y="52324"/>
                    </a:lnTo>
                    <a:lnTo>
                      <a:pt x="0" y="1270"/>
                    </a:lnTo>
                    <a:lnTo>
                      <a:pt x="18079" y="1270"/>
                    </a:lnTo>
                    <a:close/>
                  </a:path>
                </a:pathLst>
              </a:custGeom>
              <a:solidFill>
                <a:srgbClr val="FFFFFF"/>
              </a:solidFill>
              <a:ln w="0" cap="flat">
                <a:noFill/>
                <a:prstDash val="solid"/>
                <a:miter/>
              </a:ln>
            </p:spPr>
            <p:txBody>
              <a:bodyPr rtlCol="0" anchor="ctr"/>
              <a:lstStyle/>
              <a:p>
                <a:endParaRPr lang="en-AD" sz="2400"/>
              </a:p>
            </p:txBody>
          </p:sp>
          <p:sp>
            <p:nvSpPr>
              <p:cNvPr id="212" name="Freeform 211">
                <a:extLst>
                  <a:ext uri="{FF2B5EF4-FFF2-40B4-BE49-F238E27FC236}">
                    <a16:creationId xmlns:a16="http://schemas.microsoft.com/office/drawing/2014/main" id="{F7E98FCA-72DB-3CA2-919C-52E82D4A0C8D}"/>
                  </a:ext>
                </a:extLst>
              </p:cNvPr>
              <p:cNvSpPr/>
              <p:nvPr/>
            </p:nvSpPr>
            <p:spPr>
              <a:xfrm>
                <a:off x="4127163" y="4756658"/>
                <a:ext cx="70659" cy="53466"/>
              </a:xfrm>
              <a:custGeom>
                <a:avLst/>
                <a:gdLst>
                  <a:gd name="connsiteX0" fmla="*/ 19225 w 70659"/>
                  <a:gd name="connsiteY0" fmla="*/ 36068 h 53466"/>
                  <a:gd name="connsiteX1" fmla="*/ 35266 w 70659"/>
                  <a:gd name="connsiteY1" fmla="*/ 41783 h 53466"/>
                  <a:gd name="connsiteX2" fmla="*/ 51308 w 70659"/>
                  <a:gd name="connsiteY2" fmla="*/ 37084 h 53466"/>
                  <a:gd name="connsiteX3" fmla="*/ 46852 w 70659"/>
                  <a:gd name="connsiteY3" fmla="*/ 33274 h 53466"/>
                  <a:gd name="connsiteX4" fmla="*/ 20625 w 70659"/>
                  <a:gd name="connsiteY4" fmla="*/ 32893 h 53466"/>
                  <a:gd name="connsiteX5" fmla="*/ 127 w 70659"/>
                  <a:gd name="connsiteY5" fmla="*/ 17272 h 53466"/>
                  <a:gd name="connsiteX6" fmla="*/ 9039 w 70659"/>
                  <a:gd name="connsiteY6" fmla="*/ 2413 h 53466"/>
                  <a:gd name="connsiteX7" fmla="*/ 35521 w 70659"/>
                  <a:gd name="connsiteY7" fmla="*/ 0 h 53466"/>
                  <a:gd name="connsiteX8" fmla="*/ 63657 w 70659"/>
                  <a:gd name="connsiteY8" fmla="*/ 4699 h 53466"/>
                  <a:gd name="connsiteX9" fmla="*/ 67731 w 70659"/>
                  <a:gd name="connsiteY9" fmla="*/ 15748 h 53466"/>
                  <a:gd name="connsiteX10" fmla="*/ 48252 w 70659"/>
                  <a:gd name="connsiteY10" fmla="*/ 15748 h 53466"/>
                  <a:gd name="connsiteX11" fmla="*/ 46979 w 70659"/>
                  <a:gd name="connsiteY11" fmla="*/ 13335 h 53466"/>
                  <a:gd name="connsiteX12" fmla="*/ 35011 w 70659"/>
                  <a:gd name="connsiteY12" fmla="*/ 11811 h 53466"/>
                  <a:gd name="connsiteX13" fmla="*/ 19352 w 70659"/>
                  <a:gd name="connsiteY13" fmla="*/ 16002 h 53466"/>
                  <a:gd name="connsiteX14" fmla="*/ 23935 w 70659"/>
                  <a:gd name="connsiteY14" fmla="*/ 19304 h 53466"/>
                  <a:gd name="connsiteX15" fmla="*/ 50162 w 70659"/>
                  <a:gd name="connsiteY15" fmla="*/ 19685 h 53466"/>
                  <a:gd name="connsiteX16" fmla="*/ 70659 w 70659"/>
                  <a:gd name="connsiteY16" fmla="*/ 35560 h 53466"/>
                  <a:gd name="connsiteX17" fmla="*/ 34120 w 70659"/>
                  <a:gd name="connsiteY17" fmla="*/ 53467 h 53466"/>
                  <a:gd name="connsiteX18" fmla="*/ 4584 w 70659"/>
                  <a:gd name="connsiteY18" fmla="*/ 48133 h 53466"/>
                  <a:gd name="connsiteX19" fmla="*/ 0 w 70659"/>
                  <a:gd name="connsiteY19" fmla="*/ 35814 h 53466"/>
                  <a:gd name="connsiteX20" fmla="*/ 19479 w 70659"/>
                  <a:gd name="connsiteY20" fmla="*/ 35814 h 5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659" h="53466">
                    <a:moveTo>
                      <a:pt x="19225" y="36068"/>
                    </a:moveTo>
                    <a:cubicBezTo>
                      <a:pt x="19607" y="40513"/>
                      <a:pt x="23171" y="41783"/>
                      <a:pt x="35266" y="41783"/>
                    </a:cubicBezTo>
                    <a:cubicBezTo>
                      <a:pt x="47361" y="41783"/>
                      <a:pt x="51308" y="40767"/>
                      <a:pt x="51308" y="37084"/>
                    </a:cubicBezTo>
                    <a:cubicBezTo>
                      <a:pt x="51308" y="35052"/>
                      <a:pt x="49653" y="33655"/>
                      <a:pt x="46852" y="33274"/>
                    </a:cubicBezTo>
                    <a:cubicBezTo>
                      <a:pt x="44306" y="33020"/>
                      <a:pt x="39468" y="32893"/>
                      <a:pt x="20625" y="32893"/>
                    </a:cubicBezTo>
                    <a:cubicBezTo>
                      <a:pt x="6111" y="32639"/>
                      <a:pt x="127" y="28194"/>
                      <a:pt x="127" y="17272"/>
                    </a:cubicBezTo>
                    <a:cubicBezTo>
                      <a:pt x="127" y="9398"/>
                      <a:pt x="2928" y="4699"/>
                      <a:pt x="9039" y="2413"/>
                    </a:cubicBezTo>
                    <a:cubicBezTo>
                      <a:pt x="13113" y="762"/>
                      <a:pt x="22153" y="0"/>
                      <a:pt x="35521" y="0"/>
                    </a:cubicBezTo>
                    <a:cubicBezTo>
                      <a:pt x="52963" y="0"/>
                      <a:pt x="59329" y="1143"/>
                      <a:pt x="63657" y="4699"/>
                    </a:cubicBezTo>
                    <a:cubicBezTo>
                      <a:pt x="66331" y="6858"/>
                      <a:pt x="67349" y="9525"/>
                      <a:pt x="67731" y="15748"/>
                    </a:cubicBezTo>
                    <a:lnTo>
                      <a:pt x="48252" y="15748"/>
                    </a:lnTo>
                    <a:cubicBezTo>
                      <a:pt x="47870" y="14097"/>
                      <a:pt x="47615" y="13843"/>
                      <a:pt x="46979" y="13335"/>
                    </a:cubicBezTo>
                    <a:cubicBezTo>
                      <a:pt x="45324" y="12319"/>
                      <a:pt x="41505" y="11811"/>
                      <a:pt x="35011" y="11811"/>
                    </a:cubicBezTo>
                    <a:cubicBezTo>
                      <a:pt x="23044" y="11811"/>
                      <a:pt x="19352" y="12827"/>
                      <a:pt x="19352" y="16002"/>
                    </a:cubicBezTo>
                    <a:cubicBezTo>
                      <a:pt x="19352" y="18034"/>
                      <a:pt x="20880" y="19177"/>
                      <a:pt x="23935" y="19304"/>
                    </a:cubicBezTo>
                    <a:cubicBezTo>
                      <a:pt x="27118" y="19558"/>
                      <a:pt x="30428" y="19685"/>
                      <a:pt x="50162" y="19685"/>
                    </a:cubicBezTo>
                    <a:cubicBezTo>
                      <a:pt x="64930" y="19685"/>
                      <a:pt x="70659" y="24130"/>
                      <a:pt x="70659" y="35560"/>
                    </a:cubicBezTo>
                    <a:cubicBezTo>
                      <a:pt x="70659" y="50165"/>
                      <a:pt x="63785" y="53467"/>
                      <a:pt x="34120" y="53467"/>
                    </a:cubicBezTo>
                    <a:cubicBezTo>
                      <a:pt x="15532" y="53467"/>
                      <a:pt x="9167" y="52451"/>
                      <a:pt x="4584" y="48133"/>
                    </a:cubicBezTo>
                    <a:cubicBezTo>
                      <a:pt x="1401" y="45339"/>
                      <a:pt x="127" y="41783"/>
                      <a:pt x="0" y="35814"/>
                    </a:cubicBezTo>
                    <a:lnTo>
                      <a:pt x="19479" y="35814"/>
                    </a:lnTo>
                    <a:close/>
                  </a:path>
                </a:pathLst>
              </a:custGeom>
              <a:solidFill>
                <a:srgbClr val="FFFFFF"/>
              </a:solidFill>
              <a:ln w="0" cap="flat">
                <a:noFill/>
                <a:prstDash val="solid"/>
                <a:miter/>
              </a:ln>
            </p:spPr>
            <p:txBody>
              <a:bodyPr rtlCol="0" anchor="ctr"/>
              <a:lstStyle/>
              <a:p>
                <a:endParaRPr lang="en-AD" sz="2400"/>
              </a:p>
            </p:txBody>
          </p:sp>
          <p:sp>
            <p:nvSpPr>
              <p:cNvPr id="213" name="Freeform 212">
                <a:extLst>
                  <a:ext uri="{FF2B5EF4-FFF2-40B4-BE49-F238E27FC236}">
                    <a16:creationId xmlns:a16="http://schemas.microsoft.com/office/drawing/2014/main" id="{3021F07E-1DA2-0B41-EF53-B7B5D339400F}"/>
                  </a:ext>
                </a:extLst>
              </p:cNvPr>
              <p:cNvSpPr/>
              <p:nvPr/>
            </p:nvSpPr>
            <p:spPr>
              <a:xfrm>
                <a:off x="4196804" y="4746244"/>
                <a:ext cx="61874" cy="64261"/>
              </a:xfrm>
              <a:custGeom>
                <a:avLst/>
                <a:gdLst>
                  <a:gd name="connsiteX0" fmla="*/ 29028 w 61874"/>
                  <a:gd name="connsiteY0" fmla="*/ 0 h 64261"/>
                  <a:gd name="connsiteX1" fmla="*/ 29028 w 61874"/>
                  <a:gd name="connsiteY1" fmla="*/ 11811 h 64261"/>
                  <a:gd name="connsiteX2" fmla="*/ 59329 w 61874"/>
                  <a:gd name="connsiteY2" fmla="*/ 11811 h 64261"/>
                  <a:gd name="connsiteX3" fmla="*/ 59329 w 61874"/>
                  <a:gd name="connsiteY3" fmla="*/ 25527 h 64261"/>
                  <a:gd name="connsiteX4" fmla="*/ 29028 w 61874"/>
                  <a:gd name="connsiteY4" fmla="*/ 25527 h 64261"/>
                  <a:gd name="connsiteX5" fmla="*/ 29028 w 61874"/>
                  <a:gd name="connsiteY5" fmla="*/ 40386 h 64261"/>
                  <a:gd name="connsiteX6" fmla="*/ 30046 w 61874"/>
                  <a:gd name="connsiteY6" fmla="*/ 48006 h 64261"/>
                  <a:gd name="connsiteX7" fmla="*/ 36667 w 61874"/>
                  <a:gd name="connsiteY7" fmla="*/ 50546 h 64261"/>
                  <a:gd name="connsiteX8" fmla="*/ 43542 w 61874"/>
                  <a:gd name="connsiteY8" fmla="*/ 48006 h 64261"/>
                  <a:gd name="connsiteX9" fmla="*/ 44306 w 61874"/>
                  <a:gd name="connsiteY9" fmla="*/ 41148 h 64261"/>
                  <a:gd name="connsiteX10" fmla="*/ 61875 w 61874"/>
                  <a:gd name="connsiteY10" fmla="*/ 41148 h 64261"/>
                  <a:gd name="connsiteX11" fmla="*/ 57928 w 61874"/>
                  <a:gd name="connsiteY11" fmla="*/ 57785 h 64261"/>
                  <a:gd name="connsiteX12" fmla="*/ 35011 w 61874"/>
                  <a:gd name="connsiteY12" fmla="*/ 64262 h 64261"/>
                  <a:gd name="connsiteX13" fmla="*/ 14005 w 61874"/>
                  <a:gd name="connsiteY13" fmla="*/ 59563 h 64261"/>
                  <a:gd name="connsiteX14" fmla="*/ 10058 w 61874"/>
                  <a:gd name="connsiteY14" fmla="*/ 48260 h 64261"/>
                  <a:gd name="connsiteX15" fmla="*/ 10058 w 61874"/>
                  <a:gd name="connsiteY15" fmla="*/ 40640 h 64261"/>
                  <a:gd name="connsiteX16" fmla="*/ 10058 w 61874"/>
                  <a:gd name="connsiteY16" fmla="*/ 25781 h 64261"/>
                  <a:gd name="connsiteX17" fmla="*/ 0 w 61874"/>
                  <a:gd name="connsiteY17" fmla="*/ 25781 h 64261"/>
                  <a:gd name="connsiteX18" fmla="*/ 0 w 61874"/>
                  <a:gd name="connsiteY18" fmla="*/ 12065 h 64261"/>
                  <a:gd name="connsiteX19" fmla="*/ 10058 w 61874"/>
                  <a:gd name="connsiteY19" fmla="*/ 12065 h 64261"/>
                  <a:gd name="connsiteX20" fmla="*/ 10058 w 61874"/>
                  <a:gd name="connsiteY20" fmla="*/ 254 h 64261"/>
                  <a:gd name="connsiteX21" fmla="*/ 29155 w 61874"/>
                  <a:gd name="connsiteY21" fmla="*/ 254 h 6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874" h="64261">
                    <a:moveTo>
                      <a:pt x="29028" y="0"/>
                    </a:moveTo>
                    <a:lnTo>
                      <a:pt x="29028" y="11811"/>
                    </a:lnTo>
                    <a:lnTo>
                      <a:pt x="59329" y="11811"/>
                    </a:lnTo>
                    <a:lnTo>
                      <a:pt x="59329" y="25527"/>
                    </a:lnTo>
                    <a:lnTo>
                      <a:pt x="29028" y="25527"/>
                    </a:lnTo>
                    <a:lnTo>
                      <a:pt x="29028" y="40386"/>
                    </a:lnTo>
                    <a:cubicBezTo>
                      <a:pt x="29028" y="45974"/>
                      <a:pt x="29028" y="46736"/>
                      <a:pt x="30046" y="48006"/>
                    </a:cubicBezTo>
                    <a:cubicBezTo>
                      <a:pt x="31065" y="49784"/>
                      <a:pt x="32974" y="50546"/>
                      <a:pt x="36667" y="50546"/>
                    </a:cubicBezTo>
                    <a:cubicBezTo>
                      <a:pt x="40613" y="50546"/>
                      <a:pt x="42778" y="49784"/>
                      <a:pt x="43542" y="48006"/>
                    </a:cubicBezTo>
                    <a:cubicBezTo>
                      <a:pt x="44178" y="46863"/>
                      <a:pt x="44306" y="46355"/>
                      <a:pt x="44306" y="41148"/>
                    </a:cubicBezTo>
                    <a:lnTo>
                      <a:pt x="61875" y="41148"/>
                    </a:lnTo>
                    <a:cubicBezTo>
                      <a:pt x="61620" y="50800"/>
                      <a:pt x="60856" y="53975"/>
                      <a:pt x="57928" y="57785"/>
                    </a:cubicBezTo>
                    <a:cubicBezTo>
                      <a:pt x="53981" y="62611"/>
                      <a:pt x="48252" y="64262"/>
                      <a:pt x="35011" y="64262"/>
                    </a:cubicBezTo>
                    <a:cubicBezTo>
                      <a:pt x="22789" y="64262"/>
                      <a:pt x="17824" y="63246"/>
                      <a:pt x="14005" y="59563"/>
                    </a:cubicBezTo>
                    <a:cubicBezTo>
                      <a:pt x="11331" y="56896"/>
                      <a:pt x="10185" y="54102"/>
                      <a:pt x="10058" y="48260"/>
                    </a:cubicBezTo>
                    <a:cubicBezTo>
                      <a:pt x="10058" y="47371"/>
                      <a:pt x="10058" y="44831"/>
                      <a:pt x="10058" y="40640"/>
                    </a:cubicBezTo>
                    <a:lnTo>
                      <a:pt x="10058" y="25781"/>
                    </a:lnTo>
                    <a:lnTo>
                      <a:pt x="0" y="25781"/>
                    </a:lnTo>
                    <a:lnTo>
                      <a:pt x="0" y="12065"/>
                    </a:lnTo>
                    <a:lnTo>
                      <a:pt x="10058" y="12065"/>
                    </a:lnTo>
                    <a:lnTo>
                      <a:pt x="10058" y="254"/>
                    </a:lnTo>
                    <a:lnTo>
                      <a:pt x="29155" y="254"/>
                    </a:lnTo>
                    <a:close/>
                  </a:path>
                </a:pathLst>
              </a:custGeom>
              <a:solidFill>
                <a:srgbClr val="FFFFFF"/>
              </a:solidFill>
              <a:ln w="0" cap="flat">
                <a:noFill/>
                <a:prstDash val="solid"/>
                <a:miter/>
              </a:ln>
            </p:spPr>
            <p:txBody>
              <a:bodyPr rtlCol="0" anchor="ctr"/>
              <a:lstStyle/>
              <a:p>
                <a:endParaRPr lang="en-AD" sz="2400"/>
              </a:p>
            </p:txBody>
          </p:sp>
          <p:sp>
            <p:nvSpPr>
              <p:cNvPr id="214" name="Freeform 213">
                <a:extLst>
                  <a:ext uri="{FF2B5EF4-FFF2-40B4-BE49-F238E27FC236}">
                    <a16:creationId xmlns:a16="http://schemas.microsoft.com/office/drawing/2014/main" id="{2F49B64E-47FD-9201-A693-1D60946F72C5}"/>
                  </a:ext>
                </a:extLst>
              </p:cNvPr>
              <p:cNvSpPr/>
              <p:nvPr/>
            </p:nvSpPr>
            <p:spPr>
              <a:xfrm>
                <a:off x="4259570" y="4756530"/>
                <a:ext cx="69131" cy="53847"/>
              </a:xfrm>
              <a:custGeom>
                <a:avLst/>
                <a:gdLst>
                  <a:gd name="connsiteX0" fmla="*/ 68750 w 69131"/>
                  <a:gd name="connsiteY0" fmla="*/ 36195 h 53847"/>
                  <a:gd name="connsiteX1" fmla="*/ 32974 w 69131"/>
                  <a:gd name="connsiteY1" fmla="*/ 53848 h 53847"/>
                  <a:gd name="connsiteX2" fmla="*/ 6493 w 69131"/>
                  <a:gd name="connsiteY2" fmla="*/ 49149 h 53847"/>
                  <a:gd name="connsiteX3" fmla="*/ 0 w 69131"/>
                  <a:gd name="connsiteY3" fmla="*/ 27178 h 53847"/>
                  <a:gd name="connsiteX4" fmla="*/ 6875 w 69131"/>
                  <a:gd name="connsiteY4" fmla="*/ 4572 h 53847"/>
                  <a:gd name="connsiteX5" fmla="*/ 34884 w 69131"/>
                  <a:gd name="connsiteY5" fmla="*/ 0 h 53847"/>
                  <a:gd name="connsiteX6" fmla="*/ 62893 w 69131"/>
                  <a:gd name="connsiteY6" fmla="*/ 4826 h 53847"/>
                  <a:gd name="connsiteX7" fmla="*/ 69132 w 69131"/>
                  <a:gd name="connsiteY7" fmla="*/ 25908 h 53847"/>
                  <a:gd name="connsiteX8" fmla="*/ 69132 w 69131"/>
                  <a:gd name="connsiteY8" fmla="*/ 31115 h 53847"/>
                  <a:gd name="connsiteX9" fmla="*/ 19097 w 69131"/>
                  <a:gd name="connsiteY9" fmla="*/ 31115 h 53847"/>
                  <a:gd name="connsiteX10" fmla="*/ 21516 w 69131"/>
                  <a:gd name="connsiteY10" fmla="*/ 39370 h 53847"/>
                  <a:gd name="connsiteX11" fmla="*/ 34502 w 69131"/>
                  <a:gd name="connsiteY11" fmla="*/ 41529 h 53847"/>
                  <a:gd name="connsiteX12" fmla="*/ 49780 w 69131"/>
                  <a:gd name="connsiteY12" fmla="*/ 36195 h 53847"/>
                  <a:gd name="connsiteX13" fmla="*/ 68877 w 69131"/>
                  <a:gd name="connsiteY13" fmla="*/ 36195 h 53847"/>
                  <a:gd name="connsiteX14" fmla="*/ 49907 w 69131"/>
                  <a:gd name="connsiteY14" fmla="*/ 20701 h 53847"/>
                  <a:gd name="connsiteX15" fmla="*/ 48380 w 69131"/>
                  <a:gd name="connsiteY15" fmla="*/ 14605 h 53847"/>
                  <a:gd name="connsiteX16" fmla="*/ 35139 w 69131"/>
                  <a:gd name="connsiteY16" fmla="*/ 12065 h 53847"/>
                  <a:gd name="connsiteX17" fmla="*/ 18970 w 69131"/>
                  <a:gd name="connsiteY17" fmla="*/ 20828 h 53847"/>
                  <a:gd name="connsiteX18" fmla="*/ 49780 w 69131"/>
                  <a:gd name="connsiteY18" fmla="*/ 20828 h 5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131" h="53847">
                    <a:moveTo>
                      <a:pt x="68750" y="36195"/>
                    </a:moveTo>
                    <a:cubicBezTo>
                      <a:pt x="67349" y="50292"/>
                      <a:pt x="60347" y="53848"/>
                      <a:pt x="32974" y="53848"/>
                    </a:cubicBezTo>
                    <a:cubicBezTo>
                      <a:pt x="18206" y="53848"/>
                      <a:pt x="11076" y="52578"/>
                      <a:pt x="6493" y="49149"/>
                    </a:cubicBezTo>
                    <a:cubicBezTo>
                      <a:pt x="1528" y="45339"/>
                      <a:pt x="0" y="40259"/>
                      <a:pt x="0" y="27178"/>
                    </a:cubicBezTo>
                    <a:cubicBezTo>
                      <a:pt x="0" y="13462"/>
                      <a:pt x="1528" y="8382"/>
                      <a:pt x="6875" y="4572"/>
                    </a:cubicBezTo>
                    <a:cubicBezTo>
                      <a:pt x="11841" y="1143"/>
                      <a:pt x="18206" y="0"/>
                      <a:pt x="34884" y="0"/>
                    </a:cubicBezTo>
                    <a:cubicBezTo>
                      <a:pt x="51563" y="0"/>
                      <a:pt x="58310" y="1016"/>
                      <a:pt x="62893" y="4826"/>
                    </a:cubicBezTo>
                    <a:cubicBezTo>
                      <a:pt x="67477" y="8636"/>
                      <a:pt x="69132" y="14351"/>
                      <a:pt x="69132" y="25908"/>
                    </a:cubicBezTo>
                    <a:cubicBezTo>
                      <a:pt x="69132" y="26543"/>
                      <a:pt x="69132" y="28956"/>
                      <a:pt x="69132" y="31115"/>
                    </a:cubicBezTo>
                    <a:lnTo>
                      <a:pt x="19097" y="31115"/>
                    </a:lnTo>
                    <a:cubicBezTo>
                      <a:pt x="19097" y="36322"/>
                      <a:pt x="19607" y="37973"/>
                      <a:pt x="21516" y="39370"/>
                    </a:cubicBezTo>
                    <a:cubicBezTo>
                      <a:pt x="23553" y="40894"/>
                      <a:pt x="27627" y="41529"/>
                      <a:pt x="34502" y="41529"/>
                    </a:cubicBezTo>
                    <a:cubicBezTo>
                      <a:pt x="46725" y="41529"/>
                      <a:pt x="49016" y="40640"/>
                      <a:pt x="49780" y="36195"/>
                    </a:cubicBezTo>
                    <a:lnTo>
                      <a:pt x="68877" y="36195"/>
                    </a:lnTo>
                    <a:close/>
                    <a:moveTo>
                      <a:pt x="49907" y="20701"/>
                    </a:moveTo>
                    <a:cubicBezTo>
                      <a:pt x="49907" y="16764"/>
                      <a:pt x="49525" y="15748"/>
                      <a:pt x="48380" y="14605"/>
                    </a:cubicBezTo>
                    <a:cubicBezTo>
                      <a:pt x="46597" y="12827"/>
                      <a:pt x="42778" y="12065"/>
                      <a:pt x="35139" y="12065"/>
                    </a:cubicBezTo>
                    <a:cubicBezTo>
                      <a:pt x="22280" y="12065"/>
                      <a:pt x="19225" y="13716"/>
                      <a:pt x="18970" y="20828"/>
                    </a:cubicBezTo>
                    <a:lnTo>
                      <a:pt x="49780" y="20828"/>
                    </a:lnTo>
                    <a:close/>
                  </a:path>
                </a:pathLst>
              </a:custGeom>
              <a:solidFill>
                <a:srgbClr val="FFFFFF"/>
              </a:solidFill>
              <a:ln w="0" cap="flat">
                <a:noFill/>
                <a:prstDash val="solid"/>
                <a:miter/>
              </a:ln>
            </p:spPr>
            <p:txBody>
              <a:bodyPr rtlCol="0" anchor="ctr"/>
              <a:lstStyle/>
              <a:p>
                <a:endParaRPr lang="en-AD" sz="2400"/>
              </a:p>
            </p:txBody>
          </p:sp>
          <p:sp>
            <p:nvSpPr>
              <p:cNvPr id="215" name="Freeform 214">
                <a:extLst>
                  <a:ext uri="{FF2B5EF4-FFF2-40B4-BE49-F238E27FC236}">
                    <a16:creationId xmlns:a16="http://schemas.microsoft.com/office/drawing/2014/main" id="{DFCE9B99-20BA-8427-370C-4B93531E483F}"/>
                  </a:ext>
                </a:extLst>
              </p:cNvPr>
              <p:cNvSpPr/>
              <p:nvPr/>
            </p:nvSpPr>
            <p:spPr>
              <a:xfrm>
                <a:off x="4332267" y="4756530"/>
                <a:ext cx="111527" cy="52578"/>
              </a:xfrm>
              <a:custGeom>
                <a:avLst/>
                <a:gdLst>
                  <a:gd name="connsiteX0" fmla="*/ 17951 w 111527"/>
                  <a:gd name="connsiteY0" fmla="*/ 1397 h 52578"/>
                  <a:gd name="connsiteX1" fmla="*/ 17951 w 111527"/>
                  <a:gd name="connsiteY1" fmla="*/ 9017 h 52578"/>
                  <a:gd name="connsiteX2" fmla="*/ 18970 w 111527"/>
                  <a:gd name="connsiteY2" fmla="*/ 9017 h 52578"/>
                  <a:gd name="connsiteX3" fmla="*/ 39595 w 111527"/>
                  <a:gd name="connsiteY3" fmla="*/ 0 h 52578"/>
                  <a:gd name="connsiteX4" fmla="*/ 62893 w 111527"/>
                  <a:gd name="connsiteY4" fmla="*/ 10668 h 52578"/>
                  <a:gd name="connsiteX5" fmla="*/ 84918 w 111527"/>
                  <a:gd name="connsiteY5" fmla="*/ 0 h 52578"/>
                  <a:gd name="connsiteX6" fmla="*/ 106180 w 111527"/>
                  <a:gd name="connsiteY6" fmla="*/ 6604 h 52578"/>
                  <a:gd name="connsiteX7" fmla="*/ 111527 w 111527"/>
                  <a:gd name="connsiteY7" fmla="*/ 28575 h 52578"/>
                  <a:gd name="connsiteX8" fmla="*/ 111527 w 111527"/>
                  <a:gd name="connsiteY8" fmla="*/ 52451 h 52578"/>
                  <a:gd name="connsiteX9" fmla="*/ 92430 w 111527"/>
                  <a:gd name="connsiteY9" fmla="*/ 52451 h 52578"/>
                  <a:gd name="connsiteX10" fmla="*/ 92430 w 111527"/>
                  <a:gd name="connsiteY10" fmla="*/ 28575 h 52578"/>
                  <a:gd name="connsiteX11" fmla="*/ 90266 w 111527"/>
                  <a:gd name="connsiteY11" fmla="*/ 17272 h 52578"/>
                  <a:gd name="connsiteX12" fmla="*/ 79444 w 111527"/>
                  <a:gd name="connsiteY12" fmla="*/ 14478 h 52578"/>
                  <a:gd name="connsiteX13" fmla="*/ 68113 w 111527"/>
                  <a:gd name="connsiteY13" fmla="*/ 17653 h 52578"/>
                  <a:gd name="connsiteX14" fmla="*/ 65312 w 111527"/>
                  <a:gd name="connsiteY14" fmla="*/ 31369 h 52578"/>
                  <a:gd name="connsiteX15" fmla="*/ 65312 w 111527"/>
                  <a:gd name="connsiteY15" fmla="*/ 52451 h 52578"/>
                  <a:gd name="connsiteX16" fmla="*/ 46215 w 111527"/>
                  <a:gd name="connsiteY16" fmla="*/ 52451 h 52578"/>
                  <a:gd name="connsiteX17" fmla="*/ 46215 w 111527"/>
                  <a:gd name="connsiteY17" fmla="*/ 28575 h 52578"/>
                  <a:gd name="connsiteX18" fmla="*/ 44178 w 111527"/>
                  <a:gd name="connsiteY18" fmla="*/ 17272 h 52578"/>
                  <a:gd name="connsiteX19" fmla="*/ 33611 w 111527"/>
                  <a:gd name="connsiteY19" fmla="*/ 14478 h 52578"/>
                  <a:gd name="connsiteX20" fmla="*/ 21898 w 111527"/>
                  <a:gd name="connsiteY20" fmla="*/ 17653 h 52578"/>
                  <a:gd name="connsiteX21" fmla="*/ 19097 w 111527"/>
                  <a:gd name="connsiteY21" fmla="*/ 31496 h 52578"/>
                  <a:gd name="connsiteX22" fmla="*/ 19097 w 111527"/>
                  <a:gd name="connsiteY22" fmla="*/ 52578 h 52578"/>
                  <a:gd name="connsiteX23" fmla="*/ 0 w 111527"/>
                  <a:gd name="connsiteY23" fmla="*/ 52578 h 52578"/>
                  <a:gd name="connsiteX24" fmla="*/ 0 w 111527"/>
                  <a:gd name="connsiteY24" fmla="*/ 1524 h 52578"/>
                  <a:gd name="connsiteX25" fmla="*/ 18078 w 111527"/>
                  <a:gd name="connsiteY25" fmla="*/ 1524 h 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1527" h="52578">
                    <a:moveTo>
                      <a:pt x="17951" y="1397"/>
                    </a:moveTo>
                    <a:lnTo>
                      <a:pt x="17951" y="9017"/>
                    </a:lnTo>
                    <a:lnTo>
                      <a:pt x="18970" y="9017"/>
                    </a:lnTo>
                    <a:cubicBezTo>
                      <a:pt x="21771" y="2921"/>
                      <a:pt x="28264" y="0"/>
                      <a:pt x="39595" y="0"/>
                    </a:cubicBezTo>
                    <a:cubicBezTo>
                      <a:pt x="51944" y="0"/>
                      <a:pt x="58692" y="3175"/>
                      <a:pt x="62893" y="10668"/>
                    </a:cubicBezTo>
                    <a:cubicBezTo>
                      <a:pt x="66203" y="3048"/>
                      <a:pt x="72442" y="0"/>
                      <a:pt x="84918" y="0"/>
                    </a:cubicBezTo>
                    <a:cubicBezTo>
                      <a:pt x="95486" y="0"/>
                      <a:pt x="101851" y="1905"/>
                      <a:pt x="106180" y="6604"/>
                    </a:cubicBezTo>
                    <a:cubicBezTo>
                      <a:pt x="110636" y="11176"/>
                      <a:pt x="111527" y="15367"/>
                      <a:pt x="111527" y="28575"/>
                    </a:cubicBezTo>
                    <a:lnTo>
                      <a:pt x="111527" y="52451"/>
                    </a:lnTo>
                    <a:lnTo>
                      <a:pt x="92430" y="52451"/>
                    </a:lnTo>
                    <a:lnTo>
                      <a:pt x="92430" y="28575"/>
                    </a:lnTo>
                    <a:cubicBezTo>
                      <a:pt x="92430" y="20066"/>
                      <a:pt x="92048" y="19050"/>
                      <a:pt x="90266" y="17272"/>
                    </a:cubicBezTo>
                    <a:cubicBezTo>
                      <a:pt x="88356" y="15367"/>
                      <a:pt x="85046" y="14478"/>
                      <a:pt x="79444" y="14478"/>
                    </a:cubicBezTo>
                    <a:cubicBezTo>
                      <a:pt x="73842" y="14478"/>
                      <a:pt x="70150" y="15494"/>
                      <a:pt x="68113" y="17653"/>
                    </a:cubicBezTo>
                    <a:cubicBezTo>
                      <a:pt x="65949" y="20066"/>
                      <a:pt x="65312" y="22987"/>
                      <a:pt x="65312" y="31369"/>
                    </a:cubicBezTo>
                    <a:lnTo>
                      <a:pt x="65312" y="52451"/>
                    </a:lnTo>
                    <a:lnTo>
                      <a:pt x="46215" y="52451"/>
                    </a:lnTo>
                    <a:lnTo>
                      <a:pt x="46215" y="28575"/>
                    </a:lnTo>
                    <a:cubicBezTo>
                      <a:pt x="46215" y="20574"/>
                      <a:pt x="45960" y="19177"/>
                      <a:pt x="44178" y="17272"/>
                    </a:cubicBezTo>
                    <a:cubicBezTo>
                      <a:pt x="42396" y="15367"/>
                      <a:pt x="39085" y="14478"/>
                      <a:pt x="33611" y="14478"/>
                    </a:cubicBezTo>
                    <a:cubicBezTo>
                      <a:pt x="28136" y="14478"/>
                      <a:pt x="24062" y="15494"/>
                      <a:pt x="21898" y="17653"/>
                    </a:cubicBezTo>
                    <a:cubicBezTo>
                      <a:pt x="19734" y="19812"/>
                      <a:pt x="19097" y="22987"/>
                      <a:pt x="19097" y="31496"/>
                    </a:cubicBezTo>
                    <a:lnTo>
                      <a:pt x="19097" y="52578"/>
                    </a:lnTo>
                    <a:lnTo>
                      <a:pt x="0" y="52578"/>
                    </a:lnTo>
                    <a:lnTo>
                      <a:pt x="0" y="1524"/>
                    </a:lnTo>
                    <a:lnTo>
                      <a:pt x="18078" y="1524"/>
                    </a:lnTo>
                    <a:close/>
                  </a:path>
                </a:pathLst>
              </a:custGeom>
              <a:solidFill>
                <a:srgbClr val="FFFFFF"/>
              </a:solidFill>
              <a:ln w="0" cap="flat">
                <a:noFill/>
                <a:prstDash val="solid"/>
                <a:miter/>
              </a:ln>
            </p:spPr>
            <p:txBody>
              <a:bodyPr rtlCol="0" anchor="ctr"/>
              <a:lstStyle/>
              <a:p>
                <a:endParaRPr lang="en-AD" sz="2400"/>
              </a:p>
            </p:txBody>
          </p:sp>
          <p:sp>
            <p:nvSpPr>
              <p:cNvPr id="216" name="Freeform 215">
                <a:extLst>
                  <a:ext uri="{FF2B5EF4-FFF2-40B4-BE49-F238E27FC236}">
                    <a16:creationId xmlns:a16="http://schemas.microsoft.com/office/drawing/2014/main" id="{B638B455-DF3F-68BB-4C32-6A2A7781465D}"/>
                  </a:ext>
                </a:extLst>
              </p:cNvPr>
              <p:cNvSpPr/>
              <p:nvPr/>
            </p:nvSpPr>
            <p:spPr>
              <a:xfrm>
                <a:off x="4443285" y="4754498"/>
                <a:ext cx="12731" cy="12954"/>
              </a:xfrm>
              <a:custGeom>
                <a:avLst/>
                <a:gdLst>
                  <a:gd name="connsiteX0" fmla="*/ 6366 w 12731"/>
                  <a:gd name="connsiteY0" fmla="*/ 12954 h 12954"/>
                  <a:gd name="connsiteX1" fmla="*/ 0 w 12731"/>
                  <a:gd name="connsiteY1" fmla="*/ 6477 h 12954"/>
                  <a:gd name="connsiteX2" fmla="*/ 6366 w 12731"/>
                  <a:gd name="connsiteY2" fmla="*/ 0 h 12954"/>
                  <a:gd name="connsiteX3" fmla="*/ 12731 w 12731"/>
                  <a:gd name="connsiteY3" fmla="*/ 6477 h 12954"/>
                  <a:gd name="connsiteX4" fmla="*/ 6366 w 12731"/>
                  <a:gd name="connsiteY4" fmla="*/ 12954 h 12954"/>
                  <a:gd name="connsiteX5" fmla="*/ 6366 w 12731"/>
                  <a:gd name="connsiteY5" fmla="*/ 1143 h 12954"/>
                  <a:gd name="connsiteX6" fmla="*/ 1400 w 12731"/>
                  <a:gd name="connsiteY6" fmla="*/ 6477 h 12954"/>
                  <a:gd name="connsiteX7" fmla="*/ 6366 w 12731"/>
                  <a:gd name="connsiteY7" fmla="*/ 11811 h 12954"/>
                  <a:gd name="connsiteX8" fmla="*/ 11331 w 12731"/>
                  <a:gd name="connsiteY8" fmla="*/ 6477 h 12954"/>
                  <a:gd name="connsiteX9" fmla="*/ 6366 w 12731"/>
                  <a:gd name="connsiteY9" fmla="*/ 1143 h 12954"/>
                  <a:gd name="connsiteX10" fmla="*/ 5092 w 12731"/>
                  <a:gd name="connsiteY10" fmla="*/ 10160 h 12954"/>
                  <a:gd name="connsiteX11" fmla="*/ 3947 w 12731"/>
                  <a:gd name="connsiteY11" fmla="*/ 10160 h 12954"/>
                  <a:gd name="connsiteX12" fmla="*/ 3947 w 12731"/>
                  <a:gd name="connsiteY12" fmla="*/ 3048 h 12954"/>
                  <a:gd name="connsiteX13" fmla="*/ 6620 w 12731"/>
                  <a:gd name="connsiteY13" fmla="*/ 3048 h 12954"/>
                  <a:gd name="connsiteX14" fmla="*/ 9294 w 12731"/>
                  <a:gd name="connsiteY14" fmla="*/ 5080 h 12954"/>
                  <a:gd name="connsiteX15" fmla="*/ 7384 w 12731"/>
                  <a:gd name="connsiteY15" fmla="*/ 6985 h 12954"/>
                  <a:gd name="connsiteX16" fmla="*/ 9421 w 12731"/>
                  <a:gd name="connsiteY16" fmla="*/ 10160 h 12954"/>
                  <a:gd name="connsiteX17" fmla="*/ 8148 w 12731"/>
                  <a:gd name="connsiteY17" fmla="*/ 10160 h 12954"/>
                  <a:gd name="connsiteX18" fmla="*/ 6238 w 12731"/>
                  <a:gd name="connsiteY18" fmla="*/ 7112 h 12954"/>
                  <a:gd name="connsiteX19" fmla="*/ 5092 w 12731"/>
                  <a:gd name="connsiteY19" fmla="*/ 7112 h 12954"/>
                  <a:gd name="connsiteX20" fmla="*/ 5092 w 12731"/>
                  <a:gd name="connsiteY20" fmla="*/ 10160 h 12954"/>
                  <a:gd name="connsiteX21" fmla="*/ 6493 w 12731"/>
                  <a:gd name="connsiteY21" fmla="*/ 6096 h 12954"/>
                  <a:gd name="connsiteX22" fmla="*/ 8148 w 12731"/>
                  <a:gd name="connsiteY22" fmla="*/ 4953 h 12954"/>
                  <a:gd name="connsiteX23" fmla="*/ 6620 w 12731"/>
                  <a:gd name="connsiteY23" fmla="*/ 3937 h 12954"/>
                  <a:gd name="connsiteX24" fmla="*/ 5220 w 12731"/>
                  <a:gd name="connsiteY24" fmla="*/ 3937 h 12954"/>
                  <a:gd name="connsiteX25" fmla="*/ 5220 w 12731"/>
                  <a:gd name="connsiteY25" fmla="*/ 5969 h 12954"/>
                  <a:gd name="connsiteX26" fmla="*/ 6493 w 12731"/>
                  <a:gd name="connsiteY26" fmla="*/ 5969 h 1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731" h="12954">
                    <a:moveTo>
                      <a:pt x="6366" y="12954"/>
                    </a:moveTo>
                    <a:cubicBezTo>
                      <a:pt x="2673" y="12954"/>
                      <a:pt x="0" y="10160"/>
                      <a:pt x="0" y="6477"/>
                    </a:cubicBezTo>
                    <a:cubicBezTo>
                      <a:pt x="0" y="2540"/>
                      <a:pt x="2928" y="0"/>
                      <a:pt x="6366" y="0"/>
                    </a:cubicBezTo>
                    <a:cubicBezTo>
                      <a:pt x="9803" y="0"/>
                      <a:pt x="12731" y="2540"/>
                      <a:pt x="12731" y="6477"/>
                    </a:cubicBezTo>
                    <a:cubicBezTo>
                      <a:pt x="12731" y="10414"/>
                      <a:pt x="9803" y="12954"/>
                      <a:pt x="6366" y="12954"/>
                    </a:cubicBezTo>
                    <a:close/>
                    <a:moveTo>
                      <a:pt x="6366" y="1143"/>
                    </a:moveTo>
                    <a:cubicBezTo>
                      <a:pt x="3565" y="1143"/>
                      <a:pt x="1400" y="3302"/>
                      <a:pt x="1400" y="6477"/>
                    </a:cubicBezTo>
                    <a:cubicBezTo>
                      <a:pt x="1400" y="9398"/>
                      <a:pt x="3310" y="11811"/>
                      <a:pt x="6366" y="11811"/>
                    </a:cubicBezTo>
                    <a:cubicBezTo>
                      <a:pt x="9166" y="11811"/>
                      <a:pt x="11331" y="9652"/>
                      <a:pt x="11331" y="6477"/>
                    </a:cubicBezTo>
                    <a:cubicBezTo>
                      <a:pt x="11331" y="3302"/>
                      <a:pt x="9166" y="1143"/>
                      <a:pt x="6366" y="1143"/>
                    </a:cubicBezTo>
                    <a:close/>
                    <a:moveTo>
                      <a:pt x="5092" y="10160"/>
                    </a:moveTo>
                    <a:lnTo>
                      <a:pt x="3947" y="10160"/>
                    </a:lnTo>
                    <a:lnTo>
                      <a:pt x="3947" y="3048"/>
                    </a:lnTo>
                    <a:lnTo>
                      <a:pt x="6620" y="3048"/>
                    </a:lnTo>
                    <a:cubicBezTo>
                      <a:pt x="8402" y="3048"/>
                      <a:pt x="9294" y="3683"/>
                      <a:pt x="9294" y="5080"/>
                    </a:cubicBezTo>
                    <a:cubicBezTo>
                      <a:pt x="9294" y="6350"/>
                      <a:pt x="8530" y="6858"/>
                      <a:pt x="7384" y="6985"/>
                    </a:cubicBezTo>
                    <a:lnTo>
                      <a:pt x="9421" y="10160"/>
                    </a:lnTo>
                    <a:lnTo>
                      <a:pt x="8148" y="10160"/>
                    </a:lnTo>
                    <a:lnTo>
                      <a:pt x="6238" y="7112"/>
                    </a:lnTo>
                    <a:lnTo>
                      <a:pt x="5092" y="7112"/>
                    </a:lnTo>
                    <a:lnTo>
                      <a:pt x="5092" y="10160"/>
                    </a:lnTo>
                    <a:close/>
                    <a:moveTo>
                      <a:pt x="6493" y="6096"/>
                    </a:moveTo>
                    <a:cubicBezTo>
                      <a:pt x="7384" y="6096"/>
                      <a:pt x="8148" y="6096"/>
                      <a:pt x="8148" y="4953"/>
                    </a:cubicBezTo>
                    <a:cubicBezTo>
                      <a:pt x="8148" y="4064"/>
                      <a:pt x="7257" y="3937"/>
                      <a:pt x="6620" y="3937"/>
                    </a:cubicBezTo>
                    <a:lnTo>
                      <a:pt x="5220" y="3937"/>
                    </a:lnTo>
                    <a:lnTo>
                      <a:pt x="5220" y="5969"/>
                    </a:lnTo>
                    <a:lnTo>
                      <a:pt x="6493" y="5969"/>
                    </a:lnTo>
                    <a:close/>
                  </a:path>
                </a:pathLst>
              </a:custGeom>
              <a:solidFill>
                <a:srgbClr val="FFFFFF"/>
              </a:solidFill>
              <a:ln w="0" cap="flat">
                <a:noFill/>
                <a:prstDash val="solid"/>
                <a:miter/>
              </a:ln>
            </p:spPr>
            <p:txBody>
              <a:bodyPr rtlCol="0" anchor="ctr"/>
              <a:lstStyle/>
              <a:p>
                <a:endParaRPr lang="en-AD" sz="2400"/>
              </a:p>
            </p:txBody>
          </p:sp>
          <p:sp>
            <p:nvSpPr>
              <p:cNvPr id="217" name="Freeform 216">
                <a:extLst>
                  <a:ext uri="{FF2B5EF4-FFF2-40B4-BE49-F238E27FC236}">
                    <a16:creationId xmlns:a16="http://schemas.microsoft.com/office/drawing/2014/main" id="{C6CAB556-168D-6546-8EF5-DB5ED6DC246E}"/>
                  </a:ext>
                </a:extLst>
              </p:cNvPr>
              <p:cNvSpPr/>
              <p:nvPr/>
            </p:nvSpPr>
            <p:spPr>
              <a:xfrm>
                <a:off x="4420623" y="4845050"/>
                <a:ext cx="9294" cy="4571"/>
              </a:xfrm>
              <a:custGeom>
                <a:avLst/>
                <a:gdLst>
                  <a:gd name="connsiteX0" fmla="*/ 1146 w 9294"/>
                  <a:gd name="connsiteY0" fmla="*/ 2794 h 4571"/>
                  <a:gd name="connsiteX1" fmla="*/ 1146 w 9294"/>
                  <a:gd name="connsiteY1" fmla="*/ 1778 h 4571"/>
                  <a:gd name="connsiteX2" fmla="*/ 1146 w 9294"/>
                  <a:gd name="connsiteY2" fmla="*/ 1143 h 4571"/>
                  <a:gd name="connsiteX3" fmla="*/ 1146 w 9294"/>
                  <a:gd name="connsiteY3" fmla="*/ 762 h 4571"/>
                  <a:gd name="connsiteX4" fmla="*/ 1146 w 9294"/>
                  <a:gd name="connsiteY4" fmla="*/ 508 h 4571"/>
                  <a:gd name="connsiteX5" fmla="*/ 891 w 9294"/>
                  <a:gd name="connsiteY5" fmla="*/ 508 h 4571"/>
                  <a:gd name="connsiteX6" fmla="*/ 509 w 9294"/>
                  <a:gd name="connsiteY6" fmla="*/ 508 h 4571"/>
                  <a:gd name="connsiteX7" fmla="*/ 0 w 9294"/>
                  <a:gd name="connsiteY7" fmla="*/ 508 h 4571"/>
                  <a:gd name="connsiteX8" fmla="*/ 0 w 9294"/>
                  <a:gd name="connsiteY8" fmla="*/ 381 h 4571"/>
                  <a:gd name="connsiteX9" fmla="*/ 0 w 9294"/>
                  <a:gd name="connsiteY9" fmla="*/ 254 h 4571"/>
                  <a:gd name="connsiteX10" fmla="*/ 0 w 9294"/>
                  <a:gd name="connsiteY10" fmla="*/ 127 h 4571"/>
                  <a:gd name="connsiteX11" fmla="*/ 0 w 9294"/>
                  <a:gd name="connsiteY11" fmla="*/ 0 h 4571"/>
                  <a:gd name="connsiteX12" fmla="*/ 255 w 9294"/>
                  <a:gd name="connsiteY12" fmla="*/ 0 h 4571"/>
                  <a:gd name="connsiteX13" fmla="*/ 637 w 9294"/>
                  <a:gd name="connsiteY13" fmla="*/ 0 h 4571"/>
                  <a:gd name="connsiteX14" fmla="*/ 1146 w 9294"/>
                  <a:gd name="connsiteY14" fmla="*/ 0 h 4571"/>
                  <a:gd name="connsiteX15" fmla="*/ 2037 w 9294"/>
                  <a:gd name="connsiteY15" fmla="*/ 0 h 4571"/>
                  <a:gd name="connsiteX16" fmla="*/ 2546 w 9294"/>
                  <a:gd name="connsiteY16" fmla="*/ 0 h 4571"/>
                  <a:gd name="connsiteX17" fmla="*/ 2928 w 9294"/>
                  <a:gd name="connsiteY17" fmla="*/ 0 h 4571"/>
                  <a:gd name="connsiteX18" fmla="*/ 3183 w 9294"/>
                  <a:gd name="connsiteY18" fmla="*/ 0 h 4571"/>
                  <a:gd name="connsiteX19" fmla="*/ 3183 w 9294"/>
                  <a:gd name="connsiteY19" fmla="*/ 127 h 4571"/>
                  <a:gd name="connsiteX20" fmla="*/ 3183 w 9294"/>
                  <a:gd name="connsiteY20" fmla="*/ 254 h 4571"/>
                  <a:gd name="connsiteX21" fmla="*/ 3183 w 9294"/>
                  <a:gd name="connsiteY21" fmla="*/ 381 h 4571"/>
                  <a:gd name="connsiteX22" fmla="*/ 3183 w 9294"/>
                  <a:gd name="connsiteY22" fmla="*/ 508 h 4571"/>
                  <a:gd name="connsiteX23" fmla="*/ 2674 w 9294"/>
                  <a:gd name="connsiteY23" fmla="*/ 508 h 4571"/>
                  <a:gd name="connsiteX24" fmla="*/ 2292 w 9294"/>
                  <a:gd name="connsiteY24" fmla="*/ 508 h 4571"/>
                  <a:gd name="connsiteX25" fmla="*/ 2037 w 9294"/>
                  <a:gd name="connsiteY25" fmla="*/ 508 h 4571"/>
                  <a:gd name="connsiteX26" fmla="*/ 2037 w 9294"/>
                  <a:gd name="connsiteY26" fmla="*/ 762 h 4571"/>
                  <a:gd name="connsiteX27" fmla="*/ 2037 w 9294"/>
                  <a:gd name="connsiteY27" fmla="*/ 1143 h 4571"/>
                  <a:gd name="connsiteX28" fmla="*/ 2037 w 9294"/>
                  <a:gd name="connsiteY28" fmla="*/ 1778 h 4571"/>
                  <a:gd name="connsiteX29" fmla="*/ 2037 w 9294"/>
                  <a:gd name="connsiteY29" fmla="*/ 2794 h 4571"/>
                  <a:gd name="connsiteX30" fmla="*/ 2037 w 9294"/>
                  <a:gd name="connsiteY30" fmla="*/ 3683 h 4571"/>
                  <a:gd name="connsiteX31" fmla="*/ 2037 w 9294"/>
                  <a:gd name="connsiteY31" fmla="*/ 4318 h 4571"/>
                  <a:gd name="connsiteX32" fmla="*/ 1783 w 9294"/>
                  <a:gd name="connsiteY32" fmla="*/ 4318 h 4571"/>
                  <a:gd name="connsiteX33" fmla="*/ 1528 w 9294"/>
                  <a:gd name="connsiteY33" fmla="*/ 4318 h 4571"/>
                  <a:gd name="connsiteX34" fmla="*/ 1273 w 9294"/>
                  <a:gd name="connsiteY34" fmla="*/ 4318 h 4571"/>
                  <a:gd name="connsiteX35" fmla="*/ 1019 w 9294"/>
                  <a:gd name="connsiteY35" fmla="*/ 4318 h 4571"/>
                  <a:gd name="connsiteX36" fmla="*/ 1019 w 9294"/>
                  <a:gd name="connsiteY36" fmla="*/ 3683 h 4571"/>
                  <a:gd name="connsiteX37" fmla="*/ 1019 w 9294"/>
                  <a:gd name="connsiteY37" fmla="*/ 2794 h 4571"/>
                  <a:gd name="connsiteX38" fmla="*/ 5857 w 9294"/>
                  <a:gd name="connsiteY38" fmla="*/ 4318 h 4571"/>
                  <a:gd name="connsiteX39" fmla="*/ 5475 w 9294"/>
                  <a:gd name="connsiteY39" fmla="*/ 3683 h 4571"/>
                  <a:gd name="connsiteX40" fmla="*/ 5093 w 9294"/>
                  <a:gd name="connsiteY40" fmla="*/ 2921 h 4571"/>
                  <a:gd name="connsiteX41" fmla="*/ 4711 w 9294"/>
                  <a:gd name="connsiteY41" fmla="*/ 2159 h 4571"/>
                  <a:gd name="connsiteX42" fmla="*/ 4456 w 9294"/>
                  <a:gd name="connsiteY42" fmla="*/ 1524 h 4571"/>
                  <a:gd name="connsiteX43" fmla="*/ 4456 w 9294"/>
                  <a:gd name="connsiteY43" fmla="*/ 1524 h 4571"/>
                  <a:gd name="connsiteX44" fmla="*/ 4456 w 9294"/>
                  <a:gd name="connsiteY44" fmla="*/ 2286 h 4571"/>
                  <a:gd name="connsiteX45" fmla="*/ 4456 w 9294"/>
                  <a:gd name="connsiteY45" fmla="*/ 3048 h 4571"/>
                  <a:gd name="connsiteX46" fmla="*/ 4456 w 9294"/>
                  <a:gd name="connsiteY46" fmla="*/ 3810 h 4571"/>
                  <a:gd name="connsiteX47" fmla="*/ 4456 w 9294"/>
                  <a:gd name="connsiteY47" fmla="*/ 4445 h 4571"/>
                  <a:gd name="connsiteX48" fmla="*/ 4329 w 9294"/>
                  <a:gd name="connsiteY48" fmla="*/ 4445 h 4571"/>
                  <a:gd name="connsiteX49" fmla="*/ 4202 w 9294"/>
                  <a:gd name="connsiteY49" fmla="*/ 4445 h 4571"/>
                  <a:gd name="connsiteX50" fmla="*/ 4202 w 9294"/>
                  <a:gd name="connsiteY50" fmla="*/ 4445 h 4571"/>
                  <a:gd name="connsiteX51" fmla="*/ 4202 w 9294"/>
                  <a:gd name="connsiteY51" fmla="*/ 4445 h 4571"/>
                  <a:gd name="connsiteX52" fmla="*/ 4584 w 9294"/>
                  <a:gd name="connsiteY52" fmla="*/ 2286 h 4571"/>
                  <a:gd name="connsiteX53" fmla="*/ 4838 w 9294"/>
                  <a:gd name="connsiteY53" fmla="*/ 127 h 4571"/>
                  <a:gd name="connsiteX54" fmla="*/ 5093 w 9294"/>
                  <a:gd name="connsiteY54" fmla="*/ 127 h 4571"/>
                  <a:gd name="connsiteX55" fmla="*/ 5347 w 9294"/>
                  <a:gd name="connsiteY55" fmla="*/ 127 h 4571"/>
                  <a:gd name="connsiteX56" fmla="*/ 5729 w 9294"/>
                  <a:gd name="connsiteY56" fmla="*/ 889 h 4571"/>
                  <a:gd name="connsiteX57" fmla="*/ 6111 w 9294"/>
                  <a:gd name="connsiteY57" fmla="*/ 1778 h 4571"/>
                  <a:gd name="connsiteX58" fmla="*/ 6493 w 9294"/>
                  <a:gd name="connsiteY58" fmla="*/ 2540 h 4571"/>
                  <a:gd name="connsiteX59" fmla="*/ 6748 w 9294"/>
                  <a:gd name="connsiteY59" fmla="*/ 3175 h 4571"/>
                  <a:gd name="connsiteX60" fmla="*/ 7512 w 9294"/>
                  <a:gd name="connsiteY60" fmla="*/ 1651 h 4571"/>
                  <a:gd name="connsiteX61" fmla="*/ 8276 w 9294"/>
                  <a:gd name="connsiteY61" fmla="*/ 127 h 4571"/>
                  <a:gd name="connsiteX62" fmla="*/ 8530 w 9294"/>
                  <a:gd name="connsiteY62" fmla="*/ 127 h 4571"/>
                  <a:gd name="connsiteX63" fmla="*/ 8785 w 9294"/>
                  <a:gd name="connsiteY63" fmla="*/ 127 h 4571"/>
                  <a:gd name="connsiteX64" fmla="*/ 9040 w 9294"/>
                  <a:gd name="connsiteY64" fmla="*/ 2286 h 4571"/>
                  <a:gd name="connsiteX65" fmla="*/ 9294 w 9294"/>
                  <a:gd name="connsiteY65" fmla="*/ 4445 h 4571"/>
                  <a:gd name="connsiteX66" fmla="*/ 9040 w 9294"/>
                  <a:gd name="connsiteY66" fmla="*/ 4445 h 4571"/>
                  <a:gd name="connsiteX67" fmla="*/ 8785 w 9294"/>
                  <a:gd name="connsiteY67" fmla="*/ 4445 h 4571"/>
                  <a:gd name="connsiteX68" fmla="*/ 8530 w 9294"/>
                  <a:gd name="connsiteY68" fmla="*/ 4445 h 4571"/>
                  <a:gd name="connsiteX69" fmla="*/ 8276 w 9294"/>
                  <a:gd name="connsiteY69" fmla="*/ 4445 h 4571"/>
                  <a:gd name="connsiteX70" fmla="*/ 8276 w 9294"/>
                  <a:gd name="connsiteY70" fmla="*/ 3048 h 4571"/>
                  <a:gd name="connsiteX71" fmla="*/ 8148 w 9294"/>
                  <a:gd name="connsiteY71" fmla="*/ 1651 h 4571"/>
                  <a:gd name="connsiteX72" fmla="*/ 8148 w 9294"/>
                  <a:gd name="connsiteY72" fmla="*/ 1651 h 4571"/>
                  <a:gd name="connsiteX73" fmla="*/ 7766 w 9294"/>
                  <a:gd name="connsiteY73" fmla="*/ 2413 h 4571"/>
                  <a:gd name="connsiteX74" fmla="*/ 7384 w 9294"/>
                  <a:gd name="connsiteY74" fmla="*/ 3302 h 4571"/>
                  <a:gd name="connsiteX75" fmla="*/ 7003 w 9294"/>
                  <a:gd name="connsiteY75" fmla="*/ 4064 h 4571"/>
                  <a:gd name="connsiteX76" fmla="*/ 6748 w 9294"/>
                  <a:gd name="connsiteY76" fmla="*/ 4572 h 4571"/>
                  <a:gd name="connsiteX77" fmla="*/ 6493 w 9294"/>
                  <a:gd name="connsiteY77" fmla="*/ 4572 h 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9294" h="4571">
                    <a:moveTo>
                      <a:pt x="1146" y="2794"/>
                    </a:moveTo>
                    <a:cubicBezTo>
                      <a:pt x="1146" y="2794"/>
                      <a:pt x="1146" y="2032"/>
                      <a:pt x="1146" y="1778"/>
                    </a:cubicBezTo>
                    <a:cubicBezTo>
                      <a:pt x="1146" y="1524"/>
                      <a:pt x="1146" y="1270"/>
                      <a:pt x="1146" y="1143"/>
                    </a:cubicBezTo>
                    <a:cubicBezTo>
                      <a:pt x="1146" y="1016"/>
                      <a:pt x="1146" y="762"/>
                      <a:pt x="1146" y="762"/>
                    </a:cubicBezTo>
                    <a:cubicBezTo>
                      <a:pt x="1146" y="762"/>
                      <a:pt x="1146" y="635"/>
                      <a:pt x="1146" y="508"/>
                    </a:cubicBezTo>
                    <a:lnTo>
                      <a:pt x="891" y="508"/>
                    </a:lnTo>
                    <a:cubicBezTo>
                      <a:pt x="891" y="508"/>
                      <a:pt x="637" y="508"/>
                      <a:pt x="509" y="508"/>
                    </a:cubicBezTo>
                    <a:cubicBezTo>
                      <a:pt x="382" y="508"/>
                      <a:pt x="255" y="508"/>
                      <a:pt x="0" y="508"/>
                    </a:cubicBezTo>
                    <a:cubicBezTo>
                      <a:pt x="0" y="508"/>
                      <a:pt x="0" y="508"/>
                      <a:pt x="0" y="381"/>
                    </a:cubicBezTo>
                    <a:cubicBezTo>
                      <a:pt x="0" y="381"/>
                      <a:pt x="0" y="381"/>
                      <a:pt x="0" y="254"/>
                    </a:cubicBezTo>
                    <a:cubicBezTo>
                      <a:pt x="0" y="254"/>
                      <a:pt x="0" y="254"/>
                      <a:pt x="0" y="127"/>
                    </a:cubicBezTo>
                    <a:cubicBezTo>
                      <a:pt x="0" y="127"/>
                      <a:pt x="0" y="127"/>
                      <a:pt x="0" y="0"/>
                    </a:cubicBezTo>
                    <a:cubicBezTo>
                      <a:pt x="0" y="0"/>
                      <a:pt x="127" y="0"/>
                      <a:pt x="255" y="0"/>
                    </a:cubicBezTo>
                    <a:cubicBezTo>
                      <a:pt x="382" y="0"/>
                      <a:pt x="509" y="0"/>
                      <a:pt x="637" y="0"/>
                    </a:cubicBezTo>
                    <a:cubicBezTo>
                      <a:pt x="764" y="0"/>
                      <a:pt x="891" y="0"/>
                      <a:pt x="1146" y="0"/>
                    </a:cubicBezTo>
                    <a:lnTo>
                      <a:pt x="2037" y="0"/>
                    </a:lnTo>
                    <a:cubicBezTo>
                      <a:pt x="2037" y="0"/>
                      <a:pt x="2419" y="0"/>
                      <a:pt x="2546" y="0"/>
                    </a:cubicBezTo>
                    <a:cubicBezTo>
                      <a:pt x="2674" y="0"/>
                      <a:pt x="2801" y="0"/>
                      <a:pt x="2928" y="0"/>
                    </a:cubicBezTo>
                    <a:cubicBezTo>
                      <a:pt x="3056" y="0"/>
                      <a:pt x="3183" y="0"/>
                      <a:pt x="3183" y="0"/>
                    </a:cubicBezTo>
                    <a:cubicBezTo>
                      <a:pt x="3183" y="0"/>
                      <a:pt x="3183" y="0"/>
                      <a:pt x="3183" y="127"/>
                    </a:cubicBezTo>
                    <a:cubicBezTo>
                      <a:pt x="3183" y="127"/>
                      <a:pt x="3183" y="127"/>
                      <a:pt x="3183" y="254"/>
                    </a:cubicBezTo>
                    <a:cubicBezTo>
                      <a:pt x="3183" y="254"/>
                      <a:pt x="3183" y="254"/>
                      <a:pt x="3183" y="381"/>
                    </a:cubicBezTo>
                    <a:cubicBezTo>
                      <a:pt x="3183" y="381"/>
                      <a:pt x="3183" y="381"/>
                      <a:pt x="3183" y="508"/>
                    </a:cubicBezTo>
                    <a:cubicBezTo>
                      <a:pt x="2928" y="508"/>
                      <a:pt x="2801" y="508"/>
                      <a:pt x="2674" y="508"/>
                    </a:cubicBezTo>
                    <a:cubicBezTo>
                      <a:pt x="2546" y="508"/>
                      <a:pt x="2419" y="508"/>
                      <a:pt x="2292" y="508"/>
                    </a:cubicBezTo>
                    <a:lnTo>
                      <a:pt x="2037" y="508"/>
                    </a:lnTo>
                    <a:cubicBezTo>
                      <a:pt x="2037" y="508"/>
                      <a:pt x="2037" y="635"/>
                      <a:pt x="2037" y="762"/>
                    </a:cubicBezTo>
                    <a:cubicBezTo>
                      <a:pt x="2037" y="762"/>
                      <a:pt x="2037" y="1016"/>
                      <a:pt x="2037" y="1143"/>
                    </a:cubicBezTo>
                    <a:cubicBezTo>
                      <a:pt x="2037" y="1270"/>
                      <a:pt x="2037" y="1524"/>
                      <a:pt x="2037" y="1778"/>
                    </a:cubicBezTo>
                    <a:cubicBezTo>
                      <a:pt x="2037" y="2032"/>
                      <a:pt x="2037" y="2413"/>
                      <a:pt x="2037" y="2794"/>
                    </a:cubicBezTo>
                    <a:cubicBezTo>
                      <a:pt x="2037" y="3048"/>
                      <a:pt x="2037" y="3429"/>
                      <a:pt x="2037" y="3683"/>
                    </a:cubicBezTo>
                    <a:cubicBezTo>
                      <a:pt x="2037" y="3937"/>
                      <a:pt x="2037" y="4191"/>
                      <a:pt x="2037" y="4318"/>
                    </a:cubicBezTo>
                    <a:cubicBezTo>
                      <a:pt x="2037" y="4318"/>
                      <a:pt x="1910" y="4318"/>
                      <a:pt x="1783" y="4318"/>
                    </a:cubicBezTo>
                    <a:cubicBezTo>
                      <a:pt x="1783" y="4318"/>
                      <a:pt x="1655" y="4318"/>
                      <a:pt x="1528" y="4318"/>
                    </a:cubicBezTo>
                    <a:cubicBezTo>
                      <a:pt x="1401" y="4318"/>
                      <a:pt x="1401" y="4318"/>
                      <a:pt x="1273" y="4318"/>
                    </a:cubicBezTo>
                    <a:cubicBezTo>
                      <a:pt x="1273" y="4318"/>
                      <a:pt x="1146" y="4318"/>
                      <a:pt x="1019" y="4318"/>
                    </a:cubicBezTo>
                    <a:cubicBezTo>
                      <a:pt x="1019" y="4191"/>
                      <a:pt x="1019" y="3937"/>
                      <a:pt x="1019" y="3683"/>
                    </a:cubicBezTo>
                    <a:cubicBezTo>
                      <a:pt x="1019" y="3429"/>
                      <a:pt x="1019" y="3175"/>
                      <a:pt x="1019" y="2794"/>
                    </a:cubicBezTo>
                    <a:close/>
                    <a:moveTo>
                      <a:pt x="5857" y="4318"/>
                    </a:moveTo>
                    <a:cubicBezTo>
                      <a:pt x="5857" y="4318"/>
                      <a:pt x="5729" y="3937"/>
                      <a:pt x="5475" y="3683"/>
                    </a:cubicBezTo>
                    <a:cubicBezTo>
                      <a:pt x="5475" y="3429"/>
                      <a:pt x="5220" y="3175"/>
                      <a:pt x="5093" y="2921"/>
                    </a:cubicBezTo>
                    <a:cubicBezTo>
                      <a:pt x="4965" y="2667"/>
                      <a:pt x="4838" y="2413"/>
                      <a:pt x="4711" y="2159"/>
                    </a:cubicBezTo>
                    <a:cubicBezTo>
                      <a:pt x="4711" y="1905"/>
                      <a:pt x="4456" y="1778"/>
                      <a:pt x="4456" y="1524"/>
                    </a:cubicBezTo>
                    <a:lnTo>
                      <a:pt x="4456" y="1524"/>
                    </a:lnTo>
                    <a:cubicBezTo>
                      <a:pt x="4456" y="1524"/>
                      <a:pt x="4456" y="2032"/>
                      <a:pt x="4456" y="2286"/>
                    </a:cubicBezTo>
                    <a:cubicBezTo>
                      <a:pt x="4456" y="2540"/>
                      <a:pt x="4456" y="2794"/>
                      <a:pt x="4456" y="3048"/>
                    </a:cubicBezTo>
                    <a:cubicBezTo>
                      <a:pt x="4456" y="3302"/>
                      <a:pt x="4456" y="3556"/>
                      <a:pt x="4456" y="3810"/>
                    </a:cubicBezTo>
                    <a:cubicBezTo>
                      <a:pt x="4456" y="4064"/>
                      <a:pt x="4456" y="4191"/>
                      <a:pt x="4456" y="4445"/>
                    </a:cubicBezTo>
                    <a:cubicBezTo>
                      <a:pt x="4456" y="4445"/>
                      <a:pt x="4456" y="4445"/>
                      <a:pt x="4329" y="4445"/>
                    </a:cubicBezTo>
                    <a:cubicBezTo>
                      <a:pt x="4329" y="4445"/>
                      <a:pt x="4329" y="4445"/>
                      <a:pt x="4202" y="4445"/>
                    </a:cubicBezTo>
                    <a:cubicBezTo>
                      <a:pt x="4202" y="4445"/>
                      <a:pt x="4202" y="4445"/>
                      <a:pt x="4202" y="4445"/>
                    </a:cubicBezTo>
                    <a:cubicBezTo>
                      <a:pt x="4202" y="4445"/>
                      <a:pt x="4202" y="4445"/>
                      <a:pt x="4202" y="4445"/>
                    </a:cubicBezTo>
                    <a:cubicBezTo>
                      <a:pt x="4329" y="3683"/>
                      <a:pt x="4456" y="3048"/>
                      <a:pt x="4584" y="2286"/>
                    </a:cubicBezTo>
                    <a:cubicBezTo>
                      <a:pt x="4584" y="1524"/>
                      <a:pt x="4838" y="889"/>
                      <a:pt x="4838" y="127"/>
                    </a:cubicBezTo>
                    <a:cubicBezTo>
                      <a:pt x="4838" y="127"/>
                      <a:pt x="4965" y="127"/>
                      <a:pt x="5093" y="127"/>
                    </a:cubicBezTo>
                    <a:cubicBezTo>
                      <a:pt x="5093" y="127"/>
                      <a:pt x="5347" y="127"/>
                      <a:pt x="5347" y="127"/>
                    </a:cubicBezTo>
                    <a:cubicBezTo>
                      <a:pt x="5347" y="381"/>
                      <a:pt x="5602" y="635"/>
                      <a:pt x="5729" y="889"/>
                    </a:cubicBezTo>
                    <a:cubicBezTo>
                      <a:pt x="5857" y="1143"/>
                      <a:pt x="5984" y="1524"/>
                      <a:pt x="6111" y="1778"/>
                    </a:cubicBezTo>
                    <a:cubicBezTo>
                      <a:pt x="6239" y="2032"/>
                      <a:pt x="6366" y="2286"/>
                      <a:pt x="6493" y="2540"/>
                    </a:cubicBezTo>
                    <a:cubicBezTo>
                      <a:pt x="6493" y="2794"/>
                      <a:pt x="6748" y="2921"/>
                      <a:pt x="6748" y="3175"/>
                    </a:cubicBezTo>
                    <a:cubicBezTo>
                      <a:pt x="7003" y="2667"/>
                      <a:pt x="7257" y="2159"/>
                      <a:pt x="7512" y="1651"/>
                    </a:cubicBezTo>
                    <a:cubicBezTo>
                      <a:pt x="7766" y="1143"/>
                      <a:pt x="8021" y="635"/>
                      <a:pt x="8276" y="127"/>
                    </a:cubicBezTo>
                    <a:cubicBezTo>
                      <a:pt x="8276" y="127"/>
                      <a:pt x="8403" y="127"/>
                      <a:pt x="8530" y="127"/>
                    </a:cubicBezTo>
                    <a:cubicBezTo>
                      <a:pt x="8658" y="127"/>
                      <a:pt x="8658" y="127"/>
                      <a:pt x="8785" y="127"/>
                    </a:cubicBezTo>
                    <a:cubicBezTo>
                      <a:pt x="8785" y="889"/>
                      <a:pt x="8912" y="1651"/>
                      <a:pt x="9040" y="2286"/>
                    </a:cubicBezTo>
                    <a:cubicBezTo>
                      <a:pt x="9040" y="3048"/>
                      <a:pt x="9167" y="3683"/>
                      <a:pt x="9294" y="4445"/>
                    </a:cubicBezTo>
                    <a:cubicBezTo>
                      <a:pt x="9294" y="4445"/>
                      <a:pt x="9040" y="4445"/>
                      <a:pt x="9040" y="4445"/>
                    </a:cubicBezTo>
                    <a:cubicBezTo>
                      <a:pt x="9040" y="4445"/>
                      <a:pt x="8912" y="4445"/>
                      <a:pt x="8785" y="4445"/>
                    </a:cubicBezTo>
                    <a:cubicBezTo>
                      <a:pt x="8785" y="4445"/>
                      <a:pt x="8658" y="4445"/>
                      <a:pt x="8530" y="4445"/>
                    </a:cubicBezTo>
                    <a:cubicBezTo>
                      <a:pt x="8530" y="4445"/>
                      <a:pt x="8403" y="4445"/>
                      <a:pt x="8276" y="4445"/>
                    </a:cubicBezTo>
                    <a:cubicBezTo>
                      <a:pt x="8276" y="3937"/>
                      <a:pt x="8276" y="3429"/>
                      <a:pt x="8276" y="3048"/>
                    </a:cubicBezTo>
                    <a:cubicBezTo>
                      <a:pt x="8276" y="2540"/>
                      <a:pt x="8276" y="2032"/>
                      <a:pt x="8148" y="1651"/>
                    </a:cubicBezTo>
                    <a:lnTo>
                      <a:pt x="8148" y="1651"/>
                    </a:lnTo>
                    <a:cubicBezTo>
                      <a:pt x="8148" y="1651"/>
                      <a:pt x="7894" y="2159"/>
                      <a:pt x="7766" y="2413"/>
                    </a:cubicBezTo>
                    <a:cubicBezTo>
                      <a:pt x="7639" y="2667"/>
                      <a:pt x="7512" y="3048"/>
                      <a:pt x="7384" y="3302"/>
                    </a:cubicBezTo>
                    <a:cubicBezTo>
                      <a:pt x="7257" y="3556"/>
                      <a:pt x="7130" y="3810"/>
                      <a:pt x="7003" y="4064"/>
                    </a:cubicBezTo>
                    <a:cubicBezTo>
                      <a:pt x="7003" y="4318"/>
                      <a:pt x="6875" y="4445"/>
                      <a:pt x="6748" y="4572"/>
                    </a:cubicBezTo>
                    <a:lnTo>
                      <a:pt x="6493" y="4572"/>
                    </a:lnTo>
                    <a:close/>
                  </a:path>
                </a:pathLst>
              </a:custGeom>
              <a:solidFill>
                <a:srgbClr val="FFFFFF"/>
              </a:solidFill>
              <a:ln w="0" cap="flat">
                <a:noFill/>
                <a:prstDash val="solid"/>
                <a:miter/>
              </a:ln>
            </p:spPr>
            <p:txBody>
              <a:bodyPr rtlCol="0" anchor="ctr"/>
              <a:lstStyle/>
              <a:p>
                <a:endParaRPr lang="en-AD" sz="2400"/>
              </a:p>
            </p:txBody>
          </p:sp>
          <p:sp>
            <p:nvSpPr>
              <p:cNvPr id="218" name="Freeform 217">
                <a:extLst>
                  <a:ext uri="{FF2B5EF4-FFF2-40B4-BE49-F238E27FC236}">
                    <a16:creationId xmlns:a16="http://schemas.microsoft.com/office/drawing/2014/main" id="{D38B2657-ED62-0B20-234A-AD47EF7EA24C}"/>
                  </a:ext>
                </a:extLst>
              </p:cNvPr>
              <p:cNvSpPr/>
              <p:nvPr/>
            </p:nvSpPr>
            <p:spPr>
              <a:xfrm>
                <a:off x="3992847" y="4820158"/>
                <a:ext cx="452220" cy="13970"/>
              </a:xfrm>
              <a:custGeom>
                <a:avLst/>
                <a:gdLst>
                  <a:gd name="connsiteX0" fmla="*/ 452220 w 452220"/>
                  <a:gd name="connsiteY0" fmla="*/ 0 h 13970"/>
                  <a:gd name="connsiteX1" fmla="*/ 25335 w 452220"/>
                  <a:gd name="connsiteY1" fmla="*/ 0 h 13970"/>
                  <a:gd name="connsiteX2" fmla="*/ 0 w 452220"/>
                  <a:gd name="connsiteY2" fmla="*/ 13970 h 13970"/>
                  <a:gd name="connsiteX3" fmla="*/ 426758 w 452220"/>
                  <a:gd name="connsiteY3" fmla="*/ 13970 h 13970"/>
                  <a:gd name="connsiteX4" fmla="*/ 452220 w 452220"/>
                  <a:gd name="connsiteY4" fmla="*/ 0 h 13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220" h="13970">
                    <a:moveTo>
                      <a:pt x="452220" y="0"/>
                    </a:moveTo>
                    <a:lnTo>
                      <a:pt x="25335" y="0"/>
                    </a:lnTo>
                    <a:lnTo>
                      <a:pt x="0" y="13970"/>
                    </a:lnTo>
                    <a:lnTo>
                      <a:pt x="426758" y="13970"/>
                    </a:lnTo>
                    <a:lnTo>
                      <a:pt x="452220" y="0"/>
                    </a:lnTo>
                    <a:close/>
                  </a:path>
                </a:pathLst>
              </a:custGeom>
              <a:solidFill>
                <a:srgbClr val="FFFFFF"/>
              </a:solidFill>
              <a:ln w="0" cap="flat">
                <a:noFill/>
                <a:prstDash val="solid"/>
                <a:miter/>
              </a:ln>
            </p:spPr>
            <p:txBody>
              <a:bodyPr rtlCol="0" anchor="ctr"/>
              <a:lstStyle/>
              <a:p>
                <a:endParaRPr lang="en-AD" sz="2400"/>
              </a:p>
            </p:txBody>
          </p:sp>
          <p:sp>
            <p:nvSpPr>
              <p:cNvPr id="219" name="Freeform 218">
                <a:extLst>
                  <a:ext uri="{FF2B5EF4-FFF2-40B4-BE49-F238E27FC236}">
                    <a16:creationId xmlns:a16="http://schemas.microsoft.com/office/drawing/2014/main" id="{D3DA3A6C-120F-7AB5-01E0-56FB1984661C}"/>
                  </a:ext>
                </a:extLst>
              </p:cNvPr>
              <p:cNvSpPr/>
              <p:nvPr/>
            </p:nvSpPr>
            <p:spPr>
              <a:xfrm>
                <a:off x="3964328" y="4799076"/>
                <a:ext cx="25972" cy="37210"/>
              </a:xfrm>
              <a:custGeom>
                <a:avLst/>
                <a:gdLst>
                  <a:gd name="connsiteX0" fmla="*/ 25972 w 25972"/>
                  <a:gd name="connsiteY0" fmla="*/ 0 h 37210"/>
                  <a:gd name="connsiteX1" fmla="*/ 127 w 25972"/>
                  <a:gd name="connsiteY1" fmla="*/ 13462 h 37210"/>
                  <a:gd name="connsiteX2" fmla="*/ 0 w 25972"/>
                  <a:gd name="connsiteY2" fmla="*/ 37211 h 37210"/>
                  <a:gd name="connsiteX3" fmla="*/ 25590 w 25972"/>
                  <a:gd name="connsiteY3" fmla="*/ 22987 h 37210"/>
                  <a:gd name="connsiteX4" fmla="*/ 25972 w 25972"/>
                  <a:gd name="connsiteY4" fmla="*/ 0 h 3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2" h="37210">
                    <a:moveTo>
                      <a:pt x="25972" y="0"/>
                    </a:moveTo>
                    <a:lnTo>
                      <a:pt x="127" y="13462"/>
                    </a:lnTo>
                    <a:lnTo>
                      <a:pt x="0" y="37211"/>
                    </a:lnTo>
                    <a:lnTo>
                      <a:pt x="25590" y="22987"/>
                    </a:lnTo>
                    <a:lnTo>
                      <a:pt x="25972" y="0"/>
                    </a:lnTo>
                    <a:close/>
                  </a:path>
                </a:pathLst>
              </a:custGeom>
              <a:solidFill>
                <a:srgbClr val="FFFFFF"/>
              </a:solidFill>
              <a:ln w="0" cap="flat">
                <a:noFill/>
                <a:prstDash val="solid"/>
                <a:miter/>
              </a:ln>
            </p:spPr>
            <p:txBody>
              <a:bodyPr rtlCol="0" anchor="ctr"/>
              <a:lstStyle/>
              <a:p>
                <a:endParaRPr lang="en-AD" sz="2400"/>
              </a:p>
            </p:txBody>
          </p:sp>
          <p:sp>
            <p:nvSpPr>
              <p:cNvPr id="220" name="Freeform 219">
                <a:extLst>
                  <a:ext uri="{FF2B5EF4-FFF2-40B4-BE49-F238E27FC236}">
                    <a16:creationId xmlns:a16="http://schemas.microsoft.com/office/drawing/2014/main" id="{8C9AEF1E-2BD2-7418-7978-2337BD321A63}"/>
                  </a:ext>
                </a:extLst>
              </p:cNvPr>
              <p:cNvSpPr/>
              <p:nvPr/>
            </p:nvSpPr>
            <p:spPr>
              <a:xfrm>
                <a:off x="3941284" y="4792090"/>
                <a:ext cx="20497" cy="43053"/>
              </a:xfrm>
              <a:custGeom>
                <a:avLst/>
                <a:gdLst>
                  <a:gd name="connsiteX0" fmla="*/ 20498 w 20497"/>
                  <a:gd name="connsiteY0" fmla="*/ 19939 h 43053"/>
                  <a:gd name="connsiteX1" fmla="*/ 382 w 20497"/>
                  <a:gd name="connsiteY1" fmla="*/ 0 h 43053"/>
                  <a:gd name="connsiteX2" fmla="*/ 0 w 20497"/>
                  <a:gd name="connsiteY2" fmla="*/ 19939 h 43053"/>
                  <a:gd name="connsiteX3" fmla="*/ 20370 w 20497"/>
                  <a:gd name="connsiteY3" fmla="*/ 43053 h 43053"/>
                  <a:gd name="connsiteX4" fmla="*/ 20498 w 20497"/>
                  <a:gd name="connsiteY4" fmla="*/ 19939 h 4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97" h="43053">
                    <a:moveTo>
                      <a:pt x="20498" y="19939"/>
                    </a:moveTo>
                    <a:lnTo>
                      <a:pt x="382" y="0"/>
                    </a:lnTo>
                    <a:lnTo>
                      <a:pt x="0" y="19939"/>
                    </a:lnTo>
                    <a:lnTo>
                      <a:pt x="20370" y="43053"/>
                    </a:lnTo>
                    <a:lnTo>
                      <a:pt x="20498" y="19939"/>
                    </a:lnTo>
                    <a:close/>
                  </a:path>
                </a:pathLst>
              </a:custGeom>
              <a:solidFill>
                <a:srgbClr val="FFFFFF"/>
              </a:solidFill>
              <a:ln w="0" cap="flat">
                <a:noFill/>
                <a:prstDash val="solid"/>
                <a:miter/>
              </a:ln>
            </p:spPr>
            <p:txBody>
              <a:bodyPr rtlCol="0" anchor="ctr"/>
              <a:lstStyle/>
              <a:p>
                <a:endParaRPr lang="en-AD" sz="2400"/>
              </a:p>
            </p:txBody>
          </p:sp>
          <p:sp>
            <p:nvSpPr>
              <p:cNvPr id="221" name="Freeform 220">
                <a:extLst>
                  <a:ext uri="{FF2B5EF4-FFF2-40B4-BE49-F238E27FC236}">
                    <a16:creationId xmlns:a16="http://schemas.microsoft.com/office/drawing/2014/main" id="{C9A8AC23-B2F0-A35B-E6B9-7E58762A8182}"/>
                  </a:ext>
                </a:extLst>
              </p:cNvPr>
              <p:cNvSpPr/>
              <p:nvPr/>
            </p:nvSpPr>
            <p:spPr>
              <a:xfrm>
                <a:off x="3921805" y="4734940"/>
                <a:ext cx="43796" cy="26924"/>
              </a:xfrm>
              <a:custGeom>
                <a:avLst/>
                <a:gdLst>
                  <a:gd name="connsiteX0" fmla="*/ 0 w 43796"/>
                  <a:gd name="connsiteY0" fmla="*/ 9906 h 26924"/>
                  <a:gd name="connsiteX1" fmla="*/ 18588 w 43796"/>
                  <a:gd name="connsiteY1" fmla="*/ 26924 h 26924"/>
                  <a:gd name="connsiteX2" fmla="*/ 43796 w 43796"/>
                  <a:gd name="connsiteY2" fmla="*/ 15621 h 26924"/>
                  <a:gd name="connsiteX3" fmla="*/ 24699 w 43796"/>
                  <a:gd name="connsiteY3" fmla="*/ 0 h 26924"/>
                  <a:gd name="connsiteX4" fmla="*/ 0 w 43796"/>
                  <a:gd name="connsiteY4" fmla="*/ 9906 h 26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6" h="26924">
                    <a:moveTo>
                      <a:pt x="0" y="9906"/>
                    </a:moveTo>
                    <a:lnTo>
                      <a:pt x="18588" y="26924"/>
                    </a:lnTo>
                    <a:lnTo>
                      <a:pt x="43796" y="15621"/>
                    </a:lnTo>
                    <a:lnTo>
                      <a:pt x="24699" y="0"/>
                    </a:lnTo>
                    <a:lnTo>
                      <a:pt x="0" y="9906"/>
                    </a:lnTo>
                    <a:close/>
                  </a:path>
                </a:pathLst>
              </a:custGeom>
              <a:solidFill>
                <a:srgbClr val="FFFFFF"/>
              </a:solidFill>
              <a:ln w="0" cap="flat">
                <a:noFill/>
                <a:prstDash val="solid"/>
                <a:miter/>
              </a:ln>
            </p:spPr>
            <p:txBody>
              <a:bodyPr rtlCol="0" anchor="ctr"/>
              <a:lstStyle/>
              <a:p>
                <a:endParaRPr lang="en-AD" sz="2400"/>
              </a:p>
            </p:txBody>
          </p:sp>
          <p:sp>
            <p:nvSpPr>
              <p:cNvPr id="222" name="Freeform 221">
                <a:extLst>
                  <a:ext uri="{FF2B5EF4-FFF2-40B4-BE49-F238E27FC236}">
                    <a16:creationId xmlns:a16="http://schemas.microsoft.com/office/drawing/2014/main" id="{A3773132-99DF-5F23-AF91-BA59FBD8E109}"/>
                  </a:ext>
                </a:extLst>
              </p:cNvPr>
              <p:cNvSpPr/>
              <p:nvPr/>
            </p:nvSpPr>
            <p:spPr>
              <a:xfrm>
                <a:off x="3920405" y="4747386"/>
                <a:ext cx="18969" cy="38353"/>
              </a:xfrm>
              <a:custGeom>
                <a:avLst/>
                <a:gdLst>
                  <a:gd name="connsiteX0" fmla="*/ 0 w 18969"/>
                  <a:gd name="connsiteY0" fmla="*/ 19939 h 38353"/>
                  <a:gd name="connsiteX1" fmla="*/ 18588 w 18969"/>
                  <a:gd name="connsiteY1" fmla="*/ 38354 h 38353"/>
                  <a:gd name="connsiteX2" fmla="*/ 18970 w 18969"/>
                  <a:gd name="connsiteY2" fmla="*/ 17272 h 38353"/>
                  <a:gd name="connsiteX3" fmla="*/ 0 w 18969"/>
                  <a:gd name="connsiteY3" fmla="*/ 0 h 38353"/>
                  <a:gd name="connsiteX4" fmla="*/ 0 w 18969"/>
                  <a:gd name="connsiteY4" fmla="*/ 19939 h 38353"/>
                  <a:gd name="connsiteX5" fmla="*/ 0 w 18969"/>
                  <a:gd name="connsiteY5" fmla="*/ 19939 h 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69" h="38353">
                    <a:moveTo>
                      <a:pt x="0" y="19939"/>
                    </a:moveTo>
                    <a:lnTo>
                      <a:pt x="18588" y="38354"/>
                    </a:lnTo>
                    <a:lnTo>
                      <a:pt x="18970" y="17272"/>
                    </a:lnTo>
                    <a:lnTo>
                      <a:pt x="0" y="0"/>
                    </a:lnTo>
                    <a:lnTo>
                      <a:pt x="0" y="19939"/>
                    </a:lnTo>
                    <a:lnTo>
                      <a:pt x="0" y="19939"/>
                    </a:lnTo>
                    <a:close/>
                  </a:path>
                </a:pathLst>
              </a:custGeom>
              <a:solidFill>
                <a:srgbClr val="FFFFFF"/>
              </a:solidFill>
              <a:ln w="0" cap="flat">
                <a:noFill/>
                <a:prstDash val="solid"/>
                <a:miter/>
              </a:ln>
            </p:spPr>
            <p:txBody>
              <a:bodyPr rtlCol="0" anchor="ctr"/>
              <a:lstStyle/>
              <a:p>
                <a:endParaRPr lang="en-AD" sz="2400"/>
              </a:p>
            </p:txBody>
          </p:sp>
          <p:sp>
            <p:nvSpPr>
              <p:cNvPr id="223" name="Freeform 222">
                <a:extLst>
                  <a:ext uri="{FF2B5EF4-FFF2-40B4-BE49-F238E27FC236}">
                    <a16:creationId xmlns:a16="http://schemas.microsoft.com/office/drawing/2014/main" id="{77C34342-3805-0CBC-F48D-CC91BBD555BD}"/>
                  </a:ext>
                </a:extLst>
              </p:cNvPr>
              <p:cNvSpPr/>
              <p:nvPr/>
            </p:nvSpPr>
            <p:spPr>
              <a:xfrm>
                <a:off x="3941666" y="4767071"/>
                <a:ext cx="20242" cy="41148"/>
              </a:xfrm>
              <a:custGeom>
                <a:avLst/>
                <a:gdLst>
                  <a:gd name="connsiteX0" fmla="*/ 0 w 20242"/>
                  <a:gd name="connsiteY0" fmla="*/ 21336 h 41148"/>
                  <a:gd name="connsiteX1" fmla="*/ 20116 w 20242"/>
                  <a:gd name="connsiteY1" fmla="*/ 41148 h 41148"/>
                  <a:gd name="connsiteX2" fmla="*/ 20243 w 20242"/>
                  <a:gd name="connsiteY2" fmla="*/ 18161 h 41148"/>
                  <a:gd name="connsiteX3" fmla="*/ 382 w 20242"/>
                  <a:gd name="connsiteY3" fmla="*/ 0 h 41148"/>
                  <a:gd name="connsiteX4" fmla="*/ 0 w 20242"/>
                  <a:gd name="connsiteY4" fmla="*/ 21336 h 4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2" h="41148">
                    <a:moveTo>
                      <a:pt x="0" y="21336"/>
                    </a:moveTo>
                    <a:lnTo>
                      <a:pt x="20116" y="41148"/>
                    </a:lnTo>
                    <a:lnTo>
                      <a:pt x="20243" y="18161"/>
                    </a:lnTo>
                    <a:lnTo>
                      <a:pt x="382" y="0"/>
                    </a:lnTo>
                    <a:lnTo>
                      <a:pt x="0" y="21336"/>
                    </a:lnTo>
                    <a:close/>
                  </a:path>
                </a:pathLst>
              </a:custGeom>
              <a:solidFill>
                <a:srgbClr val="FFFFFF"/>
              </a:solidFill>
              <a:ln w="0" cap="flat">
                <a:noFill/>
                <a:prstDash val="solid"/>
                <a:miter/>
              </a:ln>
            </p:spPr>
            <p:txBody>
              <a:bodyPr rtlCol="0" anchor="ctr"/>
              <a:lstStyle/>
              <a:p>
                <a:endParaRPr lang="en-AD" sz="2400"/>
              </a:p>
            </p:txBody>
          </p:sp>
          <p:sp>
            <p:nvSpPr>
              <p:cNvPr id="224" name="Freeform 223">
                <a:extLst>
                  <a:ext uri="{FF2B5EF4-FFF2-40B4-BE49-F238E27FC236}">
                    <a16:creationId xmlns:a16="http://schemas.microsoft.com/office/drawing/2014/main" id="{9FCC38B7-9569-CEAB-9AFB-3D48C4AD55B8}"/>
                  </a:ext>
                </a:extLst>
              </p:cNvPr>
              <p:cNvSpPr/>
              <p:nvPr/>
            </p:nvSpPr>
            <p:spPr>
              <a:xfrm>
                <a:off x="3964455" y="4772152"/>
                <a:ext cx="26099" cy="37338"/>
              </a:xfrm>
              <a:custGeom>
                <a:avLst/>
                <a:gdLst>
                  <a:gd name="connsiteX0" fmla="*/ 0 w 26099"/>
                  <a:gd name="connsiteY0" fmla="*/ 37338 h 37338"/>
                  <a:gd name="connsiteX1" fmla="*/ 25845 w 26099"/>
                  <a:gd name="connsiteY1" fmla="*/ 23749 h 37338"/>
                  <a:gd name="connsiteX2" fmla="*/ 26099 w 26099"/>
                  <a:gd name="connsiteY2" fmla="*/ 0 h 37338"/>
                  <a:gd name="connsiteX3" fmla="*/ 509 w 26099"/>
                  <a:gd name="connsiteY3" fmla="*/ 13208 h 37338"/>
                  <a:gd name="connsiteX4" fmla="*/ 127 w 26099"/>
                  <a:gd name="connsiteY4" fmla="*/ 13462 h 37338"/>
                  <a:gd name="connsiteX5" fmla="*/ 0 w 26099"/>
                  <a:gd name="connsiteY5" fmla="*/ 37338 h 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99" h="37338">
                    <a:moveTo>
                      <a:pt x="0" y="37338"/>
                    </a:moveTo>
                    <a:lnTo>
                      <a:pt x="25845" y="23749"/>
                    </a:lnTo>
                    <a:lnTo>
                      <a:pt x="26099" y="0"/>
                    </a:lnTo>
                    <a:lnTo>
                      <a:pt x="509" y="13208"/>
                    </a:lnTo>
                    <a:lnTo>
                      <a:pt x="127" y="13462"/>
                    </a:lnTo>
                    <a:lnTo>
                      <a:pt x="0" y="37338"/>
                    </a:lnTo>
                    <a:close/>
                  </a:path>
                </a:pathLst>
              </a:custGeom>
              <a:solidFill>
                <a:srgbClr val="FFFFFF"/>
              </a:solidFill>
              <a:ln w="0" cap="flat">
                <a:noFill/>
                <a:prstDash val="solid"/>
                <a:miter/>
              </a:ln>
            </p:spPr>
            <p:txBody>
              <a:bodyPr rtlCol="0" anchor="ctr"/>
              <a:lstStyle/>
              <a:p>
                <a:endParaRPr lang="en-AD" sz="2400"/>
              </a:p>
            </p:txBody>
          </p:sp>
          <p:sp>
            <p:nvSpPr>
              <p:cNvPr id="225" name="Freeform 224">
                <a:extLst>
                  <a:ext uri="{FF2B5EF4-FFF2-40B4-BE49-F238E27FC236}">
                    <a16:creationId xmlns:a16="http://schemas.microsoft.com/office/drawing/2014/main" id="{00E87980-C94C-26CC-4D47-916E0D96FF98}"/>
                  </a:ext>
                </a:extLst>
              </p:cNvPr>
              <p:cNvSpPr/>
              <p:nvPr/>
            </p:nvSpPr>
            <p:spPr>
              <a:xfrm>
                <a:off x="3949432" y="4724146"/>
                <a:ext cx="42904" cy="25272"/>
              </a:xfrm>
              <a:custGeom>
                <a:avLst/>
                <a:gdLst>
                  <a:gd name="connsiteX0" fmla="*/ 18970 w 42904"/>
                  <a:gd name="connsiteY0" fmla="*/ 25273 h 25272"/>
                  <a:gd name="connsiteX1" fmla="*/ 42905 w 42904"/>
                  <a:gd name="connsiteY1" fmla="*/ 14478 h 25272"/>
                  <a:gd name="connsiteX2" fmla="*/ 23935 w 42904"/>
                  <a:gd name="connsiteY2" fmla="*/ 0 h 25272"/>
                  <a:gd name="connsiteX3" fmla="*/ 0 w 42904"/>
                  <a:gd name="connsiteY3" fmla="*/ 9652 h 25272"/>
                  <a:gd name="connsiteX4" fmla="*/ 18970 w 42904"/>
                  <a:gd name="connsiteY4" fmla="*/ 25273 h 2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04" h="25272">
                    <a:moveTo>
                      <a:pt x="18970" y="25273"/>
                    </a:moveTo>
                    <a:lnTo>
                      <a:pt x="42905" y="14478"/>
                    </a:lnTo>
                    <a:lnTo>
                      <a:pt x="23935" y="0"/>
                    </a:lnTo>
                    <a:lnTo>
                      <a:pt x="0" y="9652"/>
                    </a:lnTo>
                    <a:lnTo>
                      <a:pt x="18970" y="25273"/>
                    </a:lnTo>
                    <a:close/>
                  </a:path>
                </a:pathLst>
              </a:custGeom>
              <a:solidFill>
                <a:srgbClr val="FFFFFF"/>
              </a:solidFill>
              <a:ln w="0" cap="flat">
                <a:noFill/>
                <a:prstDash val="solid"/>
                <a:miter/>
              </a:ln>
            </p:spPr>
            <p:txBody>
              <a:bodyPr rtlCol="0" anchor="ctr"/>
              <a:lstStyle/>
              <a:p>
                <a:endParaRPr lang="en-AD" sz="2400"/>
              </a:p>
            </p:txBody>
          </p:sp>
          <p:sp>
            <p:nvSpPr>
              <p:cNvPr id="226" name="Freeform 225">
                <a:extLst>
                  <a:ext uri="{FF2B5EF4-FFF2-40B4-BE49-F238E27FC236}">
                    <a16:creationId xmlns:a16="http://schemas.microsoft.com/office/drawing/2014/main" id="{56A99327-4AE9-7C2C-1C09-93256063F87D}"/>
                  </a:ext>
                </a:extLst>
              </p:cNvPr>
              <p:cNvSpPr/>
              <p:nvPr/>
            </p:nvSpPr>
            <p:spPr>
              <a:xfrm>
                <a:off x="3920405" y="4771135"/>
                <a:ext cx="18587" cy="37846"/>
              </a:xfrm>
              <a:custGeom>
                <a:avLst/>
                <a:gdLst>
                  <a:gd name="connsiteX0" fmla="*/ 18588 w 18587"/>
                  <a:gd name="connsiteY0" fmla="*/ 18288 h 37846"/>
                  <a:gd name="connsiteX1" fmla="*/ 0 w 18587"/>
                  <a:gd name="connsiteY1" fmla="*/ 0 h 37846"/>
                  <a:gd name="connsiteX2" fmla="*/ 0 w 18587"/>
                  <a:gd name="connsiteY2" fmla="*/ 17145 h 37846"/>
                  <a:gd name="connsiteX3" fmla="*/ 18206 w 18587"/>
                  <a:gd name="connsiteY3" fmla="*/ 37846 h 37846"/>
                  <a:gd name="connsiteX4" fmla="*/ 18588 w 18587"/>
                  <a:gd name="connsiteY4" fmla="*/ 18288 h 37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7" h="37846">
                    <a:moveTo>
                      <a:pt x="18588" y="18288"/>
                    </a:moveTo>
                    <a:lnTo>
                      <a:pt x="0" y="0"/>
                    </a:lnTo>
                    <a:lnTo>
                      <a:pt x="0" y="17145"/>
                    </a:lnTo>
                    <a:lnTo>
                      <a:pt x="18206" y="37846"/>
                    </a:lnTo>
                    <a:lnTo>
                      <a:pt x="18588" y="18288"/>
                    </a:lnTo>
                    <a:close/>
                  </a:path>
                </a:pathLst>
              </a:custGeom>
              <a:solidFill>
                <a:srgbClr val="FFFFFF"/>
              </a:solidFill>
              <a:ln w="0" cap="flat">
                <a:noFill/>
                <a:prstDash val="solid"/>
                <a:miter/>
              </a:ln>
            </p:spPr>
            <p:txBody>
              <a:bodyPr rtlCol="0" anchor="ctr"/>
              <a:lstStyle/>
              <a:p>
                <a:endParaRPr lang="en-AD" sz="2400"/>
              </a:p>
            </p:txBody>
          </p:sp>
          <p:sp>
            <p:nvSpPr>
              <p:cNvPr id="227" name="Freeform 226">
                <a:extLst>
                  <a:ext uri="{FF2B5EF4-FFF2-40B4-BE49-F238E27FC236}">
                    <a16:creationId xmlns:a16="http://schemas.microsoft.com/office/drawing/2014/main" id="{AEAFDE38-AF5E-9E4D-2BBF-3737AF8F468A}"/>
                  </a:ext>
                </a:extLst>
              </p:cNvPr>
              <p:cNvSpPr/>
              <p:nvPr/>
            </p:nvSpPr>
            <p:spPr>
              <a:xfrm>
                <a:off x="3992719" y="4785233"/>
                <a:ext cx="23807" cy="35305"/>
              </a:xfrm>
              <a:custGeom>
                <a:avLst/>
                <a:gdLst>
                  <a:gd name="connsiteX0" fmla="*/ 254 w 23807"/>
                  <a:gd name="connsiteY0" fmla="*/ 12319 h 35305"/>
                  <a:gd name="connsiteX1" fmla="*/ 0 w 23807"/>
                  <a:gd name="connsiteY1" fmla="*/ 35306 h 35305"/>
                  <a:gd name="connsiteX2" fmla="*/ 23808 w 23807"/>
                  <a:gd name="connsiteY2" fmla="*/ 22098 h 35305"/>
                  <a:gd name="connsiteX3" fmla="*/ 23808 w 23807"/>
                  <a:gd name="connsiteY3" fmla="*/ 0 h 35305"/>
                  <a:gd name="connsiteX4" fmla="*/ 254 w 23807"/>
                  <a:gd name="connsiteY4" fmla="*/ 12319 h 3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7" h="35305">
                    <a:moveTo>
                      <a:pt x="254" y="12319"/>
                    </a:moveTo>
                    <a:lnTo>
                      <a:pt x="0" y="35306"/>
                    </a:lnTo>
                    <a:lnTo>
                      <a:pt x="23808" y="22098"/>
                    </a:lnTo>
                    <a:lnTo>
                      <a:pt x="23808" y="0"/>
                    </a:lnTo>
                    <a:lnTo>
                      <a:pt x="254" y="12319"/>
                    </a:lnTo>
                    <a:close/>
                  </a:path>
                </a:pathLst>
              </a:custGeom>
              <a:solidFill>
                <a:srgbClr val="FFFFFF"/>
              </a:solidFill>
              <a:ln w="0" cap="flat">
                <a:noFill/>
                <a:prstDash val="solid"/>
                <a:miter/>
              </a:ln>
            </p:spPr>
            <p:txBody>
              <a:bodyPr rtlCol="0" anchor="ctr"/>
              <a:lstStyle/>
              <a:p>
                <a:endParaRPr lang="en-AD" sz="2400"/>
              </a:p>
            </p:txBody>
          </p:sp>
          <p:sp>
            <p:nvSpPr>
              <p:cNvPr id="228" name="Freeform 227">
                <a:extLst>
                  <a:ext uri="{FF2B5EF4-FFF2-40B4-BE49-F238E27FC236}">
                    <a16:creationId xmlns:a16="http://schemas.microsoft.com/office/drawing/2014/main" id="{DB5FDA68-9EE2-0E30-68A3-79CD804ECD6F}"/>
                  </a:ext>
                </a:extLst>
              </p:cNvPr>
              <p:cNvSpPr/>
              <p:nvPr/>
            </p:nvSpPr>
            <p:spPr>
              <a:xfrm>
                <a:off x="3970694" y="4740528"/>
                <a:ext cx="44687" cy="27940"/>
              </a:xfrm>
              <a:custGeom>
                <a:avLst/>
                <a:gdLst>
                  <a:gd name="connsiteX0" fmla="*/ 24063 w 44687"/>
                  <a:gd name="connsiteY0" fmla="*/ 0 h 27940"/>
                  <a:gd name="connsiteX1" fmla="*/ 0 w 44687"/>
                  <a:gd name="connsiteY1" fmla="*/ 10795 h 27940"/>
                  <a:gd name="connsiteX2" fmla="*/ 21007 w 44687"/>
                  <a:gd name="connsiteY2" fmla="*/ 27940 h 27940"/>
                  <a:gd name="connsiteX3" fmla="*/ 44687 w 44687"/>
                  <a:gd name="connsiteY3" fmla="*/ 15875 h 27940"/>
                  <a:gd name="connsiteX4" fmla="*/ 24063 w 44687"/>
                  <a:gd name="connsiteY4" fmla="*/ 0 h 2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7" h="27940">
                    <a:moveTo>
                      <a:pt x="24063" y="0"/>
                    </a:moveTo>
                    <a:lnTo>
                      <a:pt x="0" y="10795"/>
                    </a:lnTo>
                    <a:lnTo>
                      <a:pt x="21007" y="27940"/>
                    </a:lnTo>
                    <a:lnTo>
                      <a:pt x="44687" y="15875"/>
                    </a:lnTo>
                    <a:lnTo>
                      <a:pt x="24063" y="0"/>
                    </a:lnTo>
                    <a:close/>
                  </a:path>
                </a:pathLst>
              </a:custGeom>
              <a:solidFill>
                <a:srgbClr val="FFFFFF"/>
              </a:solidFill>
              <a:ln w="0" cap="flat">
                <a:noFill/>
                <a:prstDash val="solid"/>
                <a:miter/>
              </a:ln>
            </p:spPr>
            <p:txBody>
              <a:bodyPr rtlCol="0" anchor="ctr"/>
              <a:lstStyle/>
              <a:p>
                <a:endParaRPr lang="en-AD" sz="2400"/>
              </a:p>
            </p:txBody>
          </p:sp>
          <p:sp>
            <p:nvSpPr>
              <p:cNvPr id="229" name="Freeform 228">
                <a:extLst>
                  <a:ext uri="{FF2B5EF4-FFF2-40B4-BE49-F238E27FC236}">
                    <a16:creationId xmlns:a16="http://schemas.microsoft.com/office/drawing/2014/main" id="{BE5FDF98-93D7-CC1F-7CBC-28CA78063566}"/>
                  </a:ext>
                </a:extLst>
              </p:cNvPr>
              <p:cNvSpPr/>
              <p:nvPr/>
            </p:nvSpPr>
            <p:spPr>
              <a:xfrm>
                <a:off x="3992974" y="4758816"/>
                <a:ext cx="23553" cy="35686"/>
              </a:xfrm>
              <a:custGeom>
                <a:avLst/>
                <a:gdLst>
                  <a:gd name="connsiteX0" fmla="*/ 23553 w 23553"/>
                  <a:gd name="connsiteY0" fmla="*/ 0 h 35686"/>
                  <a:gd name="connsiteX1" fmla="*/ 382 w 23553"/>
                  <a:gd name="connsiteY1" fmla="*/ 11938 h 35686"/>
                  <a:gd name="connsiteX2" fmla="*/ 0 w 23553"/>
                  <a:gd name="connsiteY2" fmla="*/ 35687 h 35686"/>
                  <a:gd name="connsiteX3" fmla="*/ 23553 w 23553"/>
                  <a:gd name="connsiteY3" fmla="*/ 23241 h 35686"/>
                  <a:gd name="connsiteX4" fmla="*/ 23553 w 23553"/>
                  <a:gd name="connsiteY4" fmla="*/ 0 h 35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53" h="35686">
                    <a:moveTo>
                      <a:pt x="23553" y="0"/>
                    </a:moveTo>
                    <a:lnTo>
                      <a:pt x="382" y="11938"/>
                    </a:lnTo>
                    <a:lnTo>
                      <a:pt x="0" y="35687"/>
                    </a:lnTo>
                    <a:lnTo>
                      <a:pt x="23553" y="23241"/>
                    </a:lnTo>
                    <a:lnTo>
                      <a:pt x="23553" y="0"/>
                    </a:lnTo>
                    <a:close/>
                  </a:path>
                </a:pathLst>
              </a:custGeom>
              <a:solidFill>
                <a:srgbClr val="FFFFFF"/>
              </a:solidFill>
              <a:ln w="0" cap="flat">
                <a:noFill/>
                <a:prstDash val="solid"/>
                <a:miter/>
              </a:ln>
            </p:spPr>
            <p:txBody>
              <a:bodyPr rtlCol="0" anchor="ctr"/>
              <a:lstStyle/>
              <a:p>
                <a:endParaRPr lang="en-AD" sz="2400"/>
              </a:p>
            </p:txBody>
          </p:sp>
          <p:sp>
            <p:nvSpPr>
              <p:cNvPr id="230" name="Freeform 229">
                <a:extLst>
                  <a:ext uri="{FF2B5EF4-FFF2-40B4-BE49-F238E27FC236}">
                    <a16:creationId xmlns:a16="http://schemas.microsoft.com/office/drawing/2014/main" id="{AA1041F1-A3E1-2100-6D87-777219E14EF4}"/>
                  </a:ext>
                </a:extLst>
              </p:cNvPr>
              <p:cNvSpPr/>
              <p:nvPr/>
            </p:nvSpPr>
            <p:spPr>
              <a:xfrm>
                <a:off x="4016527" y="4757292"/>
                <a:ext cx="12731" cy="12700"/>
              </a:xfrm>
              <a:custGeom>
                <a:avLst/>
                <a:gdLst>
                  <a:gd name="connsiteX0" fmla="*/ 0 w 12731"/>
                  <a:gd name="connsiteY0" fmla="*/ 0 h 12700"/>
                  <a:gd name="connsiteX1" fmla="*/ 0 w 12731"/>
                  <a:gd name="connsiteY1" fmla="*/ 0 h 12700"/>
                  <a:gd name="connsiteX2" fmla="*/ 0 w 12731"/>
                  <a:gd name="connsiteY2" fmla="*/ 0 h 12700"/>
                  <a:gd name="connsiteX3" fmla="*/ 0 w 12731"/>
                  <a:gd name="connsiteY3" fmla="*/ 0 h 12700"/>
                </a:gdLst>
                <a:ahLst/>
                <a:cxnLst>
                  <a:cxn ang="0">
                    <a:pos x="connsiteX0" y="connsiteY0"/>
                  </a:cxn>
                  <a:cxn ang="0">
                    <a:pos x="connsiteX1" y="connsiteY1"/>
                  </a:cxn>
                  <a:cxn ang="0">
                    <a:pos x="connsiteX2" y="connsiteY2"/>
                  </a:cxn>
                  <a:cxn ang="0">
                    <a:pos x="connsiteX3" y="connsiteY3"/>
                  </a:cxn>
                </a:cxnLst>
                <a:rect l="l" t="t" r="r" b="b"/>
                <a:pathLst>
                  <a:path w="12731" h="12700">
                    <a:moveTo>
                      <a:pt x="0" y="0"/>
                    </a:moveTo>
                    <a:lnTo>
                      <a:pt x="0" y="0"/>
                    </a:lnTo>
                    <a:lnTo>
                      <a:pt x="0" y="0"/>
                    </a:lnTo>
                    <a:lnTo>
                      <a:pt x="0" y="0"/>
                    </a:lnTo>
                    <a:close/>
                  </a:path>
                </a:pathLst>
              </a:custGeom>
              <a:solidFill>
                <a:srgbClr val="FFFFFF"/>
              </a:solidFill>
              <a:ln w="0" cap="flat">
                <a:noFill/>
                <a:prstDash val="solid"/>
                <a:miter/>
              </a:ln>
            </p:spPr>
            <p:txBody>
              <a:bodyPr rtlCol="0" anchor="ctr"/>
              <a:lstStyle/>
              <a:p>
                <a:endParaRPr lang="en-AD" sz="2400"/>
              </a:p>
            </p:txBody>
          </p:sp>
        </p:grpSp>
      </p:grpSp>
    </p:spTree>
    <p:extLst>
      <p:ext uri="{BB962C8B-B14F-4D97-AF65-F5344CB8AC3E}">
        <p14:creationId xmlns:p14="http://schemas.microsoft.com/office/powerpoint/2010/main" val="20951753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940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ubtitle &amp; two columns">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98E5DC8-0219-9A85-07B8-CE3E876F1337}"/>
              </a:ext>
            </a:extLst>
          </p:cNvPr>
          <p:cNvSpPr>
            <a:spLocks noGrp="1"/>
          </p:cNvSpPr>
          <p:nvPr>
            <p:ph type="title" hasCustomPrompt="1"/>
          </p:nvPr>
        </p:nvSpPr>
        <p:spPr>
          <a:xfrm>
            <a:off x="480001" y="307200"/>
            <a:ext cx="9749849" cy="796800"/>
          </a:xfrm>
        </p:spPr>
        <p:txBody>
          <a:bodyPr>
            <a:normAutofit/>
          </a:bodyPr>
          <a:lstStyle>
            <a:lvl1pPr>
              <a:defRPr sz="3200"/>
            </a:lvl1pPr>
          </a:lstStyle>
          <a:p>
            <a:r>
              <a:rPr lang="en-GB"/>
              <a:t>Click to edit title</a:t>
            </a:r>
            <a:endParaRPr lang="en-US"/>
          </a:p>
        </p:txBody>
      </p:sp>
      <p:sp>
        <p:nvSpPr>
          <p:cNvPr id="13" name="Text Placeholder 11">
            <a:extLst>
              <a:ext uri="{FF2B5EF4-FFF2-40B4-BE49-F238E27FC236}">
                <a16:creationId xmlns:a16="http://schemas.microsoft.com/office/drawing/2014/main" id="{FC3D0062-0A6D-E68C-866F-4226E1DAF764}"/>
              </a:ext>
            </a:extLst>
          </p:cNvPr>
          <p:cNvSpPr>
            <a:spLocks noGrp="1"/>
          </p:cNvSpPr>
          <p:nvPr>
            <p:ph type="body" sz="quarter" idx="13" hasCustomPrompt="1"/>
          </p:nvPr>
        </p:nvSpPr>
        <p:spPr>
          <a:xfrm>
            <a:off x="480001" y="1237151"/>
            <a:ext cx="9749849" cy="370416"/>
          </a:xfrm>
        </p:spPr>
        <p:txBody>
          <a:bodyPr>
            <a:no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grpSp>
        <p:nvGrpSpPr>
          <p:cNvPr id="14" name="Group 13">
            <a:extLst>
              <a:ext uri="{FF2B5EF4-FFF2-40B4-BE49-F238E27FC236}">
                <a16:creationId xmlns:a16="http://schemas.microsoft.com/office/drawing/2014/main" id="{0A90827B-B721-8FF7-3789-4B5E5A91DCB9}"/>
              </a:ext>
            </a:extLst>
          </p:cNvPr>
          <p:cNvGrpSpPr/>
          <p:nvPr userDrawn="1"/>
        </p:nvGrpSpPr>
        <p:grpSpPr>
          <a:xfrm>
            <a:off x="10621293" y="307200"/>
            <a:ext cx="1085908" cy="821904"/>
            <a:chOff x="1001339" y="887094"/>
            <a:chExt cx="814431" cy="616428"/>
          </a:xfrm>
        </p:grpSpPr>
        <p:sp>
          <p:nvSpPr>
            <p:cNvPr id="29" name="Freeform 28">
              <a:extLst>
                <a:ext uri="{FF2B5EF4-FFF2-40B4-BE49-F238E27FC236}">
                  <a16:creationId xmlns:a16="http://schemas.microsoft.com/office/drawing/2014/main" id="{B4096388-F5C6-D68C-B3CF-3D4A555B6BD0}"/>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30" name="Freeform 29">
              <a:extLst>
                <a:ext uri="{FF2B5EF4-FFF2-40B4-BE49-F238E27FC236}">
                  <a16:creationId xmlns:a16="http://schemas.microsoft.com/office/drawing/2014/main" id="{07C0378F-3E4A-A6F5-3675-23EBB36AB714}"/>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31" name="Freeform 30">
              <a:extLst>
                <a:ext uri="{FF2B5EF4-FFF2-40B4-BE49-F238E27FC236}">
                  <a16:creationId xmlns:a16="http://schemas.microsoft.com/office/drawing/2014/main" id="{C60B0007-E4FD-837D-CD2E-AEB4C9DEBF25}"/>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32" name="Text Placeholder 13">
            <a:extLst>
              <a:ext uri="{FF2B5EF4-FFF2-40B4-BE49-F238E27FC236}">
                <a16:creationId xmlns:a16="http://schemas.microsoft.com/office/drawing/2014/main" id="{529B456B-0612-05FD-3E27-C2E6F22CD5AC}"/>
              </a:ext>
            </a:extLst>
          </p:cNvPr>
          <p:cNvSpPr>
            <a:spLocks noGrp="1"/>
          </p:cNvSpPr>
          <p:nvPr>
            <p:ph type="body" sz="quarter" idx="11" hasCustomPrompt="1"/>
          </p:nvPr>
        </p:nvSpPr>
        <p:spPr>
          <a:xfrm>
            <a:off x="480000" y="1833926"/>
            <a:ext cx="5280000" cy="4062321"/>
          </a:xfrm>
        </p:spPr>
        <p:txBody>
          <a:bodyPr>
            <a:noAutofit/>
          </a:bodyPr>
          <a:lstStyle>
            <a:lvl1pPr marL="0" indent="0">
              <a:lnSpc>
                <a:spcPts val="1867"/>
              </a:lnSpc>
              <a:spcBef>
                <a:spcPts val="800"/>
              </a:spcBef>
              <a:buNone/>
              <a:defRPr sz="1200">
                <a:solidFill>
                  <a:schemeClr val="tx1"/>
                </a:solidFill>
              </a:defRPr>
            </a:lvl1pPr>
            <a:lvl2pPr>
              <a:defRPr sz="1333"/>
            </a:lvl2pPr>
            <a:lvl3pPr>
              <a:defRPr sz="1333"/>
            </a:lvl3pPr>
            <a:lvl4pPr>
              <a:defRPr sz="1333"/>
            </a:lvl4pPr>
            <a:lvl5pPr>
              <a:defRPr sz="1333"/>
            </a:lvl5pPr>
          </a:lstStyle>
          <a:p>
            <a:pPr lvl="0"/>
            <a:r>
              <a:rPr lang="en-US"/>
              <a:t>Contrary to popular belief, Lorem Ipsum is not simply random text. It has roots in a piece of classical Latin literature from 45 BC, making it over 2000 years old. Richard McClintock, a Latin professor at Hampden-Sydney College in Virginia, looked up one of the more obscure Latin words, consectetur, from a Lorem Ipsum passage, and going through the cites of the word in classical literature, discovered the undoubtable source. </a:t>
            </a:r>
          </a:p>
          <a:p>
            <a:pPr lvl="0"/>
            <a:r>
              <a:rPr lang="en-US"/>
              <a:t>Lorem Ipsum comes from sections 1.10.32 and 1.10.33 of "de Finibus Bonorum et Malorum" (The Extremes of Good and Evil) by Cicero, written in 45 BC. This book is a treatise on the theory of ethics, very popular during the Renaissance. The first line of Lorem Ipsum, "Lorem ipsum dolor sit amet..", comes from a line in section 1.10.32.</a:t>
            </a:r>
          </a:p>
          <a:p>
            <a:pPr lvl="0"/>
            <a:r>
              <a:rPr lang="en-US"/>
              <a:t>It has survived not only five centuries, but also the leap into electronic typesetting, remaining essentially unchanged. It was popularised in the 1960s with the release of Letraset sheets containing Lorem Ipsum passages, and more recently with desktop publishing software like Aldus PageMaker including versions of Lorem Ipsum.</a:t>
            </a:r>
          </a:p>
        </p:txBody>
      </p:sp>
      <p:sp>
        <p:nvSpPr>
          <p:cNvPr id="33" name="Text Placeholder 13">
            <a:extLst>
              <a:ext uri="{FF2B5EF4-FFF2-40B4-BE49-F238E27FC236}">
                <a16:creationId xmlns:a16="http://schemas.microsoft.com/office/drawing/2014/main" id="{975EA315-669A-130C-D170-D9FB3C737756}"/>
              </a:ext>
            </a:extLst>
          </p:cNvPr>
          <p:cNvSpPr>
            <a:spLocks noGrp="1"/>
          </p:cNvSpPr>
          <p:nvPr>
            <p:ph type="body" sz="quarter" idx="14" hasCustomPrompt="1"/>
          </p:nvPr>
        </p:nvSpPr>
        <p:spPr>
          <a:xfrm>
            <a:off x="6427200" y="1833925"/>
            <a:ext cx="5280000" cy="4062320"/>
          </a:xfrm>
        </p:spPr>
        <p:txBody>
          <a:bodyPr>
            <a:noAutofit/>
          </a:bodyPr>
          <a:lstStyle>
            <a:lvl1pPr marL="0" indent="0">
              <a:lnSpc>
                <a:spcPts val="1867"/>
              </a:lnSpc>
              <a:spcBef>
                <a:spcPts val="800"/>
              </a:spcBef>
              <a:buNone/>
              <a:defRPr sz="1200">
                <a:solidFill>
                  <a:schemeClr val="tx1"/>
                </a:solidFill>
              </a:defRPr>
            </a:lvl1pPr>
            <a:lvl2pPr>
              <a:defRPr sz="1333"/>
            </a:lvl2pPr>
            <a:lvl3pPr>
              <a:defRPr sz="1333"/>
            </a:lvl3pPr>
            <a:lvl4pPr>
              <a:defRPr sz="1333"/>
            </a:lvl4pPr>
            <a:lvl5pPr>
              <a:defRPr sz="1333"/>
            </a:lvl5pPr>
          </a:lstStyle>
          <a:p>
            <a:pPr lvl="0"/>
            <a:r>
              <a:rPr lang="en-US"/>
              <a:t>Contrary to popular belief, Lorem Ipsum is not simply random text. It has roots in a piece of classical Latin literature from 45 BC, making it over 2000 years old. Richard McClintock, a Latin professor at Hampden-Sydney College in Virginia, looked up one of the more obscure Latin words, consectetur, from a Lorem Ipsum passage, and going through the cites of the word in classical literature, discovered the undoubtable source. </a:t>
            </a:r>
          </a:p>
          <a:p>
            <a:pPr lvl="0"/>
            <a:r>
              <a:rPr lang="en-US"/>
              <a:t>Lorem Ipsum comes from sections 1.10.32 and 1.10.33 of "de Finibus Bonorum et Malorum" (The Extremes of Good and Evil) by Cicero, written in 45 BC. This book is a treatise on the theory of ethics, very popular during the Renaissance. The first line of Lorem Ipsum, "Lorem ipsum dolor sit amet..", comes from a line in section 1.10.32.</a:t>
            </a:r>
          </a:p>
          <a:p>
            <a:pPr lvl="0"/>
            <a:r>
              <a:rPr lang="en-US"/>
              <a:t>It has survived not only five centuries, but also the leap into electronic typesetting, remaining essentially unchanged. It was popularised in the 1960s with the release of Letraset sheets containing Lorem Ipsum passages, and more recently with desktop publishing software like Aldus PageMaker including versions of Lorem Ipsum.</a:t>
            </a:r>
          </a:p>
        </p:txBody>
      </p:sp>
      <p:sp>
        <p:nvSpPr>
          <p:cNvPr id="3" name="Slide Number Placeholder 6">
            <a:extLst>
              <a:ext uri="{FF2B5EF4-FFF2-40B4-BE49-F238E27FC236}">
                <a16:creationId xmlns:a16="http://schemas.microsoft.com/office/drawing/2014/main" id="{3BB8B70A-5873-44D0-E619-1623B13ACA35}"/>
              </a:ext>
            </a:extLst>
          </p:cNvPr>
          <p:cNvSpPr>
            <a:spLocks noGrp="1"/>
          </p:cNvSpPr>
          <p:nvPr>
            <p:ph type="sldNum" sz="quarter" idx="10"/>
          </p:nvPr>
        </p:nvSpPr>
        <p:spPr>
          <a:xfrm>
            <a:off x="10977600" y="6459523"/>
            <a:ext cx="729600" cy="394876"/>
          </a:xfrm>
        </p:spPr>
        <p:txBody>
          <a:bodyPr/>
          <a:lstStyle>
            <a:lvl1pPr>
              <a:defRPr sz="1067">
                <a:solidFill>
                  <a:schemeClr val="tx1"/>
                </a:solidFill>
              </a:defRPr>
            </a:lvl1pPr>
          </a:lstStyle>
          <a:p>
            <a:fld id="{48F63A3B-78C7-47BE-AE5E-E10140E04643}" type="slidenum">
              <a:rPr lang="en-US" smtClean="0"/>
              <a:pPr/>
              <a:t>‹#›</a:t>
            </a:fld>
            <a:endParaRPr lang="en-US"/>
          </a:p>
        </p:txBody>
      </p:sp>
      <p:sp>
        <p:nvSpPr>
          <p:cNvPr id="4" name="TextBox 3">
            <a:extLst>
              <a:ext uri="{FF2B5EF4-FFF2-40B4-BE49-F238E27FC236}">
                <a16:creationId xmlns:a16="http://schemas.microsoft.com/office/drawing/2014/main" id="{D226F656-62EC-655C-ED25-813CF2136E32}"/>
              </a:ext>
            </a:extLst>
          </p:cNvPr>
          <p:cNvSpPr txBox="1"/>
          <p:nvPr userDrawn="1"/>
        </p:nvSpPr>
        <p:spPr>
          <a:xfrm>
            <a:off x="479999" y="6474084"/>
            <a:ext cx="6054151" cy="184666"/>
          </a:xfrm>
          <a:prstGeom prst="rect">
            <a:avLst/>
          </a:prstGeom>
          <a:noFill/>
        </p:spPr>
        <p:txBody>
          <a:bodyPr wrap="square" lIns="0" tIns="0" rIns="0" bIns="0" rtlCol="0">
            <a:spAutoFit/>
          </a:bodyPr>
          <a:lstStyle/>
          <a:p>
            <a:pPr marL="0" marR="0" algn="l">
              <a:spcBef>
                <a:spcPts val="0"/>
              </a:spcBef>
              <a:spcAft>
                <a:spcPts val="0"/>
              </a:spcAft>
            </a:pPr>
            <a:r>
              <a:rPr lang="en-GB" sz="1200" b="0" i="0" u="none" strike="noStrike">
                <a:solidFill>
                  <a:schemeClr val="accent1"/>
                </a:solidFill>
                <a:effectLst/>
                <a:latin typeface="+mn-lt"/>
              </a:rPr>
              <a:t>VICT</a:t>
            </a:r>
            <a:r>
              <a:rPr lang="en-GB" sz="1200" b="0" i="0" u="none" strike="noStrike">
                <a:solidFill>
                  <a:schemeClr val="tx2"/>
                </a:solidFill>
                <a:effectLst/>
                <a:latin typeface="+mj-lt"/>
              </a:rPr>
              <a:t>3R</a:t>
            </a:r>
            <a:r>
              <a:rPr lang="en-GB" sz="933" b="0" i="0" u="none" strike="noStrike">
                <a:solidFill>
                  <a:schemeClr val="tx1"/>
                </a:solidFill>
                <a:effectLst/>
                <a:latin typeface="+mn-lt"/>
              </a:rPr>
              <a:t>  Developing and Implementing Virtual Control Groups to reduce animal use in Toxicology Research</a:t>
            </a:r>
          </a:p>
        </p:txBody>
      </p:sp>
    </p:spTree>
    <p:extLst>
      <p:ext uri="{BB962C8B-B14F-4D97-AF65-F5344CB8AC3E}">
        <p14:creationId xmlns:p14="http://schemas.microsoft.com/office/powerpoint/2010/main" val="19214803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ubtitle, body &amp; picture">
    <p:bg>
      <p:bgPr>
        <a:solidFill>
          <a:schemeClr val="bg1"/>
        </a:solidFill>
        <a:effectLst/>
      </p:bgPr>
    </p:bg>
    <p:spTree>
      <p:nvGrpSpPr>
        <p:cNvPr id="1" name=""/>
        <p:cNvGrpSpPr/>
        <p:nvPr/>
      </p:nvGrpSpPr>
      <p:grpSpPr>
        <a:xfrm>
          <a:off x="0" y="0"/>
          <a:ext cx="0" cy="0"/>
          <a:chOff x="0" y="0"/>
          <a:chExt cx="0" cy="0"/>
        </a:xfrm>
      </p:grpSpPr>
      <p:sp>
        <p:nvSpPr>
          <p:cNvPr id="3" name="Picture Placeholder 13">
            <a:extLst>
              <a:ext uri="{FF2B5EF4-FFF2-40B4-BE49-F238E27FC236}">
                <a16:creationId xmlns:a16="http://schemas.microsoft.com/office/drawing/2014/main" id="{54539A10-8185-B943-C73A-D2F53BA2573A}"/>
              </a:ext>
            </a:extLst>
          </p:cNvPr>
          <p:cNvSpPr>
            <a:spLocks noGrp="1"/>
          </p:cNvSpPr>
          <p:nvPr>
            <p:ph type="pic" sz="quarter" idx="13" hasCustomPrompt="1"/>
          </p:nvPr>
        </p:nvSpPr>
        <p:spPr>
          <a:xfrm>
            <a:off x="-1" y="-1"/>
            <a:ext cx="4952999" cy="6854399"/>
          </a:xfrm>
          <a:solidFill>
            <a:schemeClr val="tx1"/>
          </a:solidFill>
        </p:spPr>
        <p:txBody>
          <a:bodyPr anchor="ctr">
            <a:normAutofit/>
          </a:bodyPr>
          <a:lstStyle>
            <a:lvl1pPr marL="0" indent="0" algn="ctr">
              <a:buNone/>
              <a:defRPr sz="1600">
                <a:solidFill>
                  <a:schemeClr val="bg1"/>
                </a:solidFill>
              </a:defRPr>
            </a:lvl1pPr>
          </a:lstStyle>
          <a:p>
            <a:r>
              <a:rPr lang="en-US"/>
              <a:t>Click to insert picture</a:t>
            </a:r>
          </a:p>
        </p:txBody>
      </p:sp>
      <p:sp>
        <p:nvSpPr>
          <p:cNvPr id="2" name="Title 1"/>
          <p:cNvSpPr>
            <a:spLocks noGrp="1"/>
          </p:cNvSpPr>
          <p:nvPr>
            <p:ph type="title" hasCustomPrompt="1"/>
          </p:nvPr>
        </p:nvSpPr>
        <p:spPr>
          <a:xfrm>
            <a:off x="5486400" y="1454604"/>
            <a:ext cx="6220797" cy="1521816"/>
          </a:xfrm>
        </p:spPr>
        <p:txBody>
          <a:bodyPr anchor="b" anchorCtr="0">
            <a:normAutofit/>
          </a:bodyPr>
          <a:lstStyle>
            <a:lvl1pPr>
              <a:defRPr sz="3200"/>
            </a:lvl1pPr>
          </a:lstStyle>
          <a:p>
            <a:r>
              <a:rPr lang="en-GB"/>
              <a:t>Click to edit title</a:t>
            </a:r>
            <a:endParaRPr lang="en-US"/>
          </a:p>
        </p:txBody>
      </p:sp>
      <p:sp>
        <p:nvSpPr>
          <p:cNvPr id="7" name="Slide Number Placeholder 6">
            <a:extLst>
              <a:ext uri="{FF2B5EF4-FFF2-40B4-BE49-F238E27FC236}">
                <a16:creationId xmlns:a16="http://schemas.microsoft.com/office/drawing/2014/main" id="{96290682-9E77-E549-9559-0CA4A34AD1E0}"/>
              </a:ext>
            </a:extLst>
          </p:cNvPr>
          <p:cNvSpPr>
            <a:spLocks noGrp="1"/>
          </p:cNvSpPr>
          <p:nvPr>
            <p:ph type="sldNum" sz="quarter" idx="10"/>
          </p:nvPr>
        </p:nvSpPr>
        <p:spPr>
          <a:xfrm>
            <a:off x="10977600" y="6459523"/>
            <a:ext cx="729600" cy="394876"/>
          </a:xfrm>
        </p:spPr>
        <p:txBody>
          <a:bodyPr/>
          <a:lstStyle>
            <a:lvl1pPr>
              <a:defRPr sz="1067"/>
            </a:lvl1pPr>
          </a:lstStyle>
          <a:p>
            <a:fld id="{48F63A3B-78C7-47BE-AE5E-E10140E04643}" type="slidenum">
              <a:rPr lang="en-US" smtClean="0"/>
              <a:pPr/>
              <a:t>‹#›</a:t>
            </a:fld>
            <a:endParaRPr lang="en-US"/>
          </a:p>
        </p:txBody>
      </p:sp>
      <p:grpSp>
        <p:nvGrpSpPr>
          <p:cNvPr id="6" name="Group 5">
            <a:extLst>
              <a:ext uri="{FF2B5EF4-FFF2-40B4-BE49-F238E27FC236}">
                <a16:creationId xmlns:a16="http://schemas.microsoft.com/office/drawing/2014/main" id="{63E23078-35D4-4009-B509-AC1196D5A0AD}"/>
              </a:ext>
            </a:extLst>
          </p:cNvPr>
          <p:cNvGrpSpPr/>
          <p:nvPr userDrawn="1"/>
        </p:nvGrpSpPr>
        <p:grpSpPr>
          <a:xfrm>
            <a:off x="10621293" y="307200"/>
            <a:ext cx="1085908" cy="821904"/>
            <a:chOff x="1001339" y="887094"/>
            <a:chExt cx="814431" cy="616428"/>
          </a:xfrm>
        </p:grpSpPr>
        <p:sp>
          <p:nvSpPr>
            <p:cNvPr id="8" name="Freeform 7">
              <a:extLst>
                <a:ext uri="{FF2B5EF4-FFF2-40B4-BE49-F238E27FC236}">
                  <a16:creationId xmlns:a16="http://schemas.microsoft.com/office/drawing/2014/main" id="{4EBAFA28-87C6-1E7D-4DC7-4579113F9731}"/>
                </a:ext>
              </a:extLst>
            </p:cNvPr>
            <p:cNvSpPr/>
            <p:nvPr/>
          </p:nvSpPr>
          <p:spPr>
            <a:xfrm rot="21228600">
              <a:off x="1001339" y="1125872"/>
              <a:ext cx="155578" cy="202692"/>
            </a:xfrm>
            <a:custGeom>
              <a:avLst/>
              <a:gdLst>
                <a:gd name="connsiteX0" fmla="*/ 155578 w 155578"/>
                <a:gd name="connsiteY0" fmla="*/ 101346 h 202692"/>
                <a:gd name="connsiteX1" fmla="*/ 77789 w 155578"/>
                <a:gd name="connsiteY1" fmla="*/ 202692 h 202692"/>
                <a:gd name="connsiteX2" fmla="*/ 0 w 155578"/>
                <a:gd name="connsiteY2" fmla="*/ 101346 h 202692"/>
                <a:gd name="connsiteX3" fmla="*/ 77789 w 155578"/>
                <a:gd name="connsiteY3" fmla="*/ 0 h 202692"/>
                <a:gd name="connsiteX4" fmla="*/ 155578 w 155578"/>
                <a:gd name="connsiteY4" fmla="*/ 101346 h 20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8" h="202692">
                  <a:moveTo>
                    <a:pt x="155578" y="101346"/>
                  </a:moveTo>
                  <a:cubicBezTo>
                    <a:pt x="155578" y="157318"/>
                    <a:pt x="120751" y="202692"/>
                    <a:pt x="77789" y="202692"/>
                  </a:cubicBezTo>
                  <a:cubicBezTo>
                    <a:pt x="34827" y="202692"/>
                    <a:pt x="0" y="157318"/>
                    <a:pt x="0" y="101346"/>
                  </a:cubicBezTo>
                  <a:cubicBezTo>
                    <a:pt x="0" y="45374"/>
                    <a:pt x="34827" y="0"/>
                    <a:pt x="77789" y="0"/>
                  </a:cubicBezTo>
                  <a:cubicBezTo>
                    <a:pt x="120751" y="0"/>
                    <a:pt x="155578" y="45374"/>
                    <a:pt x="155578" y="101346"/>
                  </a:cubicBezTo>
                  <a:close/>
                </a:path>
              </a:pathLst>
            </a:custGeom>
            <a:solidFill>
              <a:srgbClr val="1D4966"/>
            </a:solidFill>
            <a:ln w="0" cap="flat">
              <a:noFill/>
              <a:prstDash val="solid"/>
              <a:miter/>
            </a:ln>
          </p:spPr>
          <p:txBody>
            <a:bodyPr rtlCol="0" anchor="ctr"/>
            <a:lstStyle/>
            <a:p>
              <a:endParaRPr lang="en-AD" sz="2400"/>
            </a:p>
          </p:txBody>
        </p:sp>
        <p:sp>
          <p:nvSpPr>
            <p:cNvPr id="9" name="Freeform 8">
              <a:extLst>
                <a:ext uri="{FF2B5EF4-FFF2-40B4-BE49-F238E27FC236}">
                  <a16:creationId xmlns:a16="http://schemas.microsoft.com/office/drawing/2014/main" id="{DC8937AB-703D-6B83-3D6A-B2D9C51D686D}"/>
                </a:ext>
              </a:extLst>
            </p:cNvPr>
            <p:cNvSpPr/>
            <p:nvPr/>
          </p:nvSpPr>
          <p:spPr>
            <a:xfrm>
              <a:off x="1169141" y="887094"/>
              <a:ext cx="646629" cy="434340"/>
            </a:xfrm>
            <a:custGeom>
              <a:avLst/>
              <a:gdLst>
                <a:gd name="connsiteX0" fmla="*/ 556109 w 646629"/>
                <a:gd name="connsiteY0" fmla="*/ 253746 h 434340"/>
                <a:gd name="connsiteX1" fmla="*/ 513841 w 646629"/>
                <a:gd name="connsiteY1" fmla="*/ 264287 h 434340"/>
                <a:gd name="connsiteX2" fmla="*/ 440635 w 646629"/>
                <a:gd name="connsiteY2" fmla="*/ 158242 h 434340"/>
                <a:gd name="connsiteX3" fmla="*/ 471572 w 646629"/>
                <a:gd name="connsiteY3" fmla="*/ 90297 h 434340"/>
                <a:gd name="connsiteX4" fmla="*/ 381052 w 646629"/>
                <a:gd name="connsiteY4" fmla="*/ 0 h 434340"/>
                <a:gd name="connsiteX5" fmla="*/ 291168 w 646629"/>
                <a:gd name="connsiteY5" fmla="*/ 79756 h 434340"/>
                <a:gd name="connsiteX6" fmla="*/ 180404 w 646629"/>
                <a:gd name="connsiteY6" fmla="*/ 79756 h 434340"/>
                <a:gd name="connsiteX7" fmla="*/ 90521 w 646629"/>
                <a:gd name="connsiteY7" fmla="*/ 0 h 434340"/>
                <a:gd name="connsiteX8" fmla="*/ 0 w 646629"/>
                <a:gd name="connsiteY8" fmla="*/ 90297 h 434340"/>
                <a:gd name="connsiteX9" fmla="*/ 90521 w 646629"/>
                <a:gd name="connsiteY9" fmla="*/ 180594 h 434340"/>
                <a:gd name="connsiteX10" fmla="*/ 180404 w 646629"/>
                <a:gd name="connsiteY10" fmla="*/ 100838 h 434340"/>
                <a:gd name="connsiteX11" fmla="*/ 291168 w 646629"/>
                <a:gd name="connsiteY11" fmla="*/ 100838 h 434340"/>
                <a:gd name="connsiteX12" fmla="*/ 381052 w 646629"/>
                <a:gd name="connsiteY12" fmla="*/ 180594 h 434340"/>
                <a:gd name="connsiteX13" fmla="*/ 423320 w 646629"/>
                <a:gd name="connsiteY13" fmla="*/ 170053 h 434340"/>
                <a:gd name="connsiteX14" fmla="*/ 496526 w 646629"/>
                <a:gd name="connsiteY14" fmla="*/ 276098 h 434340"/>
                <a:gd name="connsiteX15" fmla="*/ 465589 w 646629"/>
                <a:gd name="connsiteY15" fmla="*/ 344043 h 434340"/>
                <a:gd name="connsiteX16" fmla="*/ 556109 w 646629"/>
                <a:gd name="connsiteY16" fmla="*/ 434340 h 434340"/>
                <a:gd name="connsiteX17" fmla="*/ 646630 w 646629"/>
                <a:gd name="connsiteY17" fmla="*/ 344043 h 434340"/>
                <a:gd name="connsiteX18" fmla="*/ 556109 w 646629"/>
                <a:gd name="connsiteY18" fmla="*/ 253746 h 43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629" h="434340">
                  <a:moveTo>
                    <a:pt x="556109" y="253746"/>
                  </a:moveTo>
                  <a:cubicBezTo>
                    <a:pt x="540831" y="253746"/>
                    <a:pt x="526445" y="257556"/>
                    <a:pt x="513841" y="264287"/>
                  </a:cubicBezTo>
                  <a:lnTo>
                    <a:pt x="440635" y="158242"/>
                  </a:lnTo>
                  <a:cubicBezTo>
                    <a:pt x="459605" y="141732"/>
                    <a:pt x="471572" y="117475"/>
                    <a:pt x="471572" y="90297"/>
                  </a:cubicBezTo>
                  <a:cubicBezTo>
                    <a:pt x="471572" y="40386"/>
                    <a:pt x="431086" y="0"/>
                    <a:pt x="381052" y="0"/>
                  </a:cubicBezTo>
                  <a:cubicBezTo>
                    <a:pt x="334582" y="0"/>
                    <a:pt x="296388" y="34925"/>
                    <a:pt x="291168" y="79756"/>
                  </a:cubicBezTo>
                  <a:lnTo>
                    <a:pt x="180404" y="79756"/>
                  </a:lnTo>
                  <a:cubicBezTo>
                    <a:pt x="175185" y="34798"/>
                    <a:pt x="136990" y="0"/>
                    <a:pt x="90521" y="0"/>
                  </a:cubicBezTo>
                  <a:cubicBezTo>
                    <a:pt x="40486" y="0"/>
                    <a:pt x="0" y="40386"/>
                    <a:pt x="0" y="90297"/>
                  </a:cubicBezTo>
                  <a:cubicBezTo>
                    <a:pt x="0" y="140208"/>
                    <a:pt x="40486" y="180594"/>
                    <a:pt x="90521" y="180594"/>
                  </a:cubicBezTo>
                  <a:cubicBezTo>
                    <a:pt x="136990" y="180594"/>
                    <a:pt x="175185" y="145669"/>
                    <a:pt x="180404" y="100838"/>
                  </a:cubicBezTo>
                  <a:lnTo>
                    <a:pt x="291168" y="100838"/>
                  </a:lnTo>
                  <a:cubicBezTo>
                    <a:pt x="296388" y="145796"/>
                    <a:pt x="334582" y="180594"/>
                    <a:pt x="381052" y="180594"/>
                  </a:cubicBezTo>
                  <a:cubicBezTo>
                    <a:pt x="396330" y="180594"/>
                    <a:pt x="410716" y="176784"/>
                    <a:pt x="423320" y="170053"/>
                  </a:cubicBezTo>
                  <a:lnTo>
                    <a:pt x="496526" y="276098"/>
                  </a:lnTo>
                  <a:cubicBezTo>
                    <a:pt x="477556" y="292608"/>
                    <a:pt x="465589" y="316865"/>
                    <a:pt x="465589" y="344043"/>
                  </a:cubicBezTo>
                  <a:cubicBezTo>
                    <a:pt x="465589" y="393954"/>
                    <a:pt x="506075" y="434340"/>
                    <a:pt x="556109" y="434340"/>
                  </a:cubicBezTo>
                  <a:cubicBezTo>
                    <a:pt x="606144" y="434340"/>
                    <a:pt x="646630" y="393954"/>
                    <a:pt x="646630" y="344043"/>
                  </a:cubicBezTo>
                  <a:cubicBezTo>
                    <a:pt x="646630" y="294132"/>
                    <a:pt x="606144" y="253746"/>
                    <a:pt x="556109" y="253746"/>
                  </a:cubicBezTo>
                  <a:close/>
                </a:path>
              </a:pathLst>
            </a:custGeom>
            <a:solidFill>
              <a:srgbClr val="E5834B"/>
            </a:solidFill>
            <a:ln w="0" cap="flat">
              <a:noFill/>
              <a:prstDash val="solid"/>
              <a:miter/>
            </a:ln>
          </p:spPr>
          <p:txBody>
            <a:bodyPr rtlCol="0" anchor="ctr"/>
            <a:lstStyle/>
            <a:p>
              <a:endParaRPr lang="en-AD" sz="2400"/>
            </a:p>
          </p:txBody>
        </p:sp>
        <p:sp>
          <p:nvSpPr>
            <p:cNvPr id="10" name="Freeform 9">
              <a:extLst>
                <a:ext uri="{FF2B5EF4-FFF2-40B4-BE49-F238E27FC236}">
                  <a16:creationId xmlns:a16="http://schemas.microsoft.com/office/drawing/2014/main" id="{373C4340-C4CA-4E86-B56F-4B9C1B1A3620}"/>
                </a:ext>
              </a:extLst>
            </p:cNvPr>
            <p:cNvSpPr/>
            <p:nvPr/>
          </p:nvSpPr>
          <p:spPr>
            <a:xfrm>
              <a:off x="1148442" y="1189323"/>
              <a:ext cx="519994" cy="314199"/>
            </a:xfrm>
            <a:custGeom>
              <a:avLst/>
              <a:gdLst>
                <a:gd name="connsiteX0" fmla="*/ 186845 w 519994"/>
                <a:gd name="connsiteY0" fmla="*/ 24289 h 314199"/>
                <a:gd name="connsiteX1" fmla="*/ 9114 w 519994"/>
                <a:gd name="connsiteY1" fmla="*/ 254286 h 314199"/>
                <a:gd name="connsiteX2" fmla="*/ 75 w 519994"/>
                <a:gd name="connsiteY2" fmla="*/ 276257 h 314199"/>
                <a:gd name="connsiteX3" fmla="*/ 47945 w 519994"/>
                <a:gd name="connsiteY3" fmla="*/ 310420 h 314199"/>
                <a:gd name="connsiteX4" fmla="*/ 474193 w 519994"/>
                <a:gd name="connsiteY4" fmla="*/ 312071 h 314199"/>
                <a:gd name="connsiteX5" fmla="*/ 517607 w 519994"/>
                <a:gd name="connsiteY5" fmla="*/ 292005 h 314199"/>
                <a:gd name="connsiteX6" fmla="*/ 510860 w 519994"/>
                <a:gd name="connsiteY6" fmla="*/ 254286 h 314199"/>
                <a:gd name="connsiteX7" fmla="*/ 333129 w 519994"/>
                <a:gd name="connsiteY7" fmla="*/ 24289 h 314199"/>
                <a:gd name="connsiteX8" fmla="*/ 186845 w 519994"/>
                <a:gd name="connsiteY8" fmla="*/ 24289 h 31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9994" h="314199">
                  <a:moveTo>
                    <a:pt x="186845" y="24289"/>
                  </a:moveTo>
                  <a:lnTo>
                    <a:pt x="9114" y="254286"/>
                  </a:lnTo>
                  <a:cubicBezTo>
                    <a:pt x="3385" y="260890"/>
                    <a:pt x="584" y="268637"/>
                    <a:pt x="75" y="276257"/>
                  </a:cubicBezTo>
                  <a:cubicBezTo>
                    <a:pt x="-1581" y="302292"/>
                    <a:pt x="24646" y="320580"/>
                    <a:pt x="47945" y="310420"/>
                  </a:cubicBezTo>
                  <a:cubicBezTo>
                    <a:pt x="182771" y="251746"/>
                    <a:pt x="325363" y="256191"/>
                    <a:pt x="474193" y="312071"/>
                  </a:cubicBezTo>
                  <a:cubicBezTo>
                    <a:pt x="491508" y="318548"/>
                    <a:pt x="511114" y="309785"/>
                    <a:pt x="517607" y="292005"/>
                  </a:cubicBezTo>
                  <a:cubicBezTo>
                    <a:pt x="522064" y="279940"/>
                    <a:pt x="520536" y="265462"/>
                    <a:pt x="510860" y="254286"/>
                  </a:cubicBezTo>
                  <a:lnTo>
                    <a:pt x="333129" y="24289"/>
                  </a:lnTo>
                  <a:cubicBezTo>
                    <a:pt x="305247" y="-8096"/>
                    <a:pt x="214727" y="-8096"/>
                    <a:pt x="186845" y="24289"/>
                  </a:cubicBezTo>
                  <a:close/>
                </a:path>
              </a:pathLst>
            </a:custGeom>
            <a:solidFill>
              <a:srgbClr val="1D4966"/>
            </a:solidFill>
            <a:ln w="0" cap="flat">
              <a:noFill/>
              <a:prstDash val="solid"/>
              <a:miter/>
            </a:ln>
          </p:spPr>
          <p:txBody>
            <a:bodyPr rtlCol="0" anchor="ctr"/>
            <a:lstStyle/>
            <a:p>
              <a:endParaRPr lang="en-AD" sz="2400"/>
            </a:p>
          </p:txBody>
        </p:sp>
      </p:grpSp>
      <p:sp>
        <p:nvSpPr>
          <p:cNvPr id="11" name="Text Placeholder 13">
            <a:extLst>
              <a:ext uri="{FF2B5EF4-FFF2-40B4-BE49-F238E27FC236}">
                <a16:creationId xmlns:a16="http://schemas.microsoft.com/office/drawing/2014/main" id="{CFE26E6B-DA41-498F-7A15-C79807CE61CE}"/>
              </a:ext>
            </a:extLst>
          </p:cNvPr>
          <p:cNvSpPr>
            <a:spLocks noGrp="1"/>
          </p:cNvSpPr>
          <p:nvPr>
            <p:ph type="body" sz="quarter" idx="11" hasCustomPrompt="1"/>
          </p:nvPr>
        </p:nvSpPr>
        <p:spPr>
          <a:xfrm>
            <a:off x="5486400" y="3952876"/>
            <a:ext cx="6220800" cy="1943381"/>
          </a:xfrm>
        </p:spPr>
        <p:txBody>
          <a:bodyPr>
            <a:noAutofit/>
          </a:bodyPr>
          <a:lstStyle>
            <a:lvl1pPr marL="0" indent="0">
              <a:lnSpc>
                <a:spcPts val="1867"/>
              </a:lnSpc>
              <a:spcBef>
                <a:spcPts val="800"/>
              </a:spcBef>
              <a:buNone/>
              <a:defRPr sz="1333">
                <a:solidFill>
                  <a:schemeClr val="tx1"/>
                </a:solidFill>
              </a:defRPr>
            </a:lvl1pPr>
            <a:lvl2pPr>
              <a:defRPr sz="1333"/>
            </a:lvl2pPr>
            <a:lvl3pPr>
              <a:defRPr sz="1333"/>
            </a:lvl3pPr>
            <a:lvl4pPr>
              <a:defRPr sz="1333"/>
            </a:lvl4pPr>
            <a:lvl5pPr>
              <a:defRPr sz="1333"/>
            </a:lvl5pPr>
          </a:lstStyle>
          <a:p>
            <a:pPr lvl="0"/>
            <a:r>
              <a:rPr lang="en-US"/>
              <a:t>Contrary to popular belief, Lorem Ipsum is not simply random text. It has roots in a piece of classical Latin literature from 45 BC, making it over 2000 years old. Richard McClintock, a Latin professor at Hampden-Sydney College in Virginia, looked up one of the more obscure Latin words, consectetur, from a Lorem Ipsum passage, and going through the cites of the word in classical literature, discovered the undoubtable source.</a:t>
            </a:r>
          </a:p>
        </p:txBody>
      </p:sp>
      <p:sp>
        <p:nvSpPr>
          <p:cNvPr id="12" name="Text Placeholder 11">
            <a:extLst>
              <a:ext uri="{FF2B5EF4-FFF2-40B4-BE49-F238E27FC236}">
                <a16:creationId xmlns:a16="http://schemas.microsoft.com/office/drawing/2014/main" id="{9D6BF36C-823E-4B0C-1803-1CFEFE13204D}"/>
              </a:ext>
            </a:extLst>
          </p:cNvPr>
          <p:cNvSpPr>
            <a:spLocks noGrp="1"/>
          </p:cNvSpPr>
          <p:nvPr>
            <p:ph type="body" sz="quarter" idx="12" hasCustomPrompt="1"/>
          </p:nvPr>
        </p:nvSpPr>
        <p:spPr>
          <a:xfrm>
            <a:off x="5486399" y="3199301"/>
            <a:ext cx="6220799" cy="370416"/>
          </a:xfrm>
        </p:spPr>
        <p:txBody>
          <a:bodyPr>
            <a:noAutofit/>
          </a:bodyPr>
          <a:lstStyle>
            <a:lvl1pPr marL="0" indent="0">
              <a:buNone/>
              <a:defRPr sz="1867">
                <a:solidFill>
                  <a:schemeClr val="tx2"/>
                </a:solidFill>
              </a:defRPr>
            </a:lvl1pPr>
            <a:lvl2pPr>
              <a:defRPr sz="2000"/>
            </a:lvl2pPr>
            <a:lvl3pPr>
              <a:defRPr sz="2000"/>
            </a:lvl3pPr>
            <a:lvl4pPr>
              <a:defRPr sz="2000"/>
            </a:lvl4pPr>
            <a:lvl5pPr>
              <a:defRPr sz="2000"/>
            </a:lvl5pPr>
          </a:lstStyle>
          <a:p>
            <a:pPr lvl="0"/>
            <a:r>
              <a:rPr lang="en-US"/>
              <a:t>CLICK TO EDIT SUBTITLE</a:t>
            </a:r>
          </a:p>
        </p:txBody>
      </p:sp>
    </p:spTree>
    <p:extLst>
      <p:ext uri="{BB962C8B-B14F-4D97-AF65-F5344CB8AC3E}">
        <p14:creationId xmlns:p14="http://schemas.microsoft.com/office/powerpoint/2010/main" val="2439564473"/>
      </p:ext>
    </p:extLst>
  </p:cSld>
  <p:clrMapOvr>
    <a:masterClrMapping/>
  </p:clrMapOvr>
  <p:extLst>
    <p:ext uri="{DCECCB84-F9BA-43D5-87BE-67443E8EF086}">
      <p15:sldGuideLst xmlns:p15="http://schemas.microsoft.com/office/powerpoint/2012/main">
        <p15:guide id="1" orient="horz" pos="3049">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8C7BF-77BD-BB0D-3549-8E58947BD6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B702D1F-3EAA-F908-1C00-9A384C4344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1E82D75-C0C6-D54C-2E7A-83ED3F4A1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F1F330-4B73-FB86-5C21-AE2944EBE884}"/>
              </a:ext>
            </a:extLst>
          </p:cNvPr>
          <p:cNvSpPr>
            <a:spLocks noGrp="1"/>
          </p:cNvSpPr>
          <p:nvPr>
            <p:ph type="dt" sz="half" idx="10"/>
          </p:nvPr>
        </p:nvSpPr>
        <p:spPr/>
        <p:txBody>
          <a:bodyPr/>
          <a:lstStyle/>
          <a:p>
            <a:fld id="{22D56197-B977-4894-A467-BB9F1C377A2F}" type="datetimeFigureOut">
              <a:rPr lang="en-US" smtClean="0"/>
              <a:t>7/9/2025</a:t>
            </a:fld>
            <a:endParaRPr lang="en-US"/>
          </a:p>
        </p:txBody>
      </p:sp>
      <p:sp>
        <p:nvSpPr>
          <p:cNvPr id="6" name="Footer Placeholder 5">
            <a:extLst>
              <a:ext uri="{FF2B5EF4-FFF2-40B4-BE49-F238E27FC236}">
                <a16:creationId xmlns:a16="http://schemas.microsoft.com/office/drawing/2014/main" id="{7F61950B-7B84-6631-827B-D8D2208F59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75515E-8E80-A7B5-4490-A1036FCA7B49}"/>
              </a:ext>
            </a:extLst>
          </p:cNvPr>
          <p:cNvSpPr>
            <a:spLocks noGrp="1"/>
          </p:cNvSpPr>
          <p:nvPr>
            <p:ph type="sldNum" sz="quarter" idx="12"/>
          </p:nvPr>
        </p:nvSpPr>
        <p:spPr/>
        <p:txBody>
          <a:bodyPr/>
          <a:lstStyle/>
          <a:p>
            <a:fld id="{146357A6-65A8-4B72-BE1F-7201F4B28CE2}" type="slidenum">
              <a:rPr lang="en-US" smtClean="0"/>
              <a:t>‹#›</a:t>
            </a:fld>
            <a:endParaRPr lang="en-US"/>
          </a:p>
        </p:txBody>
      </p:sp>
    </p:spTree>
    <p:extLst>
      <p:ext uri="{BB962C8B-B14F-4D97-AF65-F5344CB8AC3E}">
        <p14:creationId xmlns:p14="http://schemas.microsoft.com/office/powerpoint/2010/main" val="21093883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heme" Target="../theme/theme4.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5E6D4E-774A-2822-9310-6E1C0F67DF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8702344-7B93-038C-942A-6E5FE58D9B8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011A99-16A0-E872-F99C-C8B4178FB7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2D56197-B977-4894-A467-BB9F1C377A2F}" type="datetimeFigureOut">
              <a:rPr lang="en-US" smtClean="0"/>
              <a:t>7/9/2025</a:t>
            </a:fld>
            <a:endParaRPr lang="en-US"/>
          </a:p>
        </p:txBody>
      </p:sp>
      <p:sp>
        <p:nvSpPr>
          <p:cNvPr id="5" name="Footer Placeholder 4">
            <a:extLst>
              <a:ext uri="{FF2B5EF4-FFF2-40B4-BE49-F238E27FC236}">
                <a16:creationId xmlns:a16="http://schemas.microsoft.com/office/drawing/2014/main" id="{050D9287-161F-4919-60ED-D5F5B12325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7C3AE35-4767-430F-7B13-8F55F6F7E2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6357A6-65A8-4B72-BE1F-7201F4B28CE2}" type="slidenum">
              <a:rPr lang="en-US" smtClean="0"/>
              <a:t>‹#›</a:t>
            </a:fld>
            <a:endParaRPr lang="en-US"/>
          </a:p>
        </p:txBody>
      </p:sp>
    </p:spTree>
    <p:extLst>
      <p:ext uri="{BB962C8B-B14F-4D97-AF65-F5344CB8AC3E}">
        <p14:creationId xmlns:p14="http://schemas.microsoft.com/office/powerpoint/2010/main" val="19284460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74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0000" y="307200"/>
            <a:ext cx="11227200" cy="806400"/>
          </a:xfrm>
          <a:prstGeom prst="rect">
            <a:avLst/>
          </a:prstGeom>
        </p:spPr>
        <p:txBody>
          <a:bodyPr vert="horz" lIns="0" tIns="0" rIns="0" bIns="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480000" y="1316736"/>
            <a:ext cx="11232000" cy="4606464"/>
          </a:xfrm>
          <a:prstGeom prst="rect">
            <a:avLst/>
          </a:prstGeom>
        </p:spPr>
        <p:txBody>
          <a:bodyPr vert="horz" lIns="0" tIns="0" rIns="0" bIns="0" rtlCol="0">
            <a:norm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10977600" y="6307201"/>
            <a:ext cx="729600" cy="547199"/>
          </a:xfrm>
          <a:prstGeom prst="rect">
            <a:avLst/>
          </a:prstGeom>
        </p:spPr>
        <p:txBody>
          <a:bodyPr vert="horz" lIns="0" tIns="0" rIns="0" bIns="0" rtlCol="0" anchor="t" anchorCtr="0"/>
          <a:lstStyle>
            <a:lvl1pPr algn="r">
              <a:defRPr sz="1467">
                <a:solidFill>
                  <a:schemeClr val="tx1"/>
                </a:solidFill>
              </a:defRPr>
            </a:lvl1pPr>
          </a:lstStyle>
          <a:p>
            <a:fld id="{48F63A3B-78C7-47BE-AE5E-E10140E04643}" type="slidenum">
              <a:rPr lang="en-US" smtClean="0"/>
              <a:pPr/>
              <a:t>‹#›</a:t>
            </a:fld>
            <a:endParaRPr lang="en-US" dirty="0"/>
          </a:p>
        </p:txBody>
      </p:sp>
      <p:sp>
        <p:nvSpPr>
          <p:cNvPr id="5" name="TextBox 4">
            <a:extLst>
              <a:ext uri="{FF2B5EF4-FFF2-40B4-BE49-F238E27FC236}">
                <a16:creationId xmlns:a16="http://schemas.microsoft.com/office/drawing/2014/main" id="{53789D1E-924B-B429-A136-6221CEB4ECB0}"/>
              </a:ext>
            </a:extLst>
          </p:cNvPr>
          <p:cNvSpPr txBox="1"/>
          <p:nvPr userDrawn="1">
            <p:extLst>
              <p:ext uri="{1162E1C5-73C7-4A58-AE30-91384D911F3F}">
                <p184:classification xmlns:p184="http://schemas.microsoft.com/office/powerpoint/2018/4/main" val="ftr"/>
              </p:ext>
            </p:extLst>
          </p:nvPr>
        </p:nvSpPr>
        <p:spPr>
          <a:xfrm>
            <a:off x="5683251" y="6570134"/>
            <a:ext cx="863600" cy="205121"/>
          </a:xfrm>
          <a:prstGeom prst="rect">
            <a:avLst/>
          </a:prstGeom>
        </p:spPr>
        <p:txBody>
          <a:bodyPr horzOverflow="overflow" lIns="0" tIns="0" rIns="0" bIns="0">
            <a:spAutoFit/>
          </a:bodyPr>
          <a:lstStyle/>
          <a:p>
            <a:pPr algn="l"/>
            <a:r>
              <a:rPr lang="en-DE" sz="1333">
                <a:solidFill>
                  <a:srgbClr val="000000"/>
                </a:solidFill>
                <a:latin typeface="Calibri" panose="020F0502020204030204" pitchFamily="34" charset="0"/>
                <a:cs typeface="Calibri" panose="020F0502020204030204" pitchFamily="34" charset="0"/>
              </a:rPr>
              <a:t>Non-Amgen</a:t>
            </a:r>
          </a:p>
        </p:txBody>
      </p:sp>
    </p:spTree>
    <p:extLst>
      <p:ext uri="{BB962C8B-B14F-4D97-AF65-F5344CB8AC3E}">
        <p14:creationId xmlns:p14="http://schemas.microsoft.com/office/powerpoint/2010/main" val="209651138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Lst>
  <p:hf hdr="0" ftr="0" dt="0"/>
  <p:txStyles>
    <p:titleStyle>
      <a:lvl1pPr algn="l" defTabSz="914377"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39994"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600" kern="1200">
          <a:solidFill>
            <a:schemeClr val="tx1"/>
          </a:solidFill>
          <a:latin typeface="+mn-lt"/>
          <a:ea typeface="+mn-ea"/>
          <a:cs typeface="+mn-cs"/>
        </a:defRPr>
      </a:lvl1pPr>
      <a:lvl2pPr marL="479988"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467" kern="1200">
          <a:solidFill>
            <a:schemeClr val="tx1"/>
          </a:solidFill>
          <a:latin typeface="+mn-lt"/>
          <a:ea typeface="+mn-ea"/>
          <a:cs typeface="+mn-cs"/>
        </a:defRPr>
      </a:lvl2pPr>
      <a:lvl3pPr marL="719982"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333" kern="1200">
          <a:solidFill>
            <a:schemeClr val="tx1"/>
          </a:solidFill>
          <a:latin typeface="+mn-lt"/>
          <a:ea typeface="+mn-ea"/>
          <a:cs typeface="+mn-cs"/>
        </a:defRPr>
      </a:lvl3pPr>
      <a:lvl4pPr marL="959976"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4pPr>
      <a:lvl5pPr marL="1199970"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0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0000" y="307200"/>
            <a:ext cx="11227200" cy="80640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480000" y="1316736"/>
            <a:ext cx="11232000" cy="4606464"/>
          </a:xfrm>
          <a:prstGeom prst="rect">
            <a:avLst/>
          </a:prstGeom>
        </p:spPr>
        <p:txBody>
          <a:bodyPr vert="horz" lIns="0" tIns="0" rIns="0" bIns="0" rtlCol="0">
            <a:norm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10977600" y="6307201"/>
            <a:ext cx="729600" cy="547199"/>
          </a:xfrm>
          <a:prstGeom prst="rect">
            <a:avLst/>
          </a:prstGeom>
        </p:spPr>
        <p:txBody>
          <a:bodyPr vert="horz" lIns="0" tIns="0" rIns="0" bIns="0" rtlCol="0" anchor="t" anchorCtr="0"/>
          <a:lstStyle>
            <a:lvl1pPr algn="r">
              <a:defRPr sz="1467">
                <a:solidFill>
                  <a:schemeClr val="tx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193006188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Lst>
  <p:hf hdr="0" ftr="0" dt="0"/>
  <p:txStyles>
    <p:titleStyle>
      <a:lvl1pPr algn="l" defTabSz="914377"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39994"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600" kern="1200">
          <a:solidFill>
            <a:schemeClr val="tx1"/>
          </a:solidFill>
          <a:latin typeface="+mn-lt"/>
          <a:ea typeface="+mn-ea"/>
          <a:cs typeface="+mn-cs"/>
        </a:defRPr>
      </a:lvl1pPr>
      <a:lvl2pPr marL="479988"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467" kern="1200">
          <a:solidFill>
            <a:schemeClr val="tx1"/>
          </a:solidFill>
          <a:latin typeface="+mn-lt"/>
          <a:ea typeface="+mn-ea"/>
          <a:cs typeface="+mn-cs"/>
        </a:defRPr>
      </a:lvl2pPr>
      <a:lvl3pPr marL="719982"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333" kern="1200">
          <a:solidFill>
            <a:schemeClr val="tx1"/>
          </a:solidFill>
          <a:latin typeface="+mn-lt"/>
          <a:ea typeface="+mn-ea"/>
          <a:cs typeface="+mn-cs"/>
        </a:defRPr>
      </a:lvl3pPr>
      <a:lvl4pPr marL="959976"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4pPr>
      <a:lvl5pPr marL="1199970"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0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0000" y="307200"/>
            <a:ext cx="11227200" cy="80640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480000" y="1316736"/>
            <a:ext cx="11232000" cy="4606464"/>
          </a:xfrm>
          <a:prstGeom prst="rect">
            <a:avLst/>
          </a:prstGeom>
        </p:spPr>
        <p:txBody>
          <a:bodyPr vert="horz" lIns="0" tIns="0" rIns="0" bIns="0" rtlCol="0">
            <a:norm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10977600" y="6307201"/>
            <a:ext cx="729600" cy="547199"/>
          </a:xfrm>
          <a:prstGeom prst="rect">
            <a:avLst/>
          </a:prstGeom>
        </p:spPr>
        <p:txBody>
          <a:bodyPr vert="horz" lIns="0" tIns="0" rIns="0" bIns="0" rtlCol="0" anchor="t" anchorCtr="0"/>
          <a:lstStyle>
            <a:lvl1pPr algn="r">
              <a:defRPr sz="1467">
                <a:solidFill>
                  <a:schemeClr val="tx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75356057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Lst>
  <p:hf hdr="0" ftr="0" dt="0"/>
  <p:txStyles>
    <p:titleStyle>
      <a:lvl1pPr algn="l" defTabSz="914377"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39994"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600" kern="1200">
          <a:solidFill>
            <a:schemeClr val="tx1"/>
          </a:solidFill>
          <a:latin typeface="+mn-lt"/>
          <a:ea typeface="+mn-ea"/>
          <a:cs typeface="+mn-cs"/>
        </a:defRPr>
      </a:lvl1pPr>
      <a:lvl2pPr marL="479988"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467" kern="1200">
          <a:solidFill>
            <a:schemeClr val="tx1"/>
          </a:solidFill>
          <a:latin typeface="+mn-lt"/>
          <a:ea typeface="+mn-ea"/>
          <a:cs typeface="+mn-cs"/>
        </a:defRPr>
      </a:lvl2pPr>
      <a:lvl3pPr marL="719982"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333" kern="1200">
          <a:solidFill>
            <a:schemeClr val="tx1"/>
          </a:solidFill>
          <a:latin typeface="+mn-lt"/>
          <a:ea typeface="+mn-ea"/>
          <a:cs typeface="+mn-cs"/>
        </a:defRPr>
      </a:lvl3pPr>
      <a:lvl4pPr marL="959976"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4pPr>
      <a:lvl5pPr marL="1199970" indent="-239994" algn="l" defTabSz="914377" rtl="0" eaLnBrk="1" fontAlgn="ctr" latinLnBrk="0" hangingPunct="1">
        <a:lnSpc>
          <a:spcPct val="120000"/>
        </a:lnSpc>
        <a:spcBef>
          <a:spcPts val="667"/>
        </a:spcBef>
        <a:spcAft>
          <a:spcPts val="0"/>
        </a:spcAft>
        <a:buClr>
          <a:schemeClr val="tx2"/>
        </a:buClr>
        <a:buSzPct val="100000"/>
        <a:buFont typeface="Arial" panose="020B0604020202020204" pitchFamily="34" charset="0"/>
        <a:buChar char="•"/>
        <a:defRPr sz="10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59.png"/><Relationship Id="rId18" Type="http://schemas.openxmlformats.org/officeDocument/2006/relationships/image" Target="../media/image72.png"/><Relationship Id="rId3" Type="http://schemas.openxmlformats.org/officeDocument/2006/relationships/image" Target="../media/image34.png"/><Relationship Id="rId7" Type="http://schemas.openxmlformats.org/officeDocument/2006/relationships/image" Target="../media/image41.png"/><Relationship Id="rId12" Type="http://schemas.openxmlformats.org/officeDocument/2006/relationships/image" Target="../media/image67.png"/><Relationship Id="rId17" Type="http://schemas.openxmlformats.org/officeDocument/2006/relationships/image" Target="../media/image71.jpeg"/><Relationship Id="rId2" Type="http://schemas.openxmlformats.org/officeDocument/2006/relationships/notesSlide" Target="../notesSlides/notesSlide2.xml"/><Relationship Id="rId16" Type="http://schemas.openxmlformats.org/officeDocument/2006/relationships/image" Target="../media/image70.png"/><Relationship Id="rId1" Type="http://schemas.openxmlformats.org/officeDocument/2006/relationships/slideLayout" Target="../slideLayouts/slideLayout7.xml"/><Relationship Id="rId6" Type="http://schemas.openxmlformats.org/officeDocument/2006/relationships/image" Target="../media/image39.png"/><Relationship Id="rId11" Type="http://schemas.openxmlformats.org/officeDocument/2006/relationships/image" Target="../media/image53.png"/><Relationship Id="rId5" Type="http://schemas.openxmlformats.org/officeDocument/2006/relationships/image" Target="../media/image36.png"/><Relationship Id="rId15" Type="http://schemas.openxmlformats.org/officeDocument/2006/relationships/image" Target="../media/image69.jpeg"/><Relationship Id="rId10" Type="http://schemas.openxmlformats.org/officeDocument/2006/relationships/image" Target="../media/image52.png"/><Relationship Id="rId19" Type="http://schemas.openxmlformats.org/officeDocument/2006/relationships/image" Target="../media/image60.png"/><Relationship Id="rId4" Type="http://schemas.openxmlformats.org/officeDocument/2006/relationships/image" Target="../media/image35.png"/><Relationship Id="rId9" Type="http://schemas.openxmlformats.org/officeDocument/2006/relationships/image" Target="../media/image45.png"/><Relationship Id="rId14" Type="http://schemas.openxmlformats.org/officeDocument/2006/relationships/image" Target="../media/image68.jpeg"/></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image" Target="../media/image16.png"/><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tiff"/></Relationships>
</file>

<file path=ppt/slides/_rels/slide8.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jpeg"/><Relationship Id="rId38" Type="http://schemas.openxmlformats.org/officeDocument/2006/relationships/image" Target="../media/image60.png"/><Relationship Id="rId2" Type="http://schemas.openxmlformats.org/officeDocument/2006/relationships/image" Target="../media/image25.png"/><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29.png"/><Relationship Id="rId11" Type="http://schemas.openxmlformats.org/officeDocument/2006/relationships/image" Target="http://huisstijl.vub.ac.be/wp-content/uploads/2016/09/het-vub-logo.png" TargetMode="External"/><Relationship Id="rId24" Type="http://schemas.openxmlformats.org/officeDocument/2006/relationships/image" Target="../media/image46.png"/><Relationship Id="rId32" Type="http://schemas.openxmlformats.org/officeDocument/2006/relationships/image" Target="../media/image54.jpeg"/><Relationship Id="rId37" Type="http://schemas.openxmlformats.org/officeDocument/2006/relationships/image" Target="../media/image59.png"/><Relationship Id="rId5" Type="http://schemas.openxmlformats.org/officeDocument/2006/relationships/image" Target="../media/image28.jpe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jpeg"/><Relationship Id="rId36" Type="http://schemas.openxmlformats.org/officeDocument/2006/relationships/image" Target="../media/image58.png"/><Relationship Id="rId10" Type="http://schemas.openxmlformats.org/officeDocument/2006/relationships/image" Target="../media/image33.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7.png"/><Relationship Id="rId9" Type="http://schemas.openxmlformats.org/officeDocument/2006/relationships/image" Target="../media/image32.jpe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jpeg"/><Relationship Id="rId8" Type="http://schemas.openxmlformats.org/officeDocument/2006/relationships/image" Target="../media/image31.png"/><Relationship Id="rId3"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8C50D-D57E-D554-A42A-A9FB15A849DF}"/>
              </a:ext>
            </a:extLst>
          </p:cNvPr>
          <p:cNvSpPr>
            <a:spLocks noGrp="1"/>
          </p:cNvSpPr>
          <p:nvPr>
            <p:ph type="ctrTitle"/>
          </p:nvPr>
        </p:nvSpPr>
        <p:spPr>
          <a:xfrm>
            <a:off x="1524000" y="1422988"/>
            <a:ext cx="9144000" cy="2387600"/>
          </a:xfrm>
        </p:spPr>
        <p:txBody>
          <a:bodyPr>
            <a:normAutofit fontScale="90000"/>
          </a:bodyPr>
          <a:lstStyle/>
          <a:p>
            <a:r>
              <a:rPr lang="en-US" dirty="0">
                <a:solidFill>
                  <a:schemeClr val="accent1"/>
                </a:solidFill>
              </a:rPr>
              <a:t>Virtual Control Groups (VCGs) in Preclinical Drug Safety Assessment</a:t>
            </a:r>
            <a:br>
              <a:rPr lang="en-US" dirty="0">
                <a:solidFill>
                  <a:schemeClr val="accent1"/>
                </a:solidFill>
              </a:rPr>
            </a:br>
            <a:endParaRPr lang="en-US" dirty="0">
              <a:solidFill>
                <a:schemeClr val="accent1"/>
              </a:solidFill>
            </a:endParaRPr>
          </a:p>
        </p:txBody>
      </p:sp>
      <p:sp>
        <p:nvSpPr>
          <p:cNvPr id="3" name="Subtitle 2">
            <a:extLst>
              <a:ext uri="{FF2B5EF4-FFF2-40B4-BE49-F238E27FC236}">
                <a16:creationId xmlns:a16="http://schemas.microsoft.com/office/drawing/2014/main" id="{C59F2F14-89B1-1D1F-7186-DEFDCD8D9654}"/>
              </a:ext>
            </a:extLst>
          </p:cNvPr>
          <p:cNvSpPr>
            <a:spLocks noGrp="1"/>
          </p:cNvSpPr>
          <p:nvPr>
            <p:ph type="subTitle" idx="1"/>
          </p:nvPr>
        </p:nvSpPr>
        <p:spPr>
          <a:xfrm>
            <a:off x="1524000" y="4002871"/>
            <a:ext cx="9144000" cy="1655762"/>
          </a:xfrm>
        </p:spPr>
        <p:txBody>
          <a:bodyPr>
            <a:normAutofit/>
          </a:bodyPr>
          <a:lstStyle/>
          <a:p>
            <a:r>
              <a:rPr lang="en-US" sz="3200" dirty="0">
                <a:solidFill>
                  <a:schemeClr val="accent1"/>
                </a:solidFill>
              </a:rPr>
              <a:t>Dean (Dingzhou) Li</a:t>
            </a:r>
          </a:p>
          <a:p>
            <a:r>
              <a:rPr lang="en-US" sz="3200" dirty="0">
                <a:solidFill>
                  <a:schemeClr val="accent1"/>
                </a:solidFill>
              </a:rPr>
              <a:t>Nonclinical Statistics, Pfizer</a:t>
            </a:r>
          </a:p>
        </p:txBody>
      </p:sp>
    </p:spTree>
    <p:extLst>
      <p:ext uri="{BB962C8B-B14F-4D97-AF65-F5344CB8AC3E}">
        <p14:creationId xmlns:p14="http://schemas.microsoft.com/office/powerpoint/2010/main" val="3525980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F2DE0-8823-615B-5F2E-7B9547469D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3FA324-04D7-E106-ACFF-B0F72FEE1B92}"/>
              </a:ext>
            </a:extLst>
          </p:cNvPr>
          <p:cNvSpPr>
            <a:spLocks noGrp="1"/>
          </p:cNvSpPr>
          <p:nvPr>
            <p:ph type="title"/>
          </p:nvPr>
        </p:nvSpPr>
        <p:spPr>
          <a:xfrm>
            <a:off x="412010" y="117080"/>
            <a:ext cx="10076949" cy="796800"/>
          </a:xfrm>
        </p:spPr>
        <p:txBody>
          <a:bodyPr>
            <a:noAutofit/>
          </a:bodyPr>
          <a:lstStyle/>
          <a:p>
            <a:r>
              <a:rPr lang="es-ES" sz="2800" b="1" dirty="0">
                <a:solidFill>
                  <a:schemeClr val="accent1"/>
                </a:solidFill>
                <a:latin typeface="Calibri"/>
                <a:ea typeface="Calibri"/>
                <a:cs typeface="Calibri"/>
              </a:rPr>
              <a:t>VICT3R: </a:t>
            </a:r>
            <a:r>
              <a:rPr lang="en-GB" sz="2667" dirty="0"/>
              <a:t>Setting Up a Procedure for Retrospective VCG Testing</a:t>
            </a:r>
            <a:endParaRPr lang="en-US" sz="2667" dirty="0"/>
          </a:p>
        </p:txBody>
      </p:sp>
      <p:sp>
        <p:nvSpPr>
          <p:cNvPr id="6" name="Slide Number Placeholder 5">
            <a:extLst>
              <a:ext uri="{FF2B5EF4-FFF2-40B4-BE49-F238E27FC236}">
                <a16:creationId xmlns:a16="http://schemas.microsoft.com/office/drawing/2014/main" id="{E5BFE583-AF57-868A-7C21-D03B70AB79EF}"/>
              </a:ext>
            </a:extLst>
          </p:cNvPr>
          <p:cNvSpPr>
            <a:spLocks noGrp="1"/>
          </p:cNvSpPr>
          <p:nvPr>
            <p:ph type="sldNum" sz="quarter" idx="10"/>
          </p:nvPr>
        </p:nvSpPr>
        <p:spPr/>
        <p:txBody>
          <a:bodyPr/>
          <a:lstStyle/>
          <a:p>
            <a:fld id="{48F63A3B-78C7-47BE-AE5E-E10140E04643}" type="slidenum">
              <a:rPr lang="en-US" smtClean="0"/>
              <a:pPr/>
              <a:t>10</a:t>
            </a:fld>
            <a:endParaRPr lang="en-US"/>
          </a:p>
        </p:txBody>
      </p:sp>
      <p:grpSp>
        <p:nvGrpSpPr>
          <p:cNvPr id="10" name="Google Shape;902;p31">
            <a:extLst>
              <a:ext uri="{FF2B5EF4-FFF2-40B4-BE49-F238E27FC236}">
                <a16:creationId xmlns:a16="http://schemas.microsoft.com/office/drawing/2014/main" id="{EE78A29A-815D-A712-4651-B6E33395964D}"/>
              </a:ext>
            </a:extLst>
          </p:cNvPr>
          <p:cNvGrpSpPr/>
          <p:nvPr/>
        </p:nvGrpSpPr>
        <p:grpSpPr>
          <a:xfrm>
            <a:off x="593461" y="1371307"/>
            <a:ext cx="8928944" cy="4637072"/>
            <a:chOff x="577082" y="310"/>
            <a:chExt cx="6696708" cy="3477804"/>
          </a:xfrm>
        </p:grpSpPr>
        <p:sp>
          <p:nvSpPr>
            <p:cNvPr id="42" name="Google Shape;934;p31">
              <a:extLst>
                <a:ext uri="{FF2B5EF4-FFF2-40B4-BE49-F238E27FC236}">
                  <a16:creationId xmlns:a16="http://schemas.microsoft.com/office/drawing/2014/main" id="{A23653EC-3476-D9DA-2CD4-8D5F06457968}"/>
                </a:ext>
              </a:extLst>
            </p:cNvPr>
            <p:cNvSpPr/>
            <p:nvPr/>
          </p:nvSpPr>
          <p:spPr>
            <a:xfrm>
              <a:off x="860508" y="2774914"/>
              <a:ext cx="1125300" cy="703200"/>
            </a:xfrm>
            <a:prstGeom prst="roundRect">
              <a:avLst>
                <a:gd name="adj" fmla="val 10000"/>
              </a:avLst>
            </a:prstGeom>
            <a:solidFill>
              <a:srgbClr val="E6ECEF">
                <a:alpha val="89410"/>
              </a:srgbClr>
            </a:solidFill>
            <a:ln w="2540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400"/>
              </a:pPr>
              <a:endParaRPr sz="1867"/>
            </a:p>
          </p:txBody>
        </p:sp>
        <p:sp>
          <p:nvSpPr>
            <p:cNvPr id="28" name="Google Shape;920;p31">
              <a:extLst>
                <a:ext uri="{FF2B5EF4-FFF2-40B4-BE49-F238E27FC236}">
                  <a16:creationId xmlns:a16="http://schemas.microsoft.com/office/drawing/2014/main" id="{E53705D6-00DF-8B50-3BD8-BC4EA47B334C}"/>
                </a:ext>
              </a:extLst>
            </p:cNvPr>
            <p:cNvSpPr/>
            <p:nvPr/>
          </p:nvSpPr>
          <p:spPr>
            <a:xfrm>
              <a:off x="865223" y="1884654"/>
              <a:ext cx="1125300" cy="703200"/>
            </a:xfrm>
            <a:prstGeom prst="roundRect">
              <a:avLst>
                <a:gd name="adj" fmla="val 10000"/>
              </a:avLst>
            </a:prstGeom>
            <a:solidFill>
              <a:srgbClr val="E6ECEF">
                <a:alpha val="89410"/>
              </a:srgbClr>
            </a:solidFill>
            <a:ln w="2540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400"/>
              </a:pPr>
              <a:endParaRPr sz="1867"/>
            </a:p>
          </p:txBody>
        </p:sp>
        <p:sp>
          <p:nvSpPr>
            <p:cNvPr id="22" name="Google Shape;914;p31">
              <a:extLst>
                <a:ext uri="{FF2B5EF4-FFF2-40B4-BE49-F238E27FC236}">
                  <a16:creationId xmlns:a16="http://schemas.microsoft.com/office/drawing/2014/main" id="{D4CB0772-715E-C8E6-E084-5D24C55D8433}"/>
                </a:ext>
              </a:extLst>
            </p:cNvPr>
            <p:cNvSpPr/>
            <p:nvPr/>
          </p:nvSpPr>
          <p:spPr>
            <a:xfrm>
              <a:off x="577082" y="1242"/>
              <a:ext cx="1406400" cy="703200"/>
            </a:xfrm>
            <a:prstGeom prst="roundRect">
              <a:avLst>
                <a:gd name="adj" fmla="val 10000"/>
              </a:avLst>
            </a:prstGeom>
            <a:solidFill>
              <a:schemeClr val="dk2"/>
            </a:solidFill>
            <a:ln w="25400" cap="flat" cmpd="sng">
              <a:solidFill>
                <a:srgbClr val="E6ECEF"/>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400"/>
              </a:pPr>
              <a:endParaRPr sz="1867"/>
            </a:p>
          </p:txBody>
        </p:sp>
        <p:sp>
          <p:nvSpPr>
            <p:cNvPr id="23" name="Google Shape;915;p31">
              <a:extLst>
                <a:ext uri="{FF2B5EF4-FFF2-40B4-BE49-F238E27FC236}">
                  <a16:creationId xmlns:a16="http://schemas.microsoft.com/office/drawing/2014/main" id="{6C3BCD07-E1D1-95CC-C16C-AC74BFCE5B9E}"/>
                </a:ext>
              </a:extLst>
            </p:cNvPr>
            <p:cNvSpPr txBox="1"/>
            <p:nvPr/>
          </p:nvSpPr>
          <p:spPr>
            <a:xfrm>
              <a:off x="604596" y="21839"/>
              <a:ext cx="1365300" cy="662100"/>
            </a:xfrm>
            <a:prstGeom prst="rect">
              <a:avLst/>
            </a:prstGeom>
            <a:noFill/>
            <a:ln>
              <a:noFill/>
            </a:ln>
          </p:spPr>
          <p:txBody>
            <a:bodyPr spcFirstLastPara="1" wrap="square" lIns="30467" tIns="20300" rIns="30467" bIns="203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buSzPts val="1200"/>
              </a:pPr>
              <a:r>
                <a:rPr lang="en-GB" sz="1600" b="1" dirty="0">
                  <a:solidFill>
                    <a:schemeClr val="lt1"/>
                  </a:solidFill>
                </a:rPr>
                <a:t>Methods for generating VCGs</a:t>
              </a:r>
              <a:endParaRPr sz="1867" dirty="0"/>
            </a:p>
          </p:txBody>
        </p:sp>
        <p:sp>
          <p:nvSpPr>
            <p:cNvPr id="24" name="Google Shape;916;p31">
              <a:extLst>
                <a:ext uri="{FF2B5EF4-FFF2-40B4-BE49-F238E27FC236}">
                  <a16:creationId xmlns:a16="http://schemas.microsoft.com/office/drawing/2014/main" id="{AC68706B-D911-ECA7-D4E5-BC62C7EA99D5}"/>
                </a:ext>
              </a:extLst>
            </p:cNvPr>
            <p:cNvSpPr/>
            <p:nvPr/>
          </p:nvSpPr>
          <p:spPr>
            <a:xfrm>
              <a:off x="710794" y="704480"/>
              <a:ext cx="140700" cy="527400"/>
            </a:xfrm>
            <a:custGeom>
              <a:avLst/>
              <a:gdLst/>
              <a:ahLst/>
              <a:cxnLst/>
              <a:rect l="l" t="t" r="r" b="b"/>
              <a:pathLst>
                <a:path w="120000" h="120000" extrusionOk="0">
                  <a:moveTo>
                    <a:pt x="0" y="0"/>
                  </a:moveTo>
                  <a:lnTo>
                    <a:pt x="0" y="120000"/>
                  </a:lnTo>
                  <a:lnTo>
                    <a:pt x="120000" y="120000"/>
                  </a:lnTo>
                </a:path>
              </a:pathLst>
            </a:custGeom>
            <a:noFill/>
            <a:ln w="25400" cap="flat" cmpd="sng">
              <a:solidFill>
                <a:srgbClr val="B56538"/>
              </a:solidFill>
              <a:prstDash val="solid"/>
              <a:round/>
              <a:headEnd type="none" w="sm" len="sm"/>
              <a:tailEnd type="none" w="sm" len="sm"/>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p>
          </p:txBody>
        </p:sp>
        <p:sp>
          <p:nvSpPr>
            <p:cNvPr id="25" name="Google Shape;917;p31">
              <a:extLst>
                <a:ext uri="{FF2B5EF4-FFF2-40B4-BE49-F238E27FC236}">
                  <a16:creationId xmlns:a16="http://schemas.microsoft.com/office/drawing/2014/main" id="{3EC9C6B1-2443-6B8E-3773-721752A43C45}"/>
                </a:ext>
              </a:extLst>
            </p:cNvPr>
            <p:cNvSpPr/>
            <p:nvPr/>
          </p:nvSpPr>
          <p:spPr>
            <a:xfrm>
              <a:off x="865294" y="880288"/>
              <a:ext cx="1125300" cy="879047"/>
            </a:xfrm>
            <a:prstGeom prst="roundRect">
              <a:avLst>
                <a:gd name="adj" fmla="val 10000"/>
              </a:avLst>
            </a:prstGeom>
            <a:solidFill>
              <a:srgbClr val="E6ECEF">
                <a:alpha val="89410"/>
              </a:srgbClr>
            </a:solidFill>
            <a:ln w="2540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400"/>
              </a:pPr>
              <a:endParaRPr sz="1867"/>
            </a:p>
          </p:txBody>
        </p:sp>
        <p:sp>
          <p:nvSpPr>
            <p:cNvPr id="26" name="Google Shape;918;p31">
              <a:extLst>
                <a:ext uri="{FF2B5EF4-FFF2-40B4-BE49-F238E27FC236}">
                  <a16:creationId xmlns:a16="http://schemas.microsoft.com/office/drawing/2014/main" id="{C488AF54-E064-6FCA-A094-217DDCF1083F}"/>
                </a:ext>
              </a:extLst>
            </p:cNvPr>
            <p:cNvSpPr txBox="1"/>
            <p:nvPr/>
          </p:nvSpPr>
          <p:spPr>
            <a:xfrm>
              <a:off x="836421" y="1925754"/>
              <a:ext cx="1083900" cy="662100"/>
            </a:xfrm>
            <a:prstGeom prst="rect">
              <a:avLst/>
            </a:prstGeom>
            <a:noFill/>
            <a:ln>
              <a:noFill/>
            </a:ln>
          </p:spPr>
          <p:txBody>
            <a:bodyPr spcFirstLastPara="1" wrap="square" lIns="27933" tIns="18600" rIns="27933" bIns="186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buSzPts val="1100"/>
              </a:pPr>
              <a:r>
                <a:rPr lang="en-GB" sz="1467" dirty="0"/>
                <a:t>Matching algorithms</a:t>
              </a:r>
              <a:endParaRPr lang="en-GB" sz="1867" dirty="0"/>
            </a:p>
          </p:txBody>
        </p:sp>
        <p:sp>
          <p:nvSpPr>
            <p:cNvPr id="27" name="Google Shape;919;p31">
              <a:extLst>
                <a:ext uri="{FF2B5EF4-FFF2-40B4-BE49-F238E27FC236}">
                  <a16:creationId xmlns:a16="http://schemas.microsoft.com/office/drawing/2014/main" id="{BAC0CC0E-987B-03F6-CE33-70D002B3217D}"/>
                </a:ext>
              </a:extLst>
            </p:cNvPr>
            <p:cNvSpPr/>
            <p:nvPr/>
          </p:nvSpPr>
          <p:spPr>
            <a:xfrm>
              <a:off x="717730" y="704480"/>
              <a:ext cx="140700" cy="1406400"/>
            </a:xfrm>
            <a:custGeom>
              <a:avLst/>
              <a:gdLst/>
              <a:ahLst/>
              <a:cxnLst/>
              <a:rect l="l" t="t" r="r" b="b"/>
              <a:pathLst>
                <a:path w="120000" h="120000" extrusionOk="0">
                  <a:moveTo>
                    <a:pt x="0" y="0"/>
                  </a:moveTo>
                  <a:lnTo>
                    <a:pt x="0" y="120000"/>
                  </a:lnTo>
                  <a:lnTo>
                    <a:pt x="120000" y="120000"/>
                  </a:lnTo>
                </a:path>
              </a:pathLst>
            </a:custGeom>
            <a:noFill/>
            <a:ln w="25400" cap="flat" cmpd="sng">
              <a:solidFill>
                <a:srgbClr val="B56538"/>
              </a:solidFill>
              <a:prstDash val="solid"/>
              <a:round/>
              <a:headEnd type="none" w="sm" len="sm"/>
              <a:tailEnd type="none" w="sm" len="sm"/>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p>
          </p:txBody>
        </p:sp>
        <p:sp>
          <p:nvSpPr>
            <p:cNvPr id="29" name="Google Shape;921;p31">
              <a:extLst>
                <a:ext uri="{FF2B5EF4-FFF2-40B4-BE49-F238E27FC236}">
                  <a16:creationId xmlns:a16="http://schemas.microsoft.com/office/drawing/2014/main" id="{A1E519E6-10D7-93B7-7342-7047A4D96840}"/>
                </a:ext>
              </a:extLst>
            </p:cNvPr>
            <p:cNvSpPr txBox="1"/>
            <p:nvPr/>
          </p:nvSpPr>
          <p:spPr>
            <a:xfrm>
              <a:off x="822553" y="2815967"/>
              <a:ext cx="1083900" cy="662100"/>
            </a:xfrm>
            <a:prstGeom prst="rect">
              <a:avLst/>
            </a:prstGeom>
            <a:noFill/>
            <a:ln>
              <a:noFill/>
            </a:ln>
          </p:spPr>
          <p:txBody>
            <a:bodyPr spcFirstLastPara="1" wrap="square" lIns="27933" tIns="18600" rIns="27933" bIns="186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buSzPts val="1100"/>
              </a:pPr>
              <a:r>
                <a:rPr lang="en-GB" sz="1467" dirty="0">
                  <a:solidFill>
                    <a:srgbClr val="002060"/>
                  </a:solidFill>
                </a:rPr>
                <a:t>Sampling algorithms</a:t>
              </a:r>
              <a:endParaRPr lang="en-GB" sz="1867" dirty="0">
                <a:solidFill>
                  <a:srgbClr val="002060"/>
                </a:solidFill>
              </a:endParaRPr>
            </a:p>
          </p:txBody>
        </p:sp>
        <p:sp>
          <p:nvSpPr>
            <p:cNvPr id="41" name="Google Shape;933;p31">
              <a:extLst>
                <a:ext uri="{FF2B5EF4-FFF2-40B4-BE49-F238E27FC236}">
                  <a16:creationId xmlns:a16="http://schemas.microsoft.com/office/drawing/2014/main" id="{9C22182D-0B3C-609F-9845-504EC1A3BDBB}"/>
                </a:ext>
              </a:extLst>
            </p:cNvPr>
            <p:cNvSpPr/>
            <p:nvPr/>
          </p:nvSpPr>
          <p:spPr>
            <a:xfrm>
              <a:off x="716577" y="704442"/>
              <a:ext cx="155780" cy="2422072"/>
            </a:xfrm>
            <a:custGeom>
              <a:avLst/>
              <a:gdLst/>
              <a:ahLst/>
              <a:cxnLst/>
              <a:rect l="l" t="t" r="r" b="b"/>
              <a:pathLst>
                <a:path w="120000" h="120000" extrusionOk="0">
                  <a:moveTo>
                    <a:pt x="0" y="0"/>
                  </a:moveTo>
                  <a:lnTo>
                    <a:pt x="0" y="120000"/>
                  </a:lnTo>
                  <a:lnTo>
                    <a:pt x="120000" y="120000"/>
                  </a:lnTo>
                </a:path>
              </a:pathLst>
            </a:custGeom>
            <a:noFill/>
            <a:ln w="25400" cap="flat" cmpd="sng">
              <a:solidFill>
                <a:srgbClr val="B56538"/>
              </a:solidFill>
              <a:prstDash val="solid"/>
              <a:round/>
              <a:headEnd type="none" w="sm" len="sm"/>
              <a:tailEnd type="none" w="sm" len="sm"/>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p>
          </p:txBody>
        </p:sp>
        <p:sp>
          <p:nvSpPr>
            <p:cNvPr id="43" name="Google Shape;935;p31">
              <a:extLst>
                <a:ext uri="{FF2B5EF4-FFF2-40B4-BE49-F238E27FC236}">
                  <a16:creationId xmlns:a16="http://schemas.microsoft.com/office/drawing/2014/main" id="{E076FE04-4104-2C7A-911F-DDB8DA2EE6B3}"/>
                </a:ext>
              </a:extLst>
            </p:cNvPr>
            <p:cNvSpPr txBox="1"/>
            <p:nvPr/>
          </p:nvSpPr>
          <p:spPr>
            <a:xfrm>
              <a:off x="885711" y="992517"/>
              <a:ext cx="1125300" cy="662100"/>
            </a:xfrm>
            <a:prstGeom prst="rect">
              <a:avLst/>
            </a:prstGeom>
            <a:noFill/>
            <a:ln>
              <a:noFill/>
            </a:ln>
          </p:spPr>
          <p:txBody>
            <a:bodyPr spcFirstLastPara="1" wrap="square" lIns="27933" tIns="18600" rIns="27933" bIns="186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SzPts val="1100"/>
              </a:pPr>
              <a:r>
                <a:rPr lang="en-GB" sz="1467" dirty="0"/>
                <a:t>Historical Control Animal Data</a:t>
              </a:r>
              <a:br>
                <a:rPr lang="en-GB" sz="1467" dirty="0"/>
              </a:br>
              <a:r>
                <a:rPr lang="en-GB" sz="1467" dirty="0"/>
                <a:t>- Internal</a:t>
              </a:r>
              <a:br>
                <a:rPr lang="en-GB" sz="1467" dirty="0"/>
              </a:br>
              <a:r>
                <a:rPr lang="en-GB" sz="1467" dirty="0"/>
                <a:t>- Test Facility</a:t>
              </a:r>
              <a:br>
                <a:rPr lang="en-GB" sz="1467" dirty="0"/>
              </a:br>
              <a:r>
                <a:rPr lang="en-GB" sz="1467" dirty="0"/>
                <a:t>- VICT3R DB</a:t>
              </a:r>
              <a:endParaRPr sz="1867" dirty="0"/>
            </a:p>
          </p:txBody>
        </p:sp>
        <p:sp>
          <p:nvSpPr>
            <p:cNvPr id="45" name="Google Shape;937;p31">
              <a:extLst>
                <a:ext uri="{FF2B5EF4-FFF2-40B4-BE49-F238E27FC236}">
                  <a16:creationId xmlns:a16="http://schemas.microsoft.com/office/drawing/2014/main" id="{CB0B87A4-CFA6-F146-FAC1-2F11D65BEF1B}"/>
                </a:ext>
              </a:extLst>
            </p:cNvPr>
            <p:cNvSpPr txBox="1"/>
            <p:nvPr/>
          </p:nvSpPr>
          <p:spPr>
            <a:xfrm>
              <a:off x="5908490" y="310"/>
              <a:ext cx="1365300" cy="662100"/>
            </a:xfrm>
            <a:prstGeom prst="rect">
              <a:avLst/>
            </a:prstGeom>
            <a:noFill/>
            <a:ln>
              <a:noFill/>
            </a:ln>
          </p:spPr>
          <p:txBody>
            <a:bodyPr spcFirstLastPara="1" wrap="square" lIns="30467" tIns="20300" rIns="30467" bIns="203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buSzPts val="1200"/>
              </a:pPr>
              <a:r>
                <a:rPr lang="en-GB" sz="1600" b="1" dirty="0">
                  <a:solidFill>
                    <a:schemeClr val="lt1"/>
                  </a:solidFill>
                </a:rPr>
                <a:t>Reporting</a:t>
              </a:r>
              <a:endParaRPr sz="1867" dirty="0"/>
            </a:p>
          </p:txBody>
        </p:sp>
      </p:grpSp>
      <p:pic>
        <p:nvPicPr>
          <p:cNvPr id="21" name="Picture 20">
            <a:extLst>
              <a:ext uri="{FF2B5EF4-FFF2-40B4-BE49-F238E27FC236}">
                <a16:creationId xmlns:a16="http://schemas.microsoft.com/office/drawing/2014/main" id="{C7792896-9FA1-9D5F-34B1-8AB14E0328C1}"/>
              </a:ext>
            </a:extLst>
          </p:cNvPr>
          <p:cNvPicPr>
            <a:picLocks noChangeAspect="1"/>
          </p:cNvPicPr>
          <p:nvPr/>
        </p:nvPicPr>
        <p:blipFill>
          <a:blip r:embed="rId2"/>
          <a:srcRect l="-1189" t="-1" r="54151" b="-326"/>
          <a:stretch/>
        </p:blipFill>
        <p:spPr>
          <a:xfrm>
            <a:off x="2663670" y="944030"/>
            <a:ext cx="5144722" cy="5562252"/>
          </a:xfrm>
          <a:prstGeom prst="rect">
            <a:avLst/>
          </a:prstGeom>
        </p:spPr>
      </p:pic>
      <p:sp>
        <p:nvSpPr>
          <p:cNvPr id="4" name="Text Placeholder 2">
            <a:extLst>
              <a:ext uri="{FF2B5EF4-FFF2-40B4-BE49-F238E27FC236}">
                <a16:creationId xmlns:a16="http://schemas.microsoft.com/office/drawing/2014/main" id="{CB456B08-BD2A-DBD0-7733-197A81D66AA4}"/>
              </a:ext>
            </a:extLst>
          </p:cNvPr>
          <p:cNvSpPr>
            <a:spLocks noGrp="1"/>
          </p:cNvSpPr>
          <p:nvPr>
            <p:ph type="body" sz="quarter" idx="13"/>
          </p:nvPr>
        </p:nvSpPr>
        <p:spPr>
          <a:xfrm>
            <a:off x="412010" y="668171"/>
            <a:ext cx="9749849" cy="370416"/>
          </a:xfrm>
        </p:spPr>
        <p:txBody>
          <a:bodyPr/>
          <a:lstStyle/>
          <a:p>
            <a:r>
              <a:rPr lang="en-US" dirty="0"/>
              <a:t>Things to consider when selecting animals for VCG creation</a:t>
            </a:r>
          </a:p>
          <a:p>
            <a:endParaRPr lang="en-US" dirty="0"/>
          </a:p>
        </p:txBody>
      </p:sp>
      <p:pic>
        <p:nvPicPr>
          <p:cNvPr id="2050" name="Picture 2">
            <a:extLst>
              <a:ext uri="{FF2B5EF4-FFF2-40B4-BE49-F238E27FC236}">
                <a16:creationId xmlns:a16="http://schemas.microsoft.com/office/drawing/2014/main" id="{2A1FF015-2E2E-7C31-910D-D283F1C237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8995" y="3013400"/>
            <a:ext cx="4673005" cy="2112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030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92DF02-98FA-2200-1881-B04839C7F871}"/>
              </a:ext>
            </a:extLst>
          </p:cNvPr>
          <p:cNvSpPr>
            <a:spLocks noGrp="1"/>
          </p:cNvSpPr>
          <p:nvPr>
            <p:ph type="title"/>
          </p:nvPr>
        </p:nvSpPr>
        <p:spPr/>
        <p:txBody>
          <a:bodyPr/>
          <a:lstStyle/>
          <a:p>
            <a:r>
              <a:rPr lang="es-ES" b="1" dirty="0">
                <a:solidFill>
                  <a:schemeClr val="accent1"/>
                </a:solidFill>
                <a:latin typeface="Calibri"/>
                <a:ea typeface="Calibri"/>
                <a:cs typeface="Calibri"/>
              </a:rPr>
              <a:t>VICT3R: </a:t>
            </a:r>
            <a:r>
              <a:rPr lang="en-US" b="1" dirty="0">
                <a:solidFill>
                  <a:schemeClr val="accent1"/>
                </a:solidFill>
              </a:rPr>
              <a:t>Contexts of Use are qualified in stages</a:t>
            </a:r>
          </a:p>
        </p:txBody>
      </p:sp>
      <p:sp>
        <p:nvSpPr>
          <p:cNvPr id="4" name="Foliennummernplatzhalter 3">
            <a:extLst>
              <a:ext uri="{FF2B5EF4-FFF2-40B4-BE49-F238E27FC236}">
                <a16:creationId xmlns:a16="http://schemas.microsoft.com/office/drawing/2014/main" id="{F9C30B02-AA5D-F8E1-34C0-17A9F1DF743A}"/>
              </a:ext>
            </a:extLst>
          </p:cNvPr>
          <p:cNvSpPr>
            <a:spLocks noGrp="1"/>
          </p:cNvSpPr>
          <p:nvPr>
            <p:ph type="sldNum" sz="quarter" idx="10"/>
          </p:nvPr>
        </p:nvSpPr>
        <p:spPr/>
        <p:txBody>
          <a:bodyPr/>
          <a:lstStyle/>
          <a:p>
            <a:fld id="{48F63A3B-78C7-47BE-AE5E-E10140E04643}" type="slidenum">
              <a:rPr lang="en-US" smtClean="0"/>
              <a:pPr/>
              <a:t>11</a:t>
            </a:fld>
            <a:endParaRPr lang="en-US"/>
          </a:p>
        </p:txBody>
      </p:sp>
      <p:sp>
        <p:nvSpPr>
          <p:cNvPr id="12" name="Inhaltsplatzhalter 4">
            <a:extLst>
              <a:ext uri="{FF2B5EF4-FFF2-40B4-BE49-F238E27FC236}">
                <a16:creationId xmlns:a16="http://schemas.microsoft.com/office/drawing/2014/main" id="{E55F092B-5749-C8FF-DE74-F966C580683F}"/>
              </a:ext>
            </a:extLst>
          </p:cNvPr>
          <p:cNvSpPr txBox="1">
            <a:spLocks/>
          </p:cNvSpPr>
          <p:nvPr/>
        </p:nvSpPr>
        <p:spPr>
          <a:xfrm>
            <a:off x="480000" y="1607950"/>
            <a:ext cx="11307797" cy="4851573"/>
          </a:xfrm>
          <a:prstGeom prst="rect">
            <a:avLst/>
          </a:prstGeom>
        </p:spPr>
        <p:txBody>
          <a:bodyPr vert="horz" lIns="0" tIns="0" rIns="0" bIns="0" rtlCol="0">
            <a:noAutofit/>
          </a:bodyPr>
          <a:lstStyle>
            <a:lvl1pPr marL="18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6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100" kern="1200">
                <a:solidFill>
                  <a:schemeClr val="tx1"/>
                </a:solidFill>
                <a:latin typeface="+mn-lt"/>
                <a:ea typeface="+mn-ea"/>
                <a:cs typeface="+mn-cs"/>
              </a:defRPr>
            </a:lvl2pPr>
            <a:lvl3pPr marL="54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000" kern="1200">
                <a:solidFill>
                  <a:schemeClr val="tx1"/>
                </a:solidFill>
                <a:latin typeface="+mn-lt"/>
                <a:ea typeface="+mn-ea"/>
                <a:cs typeface="+mn-cs"/>
              </a:defRPr>
            </a:lvl3pPr>
            <a:lvl4pPr marL="72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900" kern="1200">
                <a:solidFill>
                  <a:schemeClr val="tx1"/>
                </a:solidFill>
                <a:latin typeface="+mn-lt"/>
                <a:ea typeface="+mn-ea"/>
                <a:cs typeface="+mn-cs"/>
              </a:defRPr>
            </a:lvl4pPr>
            <a:lvl5pPr marL="90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97183" lvl="1" indent="-457189">
              <a:buFont typeface="+mj-lt"/>
              <a:buAutoNum type="arabicPeriod"/>
            </a:pPr>
            <a:r>
              <a:rPr lang="en-US" sz="2400" b="1" dirty="0"/>
              <a:t>COU1: Application in dose-range finding non-GLP studies (Current qualification)</a:t>
            </a:r>
          </a:p>
          <a:p>
            <a:pPr marL="877183" lvl="2" indent="-457189"/>
            <a:r>
              <a:rPr lang="en-US" sz="2300" b="0" i="0" u="none" strike="noStrike" dirty="0">
                <a:solidFill>
                  <a:srgbClr val="1D4966"/>
                </a:solidFill>
                <a:effectLst/>
                <a:latin typeface="Archivo-Regular"/>
              </a:rPr>
              <a:t>Ten studies (rats, mice, NHPs) have been reanalyzed and results were submitted to EMA</a:t>
            </a:r>
            <a:r>
              <a:rPr lang="en-US" sz="2300" b="0" i="0" dirty="0">
                <a:solidFill>
                  <a:srgbClr val="1D4966"/>
                </a:solidFill>
                <a:effectLst/>
                <a:latin typeface="Archivo-Regular"/>
              </a:rPr>
              <a:t>​</a:t>
            </a:r>
            <a:endParaRPr lang="en-US" sz="1900" b="1" dirty="0"/>
          </a:p>
          <a:p>
            <a:pPr marL="697183" lvl="1" indent="-457189">
              <a:buFont typeface="+mj-lt"/>
              <a:buAutoNum type="arabicPeriod"/>
            </a:pPr>
            <a:r>
              <a:rPr lang="en-US" sz="2400" dirty="0"/>
              <a:t>COU2: Partial replacement of concurrent controls in pivotal (GLP) systemic toxicity studies</a:t>
            </a:r>
          </a:p>
          <a:p>
            <a:pPr marL="697183" lvl="1" indent="-457189">
              <a:buFont typeface="+mj-lt"/>
              <a:buAutoNum type="arabicPeriod"/>
            </a:pPr>
            <a:r>
              <a:rPr lang="en-US" sz="2400" dirty="0"/>
              <a:t>COU3: Full replacement of concurrent controls in pivotal (GLP) systemic toxicity studies </a:t>
            </a:r>
            <a:endParaRPr lang="en-US" sz="2400" b="1" dirty="0"/>
          </a:p>
          <a:p>
            <a:pPr marL="697183" lvl="1" indent="-457189">
              <a:buFont typeface="+mj-lt"/>
              <a:buAutoNum type="arabicPeriod"/>
            </a:pPr>
            <a:endParaRPr lang="en-US" sz="2400" dirty="0"/>
          </a:p>
        </p:txBody>
      </p:sp>
      <p:sp>
        <p:nvSpPr>
          <p:cNvPr id="7" name="Text Placeholder 6">
            <a:extLst>
              <a:ext uri="{FF2B5EF4-FFF2-40B4-BE49-F238E27FC236}">
                <a16:creationId xmlns:a16="http://schemas.microsoft.com/office/drawing/2014/main" id="{4A036D23-BF00-8459-6590-28AC7FE86856}"/>
              </a:ext>
            </a:extLst>
          </p:cNvPr>
          <p:cNvSpPr>
            <a:spLocks noGrp="1"/>
          </p:cNvSpPr>
          <p:nvPr>
            <p:ph type="body" sz="quarter" idx="13"/>
          </p:nvPr>
        </p:nvSpPr>
        <p:spPr/>
        <p:txBody>
          <a:bodyPr/>
          <a:lstStyle/>
          <a:p>
            <a:endParaRPr lang="en-US" dirty="0"/>
          </a:p>
        </p:txBody>
      </p:sp>
      <p:pic>
        <p:nvPicPr>
          <p:cNvPr id="5" name="Picture 4">
            <a:extLst>
              <a:ext uri="{FF2B5EF4-FFF2-40B4-BE49-F238E27FC236}">
                <a16:creationId xmlns:a16="http://schemas.microsoft.com/office/drawing/2014/main" id="{FED1F7E0-6108-A5FE-D444-73BCC3047C70}"/>
              </a:ext>
            </a:extLst>
          </p:cNvPr>
          <p:cNvPicPr>
            <a:picLocks noChangeAspect="1"/>
          </p:cNvPicPr>
          <p:nvPr/>
        </p:nvPicPr>
        <p:blipFill>
          <a:blip r:embed="rId2"/>
          <a:stretch>
            <a:fillRect/>
          </a:stretch>
        </p:blipFill>
        <p:spPr>
          <a:xfrm>
            <a:off x="7979912" y="4519295"/>
            <a:ext cx="2997688" cy="2217261"/>
          </a:xfrm>
          <a:prstGeom prst="rect">
            <a:avLst/>
          </a:prstGeom>
        </p:spPr>
      </p:pic>
    </p:spTree>
    <p:extLst>
      <p:ext uri="{BB962C8B-B14F-4D97-AF65-F5344CB8AC3E}">
        <p14:creationId xmlns:p14="http://schemas.microsoft.com/office/powerpoint/2010/main" val="3336779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2BA9619-0985-4F28-92C6-25DDB9A4030D}"/>
              </a:ext>
            </a:extLst>
          </p:cNvPr>
          <p:cNvSpPr>
            <a:spLocks noGrp="1"/>
          </p:cNvSpPr>
          <p:nvPr>
            <p:ph type="body" sz="quarter" idx="16"/>
          </p:nvPr>
        </p:nvSpPr>
        <p:spPr>
          <a:xfrm>
            <a:off x="607744" y="357838"/>
            <a:ext cx="9954000" cy="338559"/>
          </a:xfrm>
        </p:spPr>
        <p:txBody>
          <a:bodyPr/>
          <a:lstStyle/>
          <a:p>
            <a:r>
              <a:rPr lang="es-ES" b="1" dirty="0">
                <a:solidFill>
                  <a:schemeClr val="accent1"/>
                </a:solidFill>
                <a:latin typeface="Calibri"/>
                <a:ea typeface="Calibri"/>
                <a:cs typeface="Calibri"/>
              </a:rPr>
              <a:t>VICT3R</a:t>
            </a:r>
            <a:r>
              <a:rPr lang="de-CH" dirty="0"/>
              <a:t> database - </a:t>
            </a:r>
            <a:r>
              <a:rPr lang="de-DE" dirty="0"/>
              <a:t>All Species Version 2.0</a:t>
            </a:r>
          </a:p>
          <a:p>
            <a:endParaRPr lang="de-CH" dirty="0"/>
          </a:p>
        </p:txBody>
      </p:sp>
      <p:sp>
        <p:nvSpPr>
          <p:cNvPr id="3" name="Textplatzhalter 2">
            <a:extLst>
              <a:ext uri="{FF2B5EF4-FFF2-40B4-BE49-F238E27FC236}">
                <a16:creationId xmlns:a16="http://schemas.microsoft.com/office/drawing/2014/main" id="{F200CA83-271D-4283-BFC7-8D9B89992782}"/>
              </a:ext>
            </a:extLst>
          </p:cNvPr>
          <p:cNvSpPr>
            <a:spLocks noGrp="1"/>
          </p:cNvSpPr>
          <p:nvPr>
            <p:ph type="body" sz="quarter" idx="18"/>
          </p:nvPr>
        </p:nvSpPr>
        <p:spPr>
          <a:xfrm>
            <a:off x="607744" y="780014"/>
            <a:ext cx="9954000" cy="405495"/>
          </a:xfrm>
        </p:spPr>
        <p:txBody>
          <a:bodyPr/>
          <a:lstStyle/>
          <a:p>
            <a:r>
              <a:rPr lang="de-DE" dirty="0"/>
              <a:t>Number of animals per species and per SEND domain</a:t>
            </a:r>
          </a:p>
          <a:p>
            <a:endParaRPr lang="de-CH" dirty="0"/>
          </a:p>
        </p:txBody>
      </p:sp>
      <p:sp>
        <p:nvSpPr>
          <p:cNvPr id="5" name="Foliennummernplatzhalter 4">
            <a:extLst>
              <a:ext uri="{FF2B5EF4-FFF2-40B4-BE49-F238E27FC236}">
                <a16:creationId xmlns:a16="http://schemas.microsoft.com/office/drawing/2014/main" id="{EDA46A03-F0C1-471A-893C-C52AABB77016}"/>
              </a:ext>
            </a:extLst>
          </p:cNvPr>
          <p:cNvSpPr>
            <a:spLocks noGrp="1"/>
          </p:cNvSpPr>
          <p:nvPr>
            <p:ph type="sldNum" sz="quarter" idx="20"/>
          </p:nvPr>
        </p:nvSpPr>
        <p:spPr/>
        <p:txBody>
          <a:bodyPr/>
          <a:lstStyle/>
          <a:p>
            <a:fld id="{27557D08-9667-754E-9FA9-FFD3988FC8C5}" type="slidenum">
              <a:rPr lang="en-CH" smtClean="0"/>
              <a:pPr/>
              <a:t>12</a:t>
            </a:fld>
            <a:endParaRPr lang="en-CH" dirty="0"/>
          </a:p>
        </p:txBody>
      </p:sp>
      <p:pic>
        <p:nvPicPr>
          <p:cNvPr id="11" name="Grafik 4">
            <a:extLst>
              <a:ext uri="{FF2B5EF4-FFF2-40B4-BE49-F238E27FC236}">
                <a16:creationId xmlns:a16="http://schemas.microsoft.com/office/drawing/2014/main" id="{EA6C4DFF-B2C5-83D0-1A99-AEADE01E7E79}"/>
              </a:ext>
            </a:extLst>
          </p:cNvPr>
          <p:cNvPicPr>
            <a:picLocks noChangeAspect="1"/>
          </p:cNvPicPr>
          <p:nvPr/>
        </p:nvPicPr>
        <p:blipFill>
          <a:blip r:embed="rId2"/>
          <a:stretch>
            <a:fillRect/>
          </a:stretch>
        </p:blipFill>
        <p:spPr>
          <a:xfrm>
            <a:off x="275302" y="2378677"/>
            <a:ext cx="11995355" cy="4343260"/>
          </a:xfrm>
          <a:prstGeom prst="rect">
            <a:avLst/>
          </a:prstGeom>
        </p:spPr>
      </p:pic>
      <p:sp>
        <p:nvSpPr>
          <p:cNvPr id="12" name="Textplatzhalter 6">
            <a:extLst>
              <a:ext uri="{FF2B5EF4-FFF2-40B4-BE49-F238E27FC236}">
                <a16:creationId xmlns:a16="http://schemas.microsoft.com/office/drawing/2014/main" id="{BE35E33B-DCB1-7136-F41E-26CEA48C37D2}"/>
              </a:ext>
            </a:extLst>
          </p:cNvPr>
          <p:cNvSpPr txBox="1">
            <a:spLocks/>
          </p:cNvSpPr>
          <p:nvPr/>
        </p:nvSpPr>
        <p:spPr>
          <a:xfrm>
            <a:off x="3103200" y="2179722"/>
            <a:ext cx="7312387" cy="277812"/>
          </a:xfrm>
          <a:prstGeom prst="rect">
            <a:avLst/>
          </a:prstGeom>
        </p:spPr>
        <p:txBody>
          <a:bodyPr/>
          <a:lstStyle>
            <a:lvl1pPr marL="180975" indent="-180975" algn="l" defTabSz="626400" rtl="0" eaLnBrk="1" latinLnBrk="0" hangingPunct="1">
              <a:lnSpc>
                <a:spcPct val="100000"/>
              </a:lnSpc>
              <a:spcBef>
                <a:spcPts val="1000"/>
              </a:spcBef>
              <a:buClr>
                <a:schemeClr val="accent2"/>
              </a:buClr>
              <a:buSzPct val="100000"/>
              <a:buFont typeface="Wingdings" pitchFamily="2" charset="2"/>
              <a:buChar char="§"/>
              <a:tabLst/>
              <a:defRPr sz="1800" b="0" i="0" kern="1200">
                <a:solidFill>
                  <a:schemeClr val="tx1"/>
                </a:solidFill>
                <a:latin typeface="+mn-lt"/>
                <a:ea typeface="+mn-ea"/>
                <a:cs typeface="+mn-cs"/>
              </a:defRPr>
            </a:lvl1pPr>
            <a:lvl2pPr marL="533400" indent="-176213" algn="l" defTabSz="626400" rtl="0" eaLnBrk="1" latinLnBrk="0" hangingPunct="1">
              <a:lnSpc>
                <a:spcPct val="100000"/>
              </a:lnSpc>
              <a:spcBef>
                <a:spcPts val="500"/>
              </a:spcBef>
              <a:buClr>
                <a:schemeClr val="accent2"/>
              </a:buClr>
              <a:buSzPct val="100000"/>
              <a:buFont typeface="Wingdings" pitchFamily="2" charset="2"/>
              <a:buChar char="§"/>
              <a:tabLst/>
              <a:defRPr sz="1800" b="0" i="0" kern="1200">
                <a:solidFill>
                  <a:schemeClr val="tx1"/>
                </a:solidFill>
                <a:latin typeface="+mn-lt"/>
                <a:ea typeface="+mn-ea"/>
                <a:cs typeface="+mn-cs"/>
              </a:defRPr>
            </a:lvl2pPr>
            <a:lvl3pPr marL="892175" indent="-176213" algn="l" defTabSz="626400" rtl="0" eaLnBrk="1" latinLnBrk="0" hangingPunct="1">
              <a:lnSpc>
                <a:spcPct val="100000"/>
              </a:lnSpc>
              <a:spcBef>
                <a:spcPts val="500"/>
              </a:spcBef>
              <a:buClr>
                <a:schemeClr val="accent2"/>
              </a:buClr>
              <a:buSzPct val="100000"/>
              <a:buFont typeface="Wingdings" pitchFamily="2" charset="2"/>
              <a:buChar char="§"/>
              <a:tabLst/>
              <a:defRPr sz="1600" b="0" i="0" kern="1200">
                <a:solidFill>
                  <a:schemeClr val="tx1"/>
                </a:solidFill>
                <a:latin typeface="+mn-lt"/>
                <a:ea typeface="+mn-ea"/>
                <a:cs typeface="+mn-cs"/>
              </a:defRPr>
            </a:lvl3pPr>
            <a:lvl4pPr marL="1244600" indent="-169863" algn="l" defTabSz="626400" rtl="0" eaLnBrk="1" latinLnBrk="0" hangingPunct="1">
              <a:lnSpc>
                <a:spcPct val="100000"/>
              </a:lnSpc>
              <a:spcBef>
                <a:spcPts val="500"/>
              </a:spcBef>
              <a:buClr>
                <a:schemeClr val="accent2"/>
              </a:buClr>
              <a:buSzPct val="100000"/>
              <a:buFont typeface="Wingdings" pitchFamily="2" charset="2"/>
              <a:buChar char="§"/>
              <a:tabLst/>
              <a:defRPr sz="1600" b="0" i="0" kern="1200">
                <a:solidFill>
                  <a:schemeClr val="tx1"/>
                </a:solidFill>
                <a:latin typeface="+mn-lt"/>
                <a:ea typeface="+mn-ea"/>
                <a:cs typeface="+mn-cs"/>
              </a:defRPr>
            </a:lvl4pPr>
            <a:lvl5pPr marL="1601788" indent="-174625" algn="l" defTabSz="626400" rtl="0" eaLnBrk="1" latinLnBrk="0" hangingPunct="1">
              <a:lnSpc>
                <a:spcPct val="100000"/>
              </a:lnSpc>
              <a:spcBef>
                <a:spcPts val="500"/>
              </a:spcBef>
              <a:buClr>
                <a:schemeClr val="accent2"/>
              </a:buClr>
              <a:buSzPct val="100000"/>
              <a:buFont typeface="Wingdings" pitchFamily="2" charset="2"/>
              <a:buChar char="§"/>
              <a:tabLst/>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pic>
        <p:nvPicPr>
          <p:cNvPr id="10" name="Grafik 10">
            <a:extLst>
              <a:ext uri="{FF2B5EF4-FFF2-40B4-BE49-F238E27FC236}">
                <a16:creationId xmlns:a16="http://schemas.microsoft.com/office/drawing/2014/main" id="{BBBAD67A-046D-79CE-F31E-7FB690169297}"/>
              </a:ext>
            </a:extLst>
          </p:cNvPr>
          <p:cNvPicPr>
            <a:picLocks noChangeAspect="1"/>
          </p:cNvPicPr>
          <p:nvPr/>
        </p:nvPicPr>
        <p:blipFill>
          <a:blip r:embed="rId3"/>
          <a:srcRect l="36813" r="37006" b="67207"/>
          <a:stretch/>
        </p:blipFill>
        <p:spPr>
          <a:xfrm>
            <a:off x="7471966" y="1269126"/>
            <a:ext cx="2943621" cy="2954442"/>
          </a:xfrm>
          <a:prstGeom prst="rect">
            <a:avLst/>
          </a:prstGeom>
        </p:spPr>
      </p:pic>
    </p:spTree>
    <p:extLst>
      <p:ext uri="{BB962C8B-B14F-4D97-AF65-F5344CB8AC3E}">
        <p14:creationId xmlns:p14="http://schemas.microsoft.com/office/powerpoint/2010/main" val="428845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015DF-0F98-E9E3-2516-C079A837E721}"/>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5FF1AA-340E-3922-3456-D5B615A42FA1}"/>
              </a:ext>
            </a:extLst>
          </p:cNvPr>
          <p:cNvSpPr>
            <a:spLocks noGrp="1"/>
          </p:cNvSpPr>
          <p:nvPr>
            <p:ph idx="4294967295"/>
          </p:nvPr>
        </p:nvSpPr>
        <p:spPr>
          <a:xfrm>
            <a:off x="257969" y="896823"/>
            <a:ext cx="11676062" cy="5686874"/>
          </a:xfrm>
        </p:spPr>
        <p:txBody>
          <a:bodyPr>
            <a:noAutofit/>
          </a:bodyPr>
          <a:lstStyle/>
          <a:p>
            <a:pPr marL="457200" indent="-457200"/>
            <a:r>
              <a:rPr lang="en-US" sz="2400" b="1" dirty="0">
                <a:ea typeface="+mn-lt"/>
                <a:cs typeface="+mn-lt"/>
              </a:rPr>
              <a:t>Members</a:t>
            </a:r>
            <a:r>
              <a:rPr lang="en-US" sz="2400" dirty="0">
                <a:ea typeface="+mn-lt"/>
                <a:cs typeface="+mn-lt"/>
              </a:rPr>
              <a:t>: 24 statisticians and data scientists from pharma, CRO, academia, and regulatory agencies. </a:t>
            </a:r>
          </a:p>
          <a:p>
            <a:pPr marL="457200" indent="-457200"/>
            <a:r>
              <a:rPr lang="en-US" sz="2400" b="1" dirty="0">
                <a:ea typeface="+mn-lt"/>
                <a:cs typeface="+mn-lt"/>
              </a:rPr>
              <a:t>Cochairs</a:t>
            </a:r>
            <a:r>
              <a:rPr lang="en-US" sz="2400" dirty="0">
                <a:ea typeface="+mn-lt"/>
                <a:cs typeface="+mn-lt"/>
              </a:rPr>
              <a:t>: Dean Li (Pfizer) and </a:t>
            </a:r>
            <a:r>
              <a:rPr lang="fr-FR" sz="2400" dirty="0">
                <a:ea typeface="+mn-lt"/>
                <a:cs typeface="+mn-lt"/>
              </a:rPr>
              <a:t>Guillemette Duchateau-Nguyen (Roche)</a:t>
            </a:r>
          </a:p>
          <a:p>
            <a:pPr marL="457200" indent="-457200"/>
            <a:r>
              <a:rPr lang="en-US" sz="2400" b="1" dirty="0">
                <a:ea typeface="+mn-lt"/>
                <a:cs typeface="+mn-lt"/>
              </a:rPr>
              <a:t>Goal</a:t>
            </a:r>
            <a:r>
              <a:rPr lang="en-US" sz="2400" dirty="0">
                <a:ea typeface="+mn-lt"/>
                <a:cs typeface="+mn-lt"/>
              </a:rPr>
              <a:t>: </a:t>
            </a:r>
            <a:r>
              <a:rPr lang="en-US" sz="2400" dirty="0">
                <a:solidFill>
                  <a:srgbClr val="0070C0"/>
                </a:solidFill>
                <a:ea typeface="+mn-lt"/>
                <a:cs typeface="+mn-lt"/>
              </a:rPr>
              <a:t>Standardized</a:t>
            </a:r>
            <a:r>
              <a:rPr lang="en-US" sz="2400" dirty="0">
                <a:ea typeface="+mn-lt"/>
                <a:cs typeface="+mn-lt"/>
              </a:rPr>
              <a:t> and </a:t>
            </a:r>
            <a:r>
              <a:rPr lang="en-US" sz="2400" dirty="0">
                <a:solidFill>
                  <a:srgbClr val="0070C0"/>
                </a:solidFill>
                <a:ea typeface="+mn-lt"/>
                <a:cs typeface="+mn-lt"/>
              </a:rPr>
              <a:t>harmonized</a:t>
            </a:r>
            <a:r>
              <a:rPr lang="en-US" sz="2400" dirty="0">
                <a:ea typeface="+mn-lt"/>
                <a:cs typeface="+mn-lt"/>
              </a:rPr>
              <a:t> statistical methodology to promote regulatory acceptance and consistent application</a:t>
            </a:r>
          </a:p>
          <a:p>
            <a:pPr marL="914400" lvl="1" indent="-457200"/>
            <a:r>
              <a:rPr lang="en-US" sz="2000" dirty="0">
                <a:ea typeface="+mn-lt"/>
                <a:cs typeface="+mn-lt"/>
              </a:rPr>
              <a:t>Randomization, matching, validation</a:t>
            </a:r>
            <a:endParaRPr lang="en-US" dirty="0">
              <a:ea typeface="+mn-lt"/>
              <a:cs typeface="+mn-lt"/>
            </a:endParaRPr>
          </a:p>
          <a:p>
            <a:pPr marL="457200" indent="-457200">
              <a:buFont typeface="Arial" panose="020B0604020202020204" pitchFamily="34" charset="0"/>
              <a:buChar char="•"/>
            </a:pPr>
            <a:r>
              <a:rPr lang="en-US" sz="2400" b="1" dirty="0">
                <a:ea typeface="+mn-lt"/>
                <a:cs typeface="+mn-lt"/>
              </a:rPr>
              <a:t>Tasks</a:t>
            </a:r>
            <a:r>
              <a:rPr lang="en-US" sz="2400" dirty="0">
                <a:ea typeface="+mn-lt"/>
                <a:cs typeface="+mn-lt"/>
              </a:rPr>
              <a:t> in Phase 1 (months 1 -3)</a:t>
            </a:r>
          </a:p>
          <a:p>
            <a:pPr marL="914400" lvl="1" indent="-457200"/>
            <a:r>
              <a:rPr lang="en-US" sz="2000" dirty="0">
                <a:ea typeface="+mn-lt"/>
                <a:cs typeface="+mn-lt"/>
              </a:rPr>
              <a:t>1.1: Literature review</a:t>
            </a:r>
          </a:p>
          <a:p>
            <a:pPr marL="914400" lvl="1" indent="-457200"/>
            <a:r>
              <a:rPr lang="en-US" sz="2000" dirty="0">
                <a:ea typeface="+mn-lt"/>
                <a:cs typeface="+mn-lt"/>
              </a:rPr>
              <a:t>1.2: Methodology development using theory and/or simulation</a:t>
            </a:r>
          </a:p>
          <a:p>
            <a:pPr marL="914400" lvl="1" indent="-457200"/>
            <a:r>
              <a:rPr lang="en-US" sz="2000" dirty="0">
                <a:ea typeface="+mn-lt"/>
                <a:cs typeface="+mn-lt"/>
              </a:rPr>
              <a:t>1.3: Comparison between VCGs and CCGs</a:t>
            </a:r>
            <a:endParaRPr lang="en-US" dirty="0">
              <a:ea typeface="+mn-lt"/>
              <a:cs typeface="+mn-lt"/>
            </a:endParaRPr>
          </a:p>
          <a:p>
            <a:pPr marL="457200" indent="-457200">
              <a:buFont typeface="Arial" panose="020B0604020202020204" pitchFamily="34" charset="0"/>
              <a:buChar char="•"/>
            </a:pPr>
            <a:r>
              <a:rPr lang="en-US" sz="2400" b="1" dirty="0">
                <a:ea typeface="+mn-lt"/>
                <a:cs typeface="+mn-lt"/>
              </a:rPr>
              <a:t>Tasks</a:t>
            </a:r>
            <a:r>
              <a:rPr lang="en-US" sz="2400" dirty="0">
                <a:ea typeface="+mn-lt"/>
                <a:cs typeface="+mn-lt"/>
              </a:rPr>
              <a:t> in Phase 2 (months 4 -6)</a:t>
            </a:r>
          </a:p>
          <a:p>
            <a:pPr marL="914400" lvl="1" indent="-457200"/>
            <a:r>
              <a:rPr lang="en-US" sz="2000" dirty="0">
                <a:ea typeface="+mn-lt"/>
                <a:cs typeface="+mn-lt"/>
              </a:rPr>
              <a:t>2.1: Paper drafting</a:t>
            </a:r>
          </a:p>
          <a:p>
            <a:pPr marL="914400" lvl="1" indent="-457200"/>
            <a:r>
              <a:rPr lang="en-US" sz="2000" dirty="0">
                <a:ea typeface="+mn-lt"/>
                <a:cs typeface="+mn-lt"/>
              </a:rPr>
              <a:t>2.2: Peer review</a:t>
            </a:r>
          </a:p>
          <a:p>
            <a:pPr marL="914400" lvl="1" indent="-457200"/>
            <a:r>
              <a:rPr lang="en-US" sz="2000" dirty="0">
                <a:ea typeface="+mn-lt"/>
                <a:cs typeface="+mn-lt"/>
              </a:rPr>
              <a:t>2.3: Dissemination</a:t>
            </a:r>
            <a:endParaRPr lang="en-US" sz="2000" dirty="0">
              <a:cs typeface="Calibri" panose="020F0502020204030204"/>
            </a:endParaRPr>
          </a:p>
        </p:txBody>
      </p:sp>
      <p:sp>
        <p:nvSpPr>
          <p:cNvPr id="2" name="Title 1">
            <a:extLst>
              <a:ext uri="{FF2B5EF4-FFF2-40B4-BE49-F238E27FC236}">
                <a16:creationId xmlns:a16="http://schemas.microsoft.com/office/drawing/2014/main" id="{DDD93ED2-CD24-C515-FC46-02E46DCCBC68}"/>
              </a:ext>
            </a:extLst>
          </p:cNvPr>
          <p:cNvSpPr>
            <a:spLocks noGrp="1"/>
          </p:cNvSpPr>
          <p:nvPr>
            <p:ph type="title" idx="4294967295"/>
          </p:nvPr>
        </p:nvSpPr>
        <p:spPr>
          <a:xfrm>
            <a:off x="435653" y="100013"/>
            <a:ext cx="11498378" cy="734983"/>
          </a:xfrm>
        </p:spPr>
        <p:txBody>
          <a:bodyPr>
            <a:normAutofit/>
          </a:bodyPr>
          <a:lstStyle/>
          <a:p>
            <a:r>
              <a:rPr lang="en-US" sz="2900" b="1" dirty="0">
                <a:solidFill>
                  <a:schemeClr val="accent1"/>
                </a:solidFill>
                <a:latin typeface="Calibri"/>
                <a:ea typeface="Calibri"/>
                <a:cs typeface="Calibri"/>
              </a:rPr>
              <a:t>NCB VCG White Paper Workstream</a:t>
            </a:r>
          </a:p>
        </p:txBody>
      </p:sp>
      <p:pic>
        <p:nvPicPr>
          <p:cNvPr id="4" name="Imagen 22" descr="Amgen | AseBio - Asociación Empresas Biotecnología">
            <a:extLst>
              <a:ext uri="{FF2B5EF4-FFF2-40B4-BE49-F238E27FC236}">
                <a16:creationId xmlns:a16="http://schemas.microsoft.com/office/drawing/2014/main" id="{6D311359-A645-9866-378F-7A517AA2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59873" y="2791866"/>
            <a:ext cx="839173" cy="26146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23" descr="Logotipo&#10;&#10;Descripción generada automáticamente">
            <a:extLst>
              <a:ext uri="{FF2B5EF4-FFF2-40B4-BE49-F238E27FC236}">
                <a16:creationId xmlns:a16="http://schemas.microsoft.com/office/drawing/2014/main" id="{E467AC10-4CE4-B3A6-6262-F34A8D99B1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39324" y="3098361"/>
            <a:ext cx="627512" cy="627512"/>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27" descr="Imagen que contiene dibujo, alimentos&#10;&#10;Descripción generada automáticamente">
            <a:extLst>
              <a:ext uri="{FF2B5EF4-FFF2-40B4-BE49-F238E27FC236}">
                <a16:creationId xmlns:a16="http://schemas.microsoft.com/office/drawing/2014/main" id="{B147620F-A2ED-25BA-0571-8CE27DE7E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6690" y="3774260"/>
            <a:ext cx="1982141" cy="318736"/>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52" descr="Roche – Logos Download">
            <a:extLst>
              <a:ext uri="{FF2B5EF4-FFF2-40B4-BE49-F238E27FC236}">
                <a16:creationId xmlns:a16="http://schemas.microsoft.com/office/drawing/2014/main" id="{51E252BC-0AAB-DA88-FA9A-1373798339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7760" y="5329250"/>
            <a:ext cx="888975" cy="505495"/>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57" descr="Our Partners – CreakyJoints">
            <a:extLst>
              <a:ext uri="{FF2B5EF4-FFF2-40B4-BE49-F238E27FC236}">
                <a16:creationId xmlns:a16="http://schemas.microsoft.com/office/drawing/2014/main" id="{FD06713F-F69F-DA9A-847D-122DC49A2D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39324" y="5377990"/>
            <a:ext cx="1085695" cy="358577"/>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5" descr="AstraZeneca | Fundación IDIS">
            <a:extLst>
              <a:ext uri="{FF2B5EF4-FFF2-40B4-BE49-F238E27FC236}">
                <a16:creationId xmlns:a16="http://schemas.microsoft.com/office/drawing/2014/main" id="{CE13BBD9-F790-04B1-FE44-8FEDE5FABF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01589" y="2795040"/>
            <a:ext cx="1655652" cy="9940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1" descr="ABBVIE Inc (ABBV) - Warrior Trading News">
            <a:extLst>
              <a:ext uri="{FF2B5EF4-FFF2-40B4-BE49-F238E27FC236}">
                <a16:creationId xmlns:a16="http://schemas.microsoft.com/office/drawing/2014/main" id="{8B052B6A-E8B5-3BF0-5B51-59518FDE99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49775" y="2835442"/>
            <a:ext cx="1015972" cy="1743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ack background with red text&#10;&#10;AI-generated content may be incorrect.">
            <a:extLst>
              <a:ext uri="{FF2B5EF4-FFF2-40B4-BE49-F238E27FC236}">
                <a16:creationId xmlns:a16="http://schemas.microsoft.com/office/drawing/2014/main" id="{DC5A8C3E-1398-1853-DA87-4EFA9EABDD1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52931" y="4226378"/>
            <a:ext cx="1703139" cy="465652"/>
          </a:xfrm>
          <a:prstGeom prst="rect">
            <a:avLst/>
          </a:prstGeom>
        </p:spPr>
      </p:pic>
      <p:pic>
        <p:nvPicPr>
          <p:cNvPr id="13" name="Picture 12" descr="A blue and black logo&#10;&#10;AI-generated content may be incorrect.">
            <a:extLst>
              <a:ext uri="{FF2B5EF4-FFF2-40B4-BE49-F238E27FC236}">
                <a16:creationId xmlns:a16="http://schemas.microsoft.com/office/drawing/2014/main" id="{45089DE9-8908-15FE-64FE-6F1D24F92ED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85364" y="4737878"/>
            <a:ext cx="1062929" cy="438723"/>
          </a:xfrm>
          <a:prstGeom prst="rect">
            <a:avLst/>
          </a:prstGeom>
        </p:spPr>
      </p:pic>
      <p:pic>
        <p:nvPicPr>
          <p:cNvPr id="1026" name="Picture 2" descr="Eli Lilly and Company - Wikipedia">
            <a:extLst>
              <a:ext uri="{FF2B5EF4-FFF2-40B4-BE49-F238E27FC236}">
                <a16:creationId xmlns:a16="http://schemas.microsoft.com/office/drawing/2014/main" id="{876476E1-2093-B4A2-C5F9-29251E815C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979459" y="4234527"/>
            <a:ext cx="959937" cy="54439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logo with text overlay&#10;&#10;AI-generated content may be incorrect.">
            <a:extLst>
              <a:ext uri="{FF2B5EF4-FFF2-40B4-BE49-F238E27FC236}">
                <a16:creationId xmlns:a16="http://schemas.microsoft.com/office/drawing/2014/main" id="{3B1A0863-FFE4-27F2-591D-B1743B3902D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83690" y="6046289"/>
            <a:ext cx="967777" cy="697405"/>
          </a:xfrm>
          <a:prstGeom prst="rect">
            <a:avLst/>
          </a:prstGeom>
        </p:spPr>
      </p:pic>
      <p:pic>
        <p:nvPicPr>
          <p:cNvPr id="1028" name="Picture 4" descr="Laboratory Testing ...">
            <a:extLst>
              <a:ext uri="{FF2B5EF4-FFF2-40B4-BE49-F238E27FC236}">
                <a16:creationId xmlns:a16="http://schemas.microsoft.com/office/drawing/2014/main" id="{B5EC0BAA-D925-BDEF-6F46-9304E0B1DCC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7522" y="5811839"/>
            <a:ext cx="1223406" cy="12234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laxoSmithKline officially rebrands as ...">
            <a:extLst>
              <a:ext uri="{FF2B5EF4-FFF2-40B4-BE49-F238E27FC236}">
                <a16:creationId xmlns:a16="http://schemas.microsoft.com/office/drawing/2014/main" id="{C0435512-BCA1-3C9A-B6C9-5FEA9709E91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756070" y="3774260"/>
            <a:ext cx="676264" cy="43872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Food and Drug Administration · GitHub">
            <a:extLst>
              <a:ext uri="{FF2B5EF4-FFF2-40B4-BE49-F238E27FC236}">
                <a16:creationId xmlns:a16="http://schemas.microsoft.com/office/drawing/2014/main" id="{B702C78D-7EF0-642F-0AEE-DEBA56FE185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86152" y="4731519"/>
            <a:ext cx="1292942" cy="129294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EUROPEAN MEDICINES AGENCY - Newsletter ...">
            <a:extLst>
              <a:ext uri="{FF2B5EF4-FFF2-40B4-BE49-F238E27FC236}">
                <a16:creationId xmlns:a16="http://schemas.microsoft.com/office/drawing/2014/main" id="{5A049C0F-EDF7-30D2-9CD0-377A3BDEE81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941823" y="5931341"/>
            <a:ext cx="2205191" cy="8314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TU Dortmund University - Short Term ...">
            <a:extLst>
              <a:ext uri="{FF2B5EF4-FFF2-40B4-BE49-F238E27FC236}">
                <a16:creationId xmlns:a16="http://schemas.microsoft.com/office/drawing/2014/main" id="{B9D6992F-3D02-3DF1-4899-89450B8AD94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29794" y="4243729"/>
            <a:ext cx="1617772" cy="842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Merck | Home">
            <a:extLst>
              <a:ext uri="{FF2B5EF4-FFF2-40B4-BE49-F238E27FC236}">
                <a16:creationId xmlns:a16="http://schemas.microsoft.com/office/drawing/2014/main" id="{87C744E3-9D7C-2B1E-0EF8-983E081E63D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896785" y="4566688"/>
            <a:ext cx="1845265" cy="83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094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5FEFA9-63E6-4AB4-0381-BA1CE1D5D7E2}"/>
              </a:ext>
            </a:extLst>
          </p:cNvPr>
          <p:cNvSpPr>
            <a:spLocks noGrp="1"/>
          </p:cNvSpPr>
          <p:nvPr>
            <p:ph idx="4294967295"/>
          </p:nvPr>
        </p:nvSpPr>
        <p:spPr>
          <a:xfrm>
            <a:off x="0" y="4897438"/>
            <a:ext cx="4830763" cy="317500"/>
          </a:xfrm>
        </p:spPr>
        <p:txBody>
          <a:bodyPr>
            <a:normAutofit fontScale="70000" lnSpcReduction="20000"/>
          </a:bodyPr>
          <a:lstStyle/>
          <a:p>
            <a:pPr marL="380365" indent="-380365">
              <a:lnSpc>
                <a:spcPct val="114999"/>
              </a:lnSpc>
              <a:spcBef>
                <a:spcPts val="0"/>
              </a:spcBef>
              <a:spcAft>
                <a:spcPts val="0"/>
              </a:spcAft>
              <a:buFont typeface="Arial" panose="020B0604020202020204" pitchFamily="34" charset="0"/>
              <a:buChar char="•"/>
            </a:pPr>
            <a:endParaRPr lang="en-US" sz="2000">
              <a:ea typeface="+mn-lt"/>
              <a:cs typeface="+mn-lt"/>
            </a:endParaRPr>
          </a:p>
          <a:p>
            <a:pPr marL="380365" indent="-380365">
              <a:lnSpc>
                <a:spcPct val="114999"/>
              </a:lnSpc>
              <a:spcBef>
                <a:spcPts val="0"/>
              </a:spcBef>
              <a:spcAft>
                <a:spcPts val="0"/>
              </a:spcAft>
              <a:buFont typeface="Arial" panose="020B0604020202020204" pitchFamily="34" charset="0"/>
              <a:buChar char="•"/>
            </a:pPr>
            <a:endParaRPr lang="en-US" sz="2000">
              <a:ea typeface="+mn-lt"/>
              <a:cs typeface="+mn-lt"/>
            </a:endParaRPr>
          </a:p>
          <a:p>
            <a:pPr marL="380365" indent="-380365">
              <a:lnSpc>
                <a:spcPct val="114999"/>
              </a:lnSpc>
              <a:spcBef>
                <a:spcPts val="0"/>
              </a:spcBef>
              <a:spcAft>
                <a:spcPts val="0"/>
              </a:spcAft>
              <a:buFont typeface="Arial" panose="020B0604020202020204" pitchFamily="34" charset="0"/>
              <a:buChar char="•"/>
            </a:pPr>
            <a:endParaRPr lang="en-US" sz="2000">
              <a:ea typeface="+mn-lt"/>
              <a:cs typeface="+mn-lt"/>
            </a:endParaRPr>
          </a:p>
          <a:p>
            <a:pPr marL="380365" indent="-380365">
              <a:lnSpc>
                <a:spcPct val="114999"/>
              </a:lnSpc>
              <a:spcBef>
                <a:spcPts val="0"/>
              </a:spcBef>
              <a:spcAft>
                <a:spcPts val="0"/>
              </a:spcAft>
              <a:buFont typeface="Arial" panose="020B0604020202020204" pitchFamily="34" charset="0"/>
              <a:buChar char="•"/>
            </a:pPr>
            <a:endParaRPr lang="en-US" sz="2000">
              <a:ea typeface="+mn-lt"/>
              <a:cs typeface="+mn-lt"/>
            </a:endParaRPr>
          </a:p>
          <a:p>
            <a:pPr marL="380365" indent="-380365">
              <a:lnSpc>
                <a:spcPct val="114999"/>
              </a:lnSpc>
              <a:spcBef>
                <a:spcPts val="0"/>
              </a:spcBef>
              <a:spcAft>
                <a:spcPts val="0"/>
              </a:spcAft>
              <a:buFont typeface="Arial" panose="020B0604020202020204" pitchFamily="34" charset="0"/>
              <a:buChar char="•"/>
            </a:pPr>
            <a:endParaRPr lang="en-US" sz="2000">
              <a:ea typeface="+mn-lt"/>
              <a:cs typeface="+mn-lt"/>
            </a:endParaRPr>
          </a:p>
          <a:p>
            <a:pPr>
              <a:lnSpc>
                <a:spcPct val="114999"/>
              </a:lnSpc>
              <a:spcBef>
                <a:spcPts val="0"/>
              </a:spcBef>
              <a:spcAft>
                <a:spcPts val="0"/>
              </a:spcAft>
            </a:pPr>
            <a:endParaRPr lang="en-US" sz="2000">
              <a:ea typeface="+mn-lt"/>
              <a:cs typeface="+mn-lt"/>
            </a:endParaRPr>
          </a:p>
        </p:txBody>
      </p:sp>
      <p:pic>
        <p:nvPicPr>
          <p:cNvPr id="7" name="Picture 7">
            <a:extLst>
              <a:ext uri="{FF2B5EF4-FFF2-40B4-BE49-F238E27FC236}">
                <a16:creationId xmlns:a16="http://schemas.microsoft.com/office/drawing/2014/main" id="{1CB067A8-9361-B050-412F-8E785E326C69}"/>
              </a:ext>
            </a:extLst>
          </p:cNvPr>
          <p:cNvPicPr>
            <a:picLocks noChangeAspect="1"/>
          </p:cNvPicPr>
          <p:nvPr/>
        </p:nvPicPr>
        <p:blipFill>
          <a:blip r:embed="rId2"/>
          <a:stretch>
            <a:fillRect/>
          </a:stretch>
        </p:blipFill>
        <p:spPr>
          <a:xfrm>
            <a:off x="2439308" y="794259"/>
            <a:ext cx="2041677" cy="1262613"/>
          </a:xfrm>
          <a:prstGeom prst="rect">
            <a:avLst/>
          </a:prstGeom>
        </p:spPr>
      </p:pic>
      <p:sp>
        <p:nvSpPr>
          <p:cNvPr id="8" name="TextBox 7">
            <a:extLst>
              <a:ext uri="{FF2B5EF4-FFF2-40B4-BE49-F238E27FC236}">
                <a16:creationId xmlns:a16="http://schemas.microsoft.com/office/drawing/2014/main" id="{201E8570-298F-9BCF-ED4E-A427A97D7582}"/>
              </a:ext>
            </a:extLst>
          </p:cNvPr>
          <p:cNvSpPr txBox="1"/>
          <p:nvPr/>
        </p:nvSpPr>
        <p:spPr>
          <a:xfrm>
            <a:off x="361351" y="2042871"/>
            <a:ext cx="559963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cs typeface="Calibri"/>
              </a:rPr>
              <a:t>Bayesian </a:t>
            </a:r>
            <a:r>
              <a:rPr lang="en-US" sz="2000" dirty="0">
                <a:cs typeface="Calibri"/>
              </a:rPr>
              <a:t>statistics for VCG analysis</a:t>
            </a:r>
            <a:r>
              <a:rPr lang="en-US" sz="2000" dirty="0">
                <a:solidFill>
                  <a:schemeClr val="tx2"/>
                </a:solidFill>
                <a:cs typeface="Calibri"/>
              </a:rPr>
              <a:t>.</a:t>
            </a:r>
            <a:endParaRPr lang="en-US" sz="2000" dirty="0">
              <a:solidFill>
                <a:schemeClr val="tx2"/>
              </a:solidFill>
            </a:endParaRPr>
          </a:p>
        </p:txBody>
      </p:sp>
      <p:pic>
        <p:nvPicPr>
          <p:cNvPr id="9" name="Picture 9" descr="Diagram&#10;&#10;Description automatically generated">
            <a:extLst>
              <a:ext uri="{FF2B5EF4-FFF2-40B4-BE49-F238E27FC236}">
                <a16:creationId xmlns:a16="http://schemas.microsoft.com/office/drawing/2014/main" id="{76585117-4504-F51E-D7D5-A55EDB0E8584}"/>
              </a:ext>
            </a:extLst>
          </p:cNvPr>
          <p:cNvPicPr>
            <a:picLocks noChangeAspect="1"/>
          </p:cNvPicPr>
          <p:nvPr/>
        </p:nvPicPr>
        <p:blipFill>
          <a:blip r:embed="rId3"/>
          <a:stretch>
            <a:fillRect/>
          </a:stretch>
        </p:blipFill>
        <p:spPr>
          <a:xfrm>
            <a:off x="6488457" y="775739"/>
            <a:ext cx="3369223" cy="1299652"/>
          </a:xfrm>
          <a:prstGeom prst="rect">
            <a:avLst/>
          </a:prstGeom>
        </p:spPr>
      </p:pic>
      <p:sp>
        <p:nvSpPr>
          <p:cNvPr id="10" name="TextBox 9">
            <a:extLst>
              <a:ext uri="{FF2B5EF4-FFF2-40B4-BE49-F238E27FC236}">
                <a16:creationId xmlns:a16="http://schemas.microsoft.com/office/drawing/2014/main" id="{2171BF72-13D9-EEF8-7423-40D55A945693}"/>
              </a:ext>
            </a:extLst>
          </p:cNvPr>
          <p:cNvSpPr txBox="1"/>
          <p:nvPr/>
        </p:nvSpPr>
        <p:spPr>
          <a:xfrm>
            <a:off x="6693064" y="1923189"/>
            <a:ext cx="4970688"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cs typeface="Calibri"/>
              </a:rPr>
              <a:t>Understanding </a:t>
            </a:r>
            <a:r>
              <a:rPr lang="en-US" sz="2000" b="1" dirty="0">
                <a:cs typeface="Calibri"/>
              </a:rPr>
              <a:t>sources of variability</a:t>
            </a:r>
            <a:r>
              <a:rPr lang="en-US" sz="2000" dirty="0">
                <a:cs typeface="Calibri"/>
              </a:rPr>
              <a:t> is crucial</a:t>
            </a:r>
          </a:p>
        </p:txBody>
      </p:sp>
      <p:pic>
        <p:nvPicPr>
          <p:cNvPr id="11" name="Picture 11">
            <a:extLst>
              <a:ext uri="{FF2B5EF4-FFF2-40B4-BE49-F238E27FC236}">
                <a16:creationId xmlns:a16="http://schemas.microsoft.com/office/drawing/2014/main" id="{3D26F547-E891-925F-0847-2E1BD28685CA}"/>
              </a:ext>
            </a:extLst>
          </p:cNvPr>
          <p:cNvPicPr>
            <a:picLocks noChangeAspect="1"/>
          </p:cNvPicPr>
          <p:nvPr/>
        </p:nvPicPr>
        <p:blipFill>
          <a:blip r:embed="rId4"/>
          <a:stretch>
            <a:fillRect/>
          </a:stretch>
        </p:blipFill>
        <p:spPr>
          <a:xfrm>
            <a:off x="451455" y="3116135"/>
            <a:ext cx="1987853" cy="1319742"/>
          </a:xfrm>
          <a:prstGeom prst="rect">
            <a:avLst/>
          </a:prstGeom>
        </p:spPr>
      </p:pic>
      <p:pic>
        <p:nvPicPr>
          <p:cNvPr id="12" name="Picture 12" descr="Diagram&#10;&#10;Description automatically generated">
            <a:extLst>
              <a:ext uri="{FF2B5EF4-FFF2-40B4-BE49-F238E27FC236}">
                <a16:creationId xmlns:a16="http://schemas.microsoft.com/office/drawing/2014/main" id="{DA7CFCC2-30AE-D086-843C-810811B74846}"/>
              </a:ext>
            </a:extLst>
          </p:cNvPr>
          <p:cNvPicPr>
            <a:picLocks noChangeAspect="1"/>
          </p:cNvPicPr>
          <p:nvPr/>
        </p:nvPicPr>
        <p:blipFill>
          <a:blip r:embed="rId5"/>
          <a:stretch>
            <a:fillRect/>
          </a:stretch>
        </p:blipFill>
        <p:spPr>
          <a:xfrm>
            <a:off x="2680304" y="3186746"/>
            <a:ext cx="2743200" cy="1190615"/>
          </a:xfrm>
          <a:prstGeom prst="rect">
            <a:avLst/>
          </a:prstGeom>
        </p:spPr>
      </p:pic>
      <p:sp>
        <p:nvSpPr>
          <p:cNvPr id="13" name="TextBox 12">
            <a:extLst>
              <a:ext uri="{FF2B5EF4-FFF2-40B4-BE49-F238E27FC236}">
                <a16:creationId xmlns:a16="http://schemas.microsoft.com/office/drawing/2014/main" id="{F7C593D3-E644-E4FF-D644-512C0FEF7E3E}"/>
              </a:ext>
            </a:extLst>
          </p:cNvPr>
          <p:cNvSpPr txBox="1"/>
          <p:nvPr/>
        </p:nvSpPr>
        <p:spPr>
          <a:xfrm>
            <a:off x="437845" y="4500505"/>
            <a:ext cx="5297259" cy="7779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999"/>
              </a:lnSpc>
            </a:pPr>
            <a:r>
              <a:rPr lang="en-US" sz="2000" dirty="0">
                <a:cs typeface="Calibri"/>
              </a:rPr>
              <a:t>Balance between </a:t>
            </a:r>
            <a:r>
              <a:rPr lang="en-US" sz="2000" b="1" dirty="0">
                <a:cs typeface="Calibri"/>
              </a:rPr>
              <a:t>randomization and matching</a:t>
            </a:r>
          </a:p>
        </p:txBody>
      </p:sp>
      <p:pic>
        <p:nvPicPr>
          <p:cNvPr id="14" name="Picture 14" descr="Chart, line chart&#10;&#10;Description automatically generated">
            <a:extLst>
              <a:ext uri="{FF2B5EF4-FFF2-40B4-BE49-F238E27FC236}">
                <a16:creationId xmlns:a16="http://schemas.microsoft.com/office/drawing/2014/main" id="{BBCEA690-0A70-EFCA-5EDB-C83B7D61DE95}"/>
              </a:ext>
            </a:extLst>
          </p:cNvPr>
          <p:cNvPicPr>
            <a:picLocks noChangeAspect="1"/>
          </p:cNvPicPr>
          <p:nvPr/>
        </p:nvPicPr>
        <p:blipFill>
          <a:blip r:embed="rId6"/>
          <a:stretch>
            <a:fillRect/>
          </a:stretch>
        </p:blipFill>
        <p:spPr>
          <a:xfrm>
            <a:off x="6801468" y="2885065"/>
            <a:ext cx="2743200" cy="1615440"/>
          </a:xfrm>
          <a:prstGeom prst="rect">
            <a:avLst/>
          </a:prstGeom>
        </p:spPr>
      </p:pic>
      <p:sp>
        <p:nvSpPr>
          <p:cNvPr id="16" name="Content Placeholder 2">
            <a:extLst>
              <a:ext uri="{FF2B5EF4-FFF2-40B4-BE49-F238E27FC236}">
                <a16:creationId xmlns:a16="http://schemas.microsoft.com/office/drawing/2014/main" id="{6B7E4212-465D-3064-C27D-F7C90F7EEFB8}"/>
              </a:ext>
            </a:extLst>
          </p:cNvPr>
          <p:cNvSpPr txBox="1">
            <a:spLocks/>
          </p:cNvSpPr>
          <p:nvPr/>
        </p:nvSpPr>
        <p:spPr bwMode="auto">
          <a:xfrm>
            <a:off x="6768498" y="4549950"/>
            <a:ext cx="4830838" cy="31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90000"/>
              </a:lnSpc>
              <a:spcBef>
                <a:spcPts val="1000"/>
              </a:spcBef>
              <a:spcAft>
                <a:spcPct val="0"/>
              </a:spcAft>
              <a:buClr>
                <a:srgbClr val="272962"/>
              </a:buClr>
              <a:buFont typeface="Arial" panose="020B0604020202020204" pitchFamily="34" charset="0"/>
              <a:buNone/>
              <a:defRPr sz="2800" kern="1200">
                <a:solidFill>
                  <a:srgbClr val="272962"/>
                </a:solidFill>
                <a:latin typeface="+mn-lt"/>
                <a:ea typeface="+mn-ea"/>
                <a:cs typeface="+mn-cs"/>
              </a:defRPr>
            </a:lvl1pPr>
            <a:lvl2pPr marL="685783" indent="-228594" algn="l" rtl="0" eaLnBrk="0" fontAlgn="base" hangingPunct="0">
              <a:lnSpc>
                <a:spcPct val="90000"/>
              </a:lnSpc>
              <a:spcBef>
                <a:spcPts val="500"/>
              </a:spcBef>
              <a:spcAft>
                <a:spcPct val="0"/>
              </a:spcAft>
              <a:buClr>
                <a:srgbClr val="F79646"/>
              </a:buClr>
              <a:buFont typeface="Arial" panose="020B0604020202020204" pitchFamily="34" charset="0"/>
              <a:buChar char="•"/>
              <a:defRPr sz="2400" kern="1200">
                <a:solidFill>
                  <a:schemeClr val="tx1"/>
                </a:solidFill>
                <a:latin typeface="+mn-lt"/>
                <a:ea typeface="+mn-ea"/>
                <a:cs typeface="+mn-cs"/>
              </a:defRPr>
            </a:lvl2pPr>
            <a:lvl3pPr marL="1142971" indent="-228594" algn="l" rtl="0" eaLnBrk="0" fontAlgn="base" hangingPunct="0">
              <a:lnSpc>
                <a:spcPct val="90000"/>
              </a:lnSpc>
              <a:spcBef>
                <a:spcPts val="500"/>
              </a:spcBef>
              <a:spcAft>
                <a:spcPct val="0"/>
              </a:spcAft>
              <a:buClr>
                <a:srgbClr val="F79646"/>
              </a:buClr>
              <a:buFont typeface="Arial" panose="020B0604020202020204" pitchFamily="34" charset="0"/>
              <a:buChar char="•"/>
              <a:defRPr sz="2000" kern="1200">
                <a:solidFill>
                  <a:schemeClr val="tx1"/>
                </a:solidFill>
                <a:latin typeface="+mn-lt"/>
                <a:ea typeface="+mn-ea"/>
                <a:cs typeface="+mn-cs"/>
              </a:defRPr>
            </a:lvl3pPr>
            <a:lvl4pPr marL="1600160" indent="-228594" algn="l" rtl="0" eaLnBrk="0" fontAlgn="base" hangingPunct="0">
              <a:lnSpc>
                <a:spcPct val="90000"/>
              </a:lnSpc>
              <a:spcBef>
                <a:spcPts val="500"/>
              </a:spcBef>
              <a:spcAft>
                <a:spcPct val="0"/>
              </a:spcAft>
              <a:buClr>
                <a:srgbClr val="F79646"/>
              </a:buClr>
              <a:buFont typeface="Arial" panose="020B0604020202020204" pitchFamily="34" charset="0"/>
              <a:buChar char="•"/>
              <a:defRPr kern="1200">
                <a:solidFill>
                  <a:schemeClr val="tx1"/>
                </a:solidFill>
                <a:latin typeface="+mn-lt"/>
                <a:ea typeface="+mn-ea"/>
                <a:cs typeface="+mn-cs"/>
              </a:defRPr>
            </a:lvl4pPr>
            <a:lvl5pPr marL="2057349" indent="-228594" algn="l" rtl="0" eaLnBrk="0" fontAlgn="base" hangingPunct="0">
              <a:lnSpc>
                <a:spcPct val="90000"/>
              </a:lnSpc>
              <a:spcBef>
                <a:spcPts val="500"/>
              </a:spcBef>
              <a:spcAft>
                <a:spcPct val="0"/>
              </a:spcAft>
              <a:buClr>
                <a:srgbClr val="F79646"/>
              </a:buClr>
              <a:buFont typeface="Arial" panose="020B0604020202020204" pitchFamily="34" charset="0"/>
              <a:buChar char="•"/>
              <a:defRPr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4999"/>
              </a:lnSpc>
              <a:spcBef>
                <a:spcPts val="0"/>
              </a:spcBef>
              <a:spcAft>
                <a:spcPts val="0"/>
              </a:spcAft>
            </a:pPr>
            <a:r>
              <a:rPr lang="en-US" sz="2000" b="1" dirty="0">
                <a:solidFill>
                  <a:schemeClr val="tx1"/>
                </a:solidFill>
                <a:ea typeface="+mn-lt"/>
                <a:cs typeface="+mn-lt"/>
              </a:rPr>
              <a:t>Quality control</a:t>
            </a:r>
            <a:r>
              <a:rPr lang="en-US" sz="2000" dirty="0">
                <a:solidFill>
                  <a:schemeClr val="tx1"/>
                </a:solidFill>
                <a:ea typeface="+mn-lt"/>
                <a:cs typeface="+mn-lt"/>
              </a:rPr>
              <a:t>/outliers/inclusion &amp; exclusion</a:t>
            </a:r>
          </a:p>
          <a:p>
            <a:pPr marL="380365" indent="-380365">
              <a:lnSpc>
                <a:spcPct val="114999"/>
              </a:lnSpc>
              <a:spcBef>
                <a:spcPts val="0"/>
              </a:spcBef>
              <a:spcAft>
                <a:spcPts val="0"/>
              </a:spcAft>
              <a:buFont typeface="Arial" panose="020B0604020202020204" pitchFamily="34" charset="0"/>
              <a:buChar char="•"/>
            </a:pPr>
            <a:endParaRPr lang="en-US" sz="2000" dirty="0">
              <a:solidFill>
                <a:schemeClr val="tx1"/>
              </a:solidFill>
              <a:ea typeface="+mn-lt"/>
              <a:cs typeface="+mn-lt"/>
            </a:endParaRPr>
          </a:p>
          <a:p>
            <a:pPr marL="380365" indent="-380365">
              <a:lnSpc>
                <a:spcPct val="114999"/>
              </a:lnSpc>
              <a:spcBef>
                <a:spcPts val="0"/>
              </a:spcBef>
              <a:spcAft>
                <a:spcPts val="0"/>
              </a:spcAft>
              <a:buFont typeface="Arial" panose="020B0604020202020204" pitchFamily="34" charset="0"/>
              <a:buChar char="•"/>
            </a:pPr>
            <a:endParaRPr lang="en-US" sz="2000" dirty="0">
              <a:solidFill>
                <a:schemeClr val="tx1"/>
              </a:solidFill>
              <a:cs typeface="Calibri"/>
            </a:endParaRPr>
          </a:p>
        </p:txBody>
      </p:sp>
      <p:pic>
        <p:nvPicPr>
          <p:cNvPr id="18" name="Picture 2" descr="Virtual Control Groups: one step forward into the future of animal testing  in toxicology – eTRANSAFE">
            <a:extLst>
              <a:ext uri="{FF2B5EF4-FFF2-40B4-BE49-F238E27FC236}">
                <a16:creationId xmlns:a16="http://schemas.microsoft.com/office/drawing/2014/main" id="{309F3C5A-3FA5-67D2-509A-1D05AD5706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10060" y="5094635"/>
            <a:ext cx="2322798" cy="1133943"/>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a:extLst>
              <a:ext uri="{FF2B5EF4-FFF2-40B4-BE49-F238E27FC236}">
                <a16:creationId xmlns:a16="http://schemas.microsoft.com/office/drawing/2014/main" id="{DA4882D4-E447-7A11-01CA-B39D94504922}"/>
              </a:ext>
            </a:extLst>
          </p:cNvPr>
          <p:cNvSpPr txBox="1">
            <a:spLocks/>
          </p:cNvSpPr>
          <p:nvPr/>
        </p:nvSpPr>
        <p:spPr bwMode="auto">
          <a:xfrm>
            <a:off x="3376771" y="6218729"/>
            <a:ext cx="6312174" cy="3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90000"/>
              </a:lnSpc>
              <a:spcBef>
                <a:spcPts val="1000"/>
              </a:spcBef>
              <a:spcAft>
                <a:spcPct val="0"/>
              </a:spcAft>
              <a:buClr>
                <a:srgbClr val="272962"/>
              </a:buClr>
              <a:buFont typeface="Arial" panose="020B0604020202020204" pitchFamily="34" charset="0"/>
              <a:buNone/>
              <a:defRPr sz="2800" kern="1200">
                <a:solidFill>
                  <a:srgbClr val="272962"/>
                </a:solidFill>
                <a:latin typeface="+mn-lt"/>
                <a:ea typeface="+mn-ea"/>
                <a:cs typeface="+mn-cs"/>
              </a:defRPr>
            </a:lvl1pPr>
            <a:lvl2pPr marL="685783" indent="-228594" algn="l" rtl="0" eaLnBrk="0" fontAlgn="base" hangingPunct="0">
              <a:lnSpc>
                <a:spcPct val="90000"/>
              </a:lnSpc>
              <a:spcBef>
                <a:spcPts val="500"/>
              </a:spcBef>
              <a:spcAft>
                <a:spcPct val="0"/>
              </a:spcAft>
              <a:buClr>
                <a:srgbClr val="F79646"/>
              </a:buClr>
              <a:buFont typeface="Arial" panose="020B0604020202020204" pitchFamily="34" charset="0"/>
              <a:buChar char="•"/>
              <a:defRPr sz="2400" kern="1200">
                <a:solidFill>
                  <a:schemeClr val="tx1"/>
                </a:solidFill>
                <a:latin typeface="+mn-lt"/>
                <a:ea typeface="+mn-ea"/>
                <a:cs typeface="+mn-cs"/>
              </a:defRPr>
            </a:lvl2pPr>
            <a:lvl3pPr marL="1142971" indent="-228594" algn="l" rtl="0" eaLnBrk="0" fontAlgn="base" hangingPunct="0">
              <a:lnSpc>
                <a:spcPct val="90000"/>
              </a:lnSpc>
              <a:spcBef>
                <a:spcPts val="500"/>
              </a:spcBef>
              <a:spcAft>
                <a:spcPct val="0"/>
              </a:spcAft>
              <a:buClr>
                <a:srgbClr val="F79646"/>
              </a:buClr>
              <a:buFont typeface="Arial" panose="020B0604020202020204" pitchFamily="34" charset="0"/>
              <a:buChar char="•"/>
              <a:defRPr sz="2000" kern="1200">
                <a:solidFill>
                  <a:schemeClr val="tx1"/>
                </a:solidFill>
                <a:latin typeface="+mn-lt"/>
                <a:ea typeface="+mn-ea"/>
                <a:cs typeface="+mn-cs"/>
              </a:defRPr>
            </a:lvl3pPr>
            <a:lvl4pPr marL="1600160" indent="-228594" algn="l" rtl="0" eaLnBrk="0" fontAlgn="base" hangingPunct="0">
              <a:lnSpc>
                <a:spcPct val="90000"/>
              </a:lnSpc>
              <a:spcBef>
                <a:spcPts val="500"/>
              </a:spcBef>
              <a:spcAft>
                <a:spcPct val="0"/>
              </a:spcAft>
              <a:buClr>
                <a:srgbClr val="F79646"/>
              </a:buClr>
              <a:buFont typeface="Arial" panose="020B0604020202020204" pitchFamily="34" charset="0"/>
              <a:buChar char="•"/>
              <a:defRPr kern="1200">
                <a:solidFill>
                  <a:schemeClr val="tx1"/>
                </a:solidFill>
                <a:latin typeface="+mn-lt"/>
                <a:ea typeface="+mn-ea"/>
                <a:cs typeface="+mn-cs"/>
              </a:defRPr>
            </a:lvl4pPr>
            <a:lvl5pPr marL="2057349" indent="-228594" algn="l" rtl="0" eaLnBrk="0" fontAlgn="base" hangingPunct="0">
              <a:lnSpc>
                <a:spcPct val="90000"/>
              </a:lnSpc>
              <a:spcBef>
                <a:spcPts val="500"/>
              </a:spcBef>
              <a:spcAft>
                <a:spcPct val="0"/>
              </a:spcAft>
              <a:buClr>
                <a:srgbClr val="F79646"/>
              </a:buClr>
              <a:buFont typeface="Arial" panose="020B0604020202020204" pitchFamily="34" charset="0"/>
              <a:buChar char="•"/>
              <a:defRPr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4999"/>
              </a:lnSpc>
              <a:spcBef>
                <a:spcPts val="0"/>
              </a:spcBef>
              <a:spcAft>
                <a:spcPts val="0"/>
              </a:spcAft>
            </a:pPr>
            <a:r>
              <a:rPr lang="en-US" sz="2000" b="1" dirty="0">
                <a:solidFill>
                  <a:schemeClr val="tx1"/>
                </a:solidFill>
                <a:ea typeface="+mn-lt"/>
                <a:cs typeface="+mn-lt"/>
              </a:rPr>
              <a:t>Hybrid </a:t>
            </a:r>
            <a:r>
              <a:rPr lang="en-US" sz="2000" dirty="0">
                <a:solidFill>
                  <a:schemeClr val="tx1"/>
                </a:solidFill>
                <a:ea typeface="+mn-lt"/>
                <a:cs typeface="+mn-lt"/>
              </a:rPr>
              <a:t>of concurrent controls and virtual controls</a:t>
            </a:r>
            <a:endParaRPr lang="en-US" sz="2000" dirty="0">
              <a:solidFill>
                <a:schemeClr val="tx1"/>
              </a:solidFill>
              <a:cs typeface="Calibri"/>
            </a:endParaRPr>
          </a:p>
        </p:txBody>
      </p:sp>
      <p:pic>
        <p:nvPicPr>
          <p:cNvPr id="15" name="Picture 14">
            <a:extLst>
              <a:ext uri="{FF2B5EF4-FFF2-40B4-BE49-F238E27FC236}">
                <a16:creationId xmlns:a16="http://schemas.microsoft.com/office/drawing/2014/main" id="{E052EFE6-F350-97CA-657B-0731BBC5D7D4}"/>
              </a:ext>
            </a:extLst>
          </p:cNvPr>
          <p:cNvPicPr>
            <a:picLocks noChangeAspect="1"/>
          </p:cNvPicPr>
          <p:nvPr/>
        </p:nvPicPr>
        <p:blipFill>
          <a:blip r:embed="rId8"/>
          <a:stretch>
            <a:fillRect/>
          </a:stretch>
        </p:blipFill>
        <p:spPr>
          <a:xfrm>
            <a:off x="9737239" y="59884"/>
            <a:ext cx="2316201" cy="850393"/>
          </a:xfrm>
          <a:prstGeom prst="rect">
            <a:avLst/>
          </a:prstGeom>
        </p:spPr>
      </p:pic>
      <p:pic>
        <p:nvPicPr>
          <p:cNvPr id="1030" name="Picture 6" descr="Center for Alternatives to Animal Testing (CAAT) | LinkedIn">
            <a:extLst>
              <a:ext uri="{FF2B5EF4-FFF2-40B4-BE49-F238E27FC236}">
                <a16:creationId xmlns:a16="http://schemas.microsoft.com/office/drawing/2014/main" id="{B2651C25-69F8-134C-410A-F1C9EAB660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37239" y="916884"/>
            <a:ext cx="2364495" cy="712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5458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7A959-47B0-3AAA-705C-05033847947F}"/>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BBE36C7-C9C4-1919-77C7-38EC932A7206}"/>
              </a:ext>
            </a:extLst>
          </p:cNvPr>
          <p:cNvSpPr>
            <a:spLocks noGrp="1"/>
          </p:cNvSpPr>
          <p:nvPr>
            <p:ph idx="1"/>
          </p:nvPr>
        </p:nvSpPr>
        <p:spPr/>
        <p:txBody>
          <a:bodyPr/>
          <a:lstStyle/>
          <a:p>
            <a:r>
              <a:rPr lang="en-US" sz="1800" dirty="0">
                <a:solidFill>
                  <a:srgbClr val="000000"/>
                </a:solidFill>
                <a:effectLst/>
                <a:latin typeface="Calibri" panose="020F0502020204030204" pitchFamily="34" charset="0"/>
                <a:ea typeface="DengXian" panose="02010600030101010101" pitchFamily="2" charset="-122"/>
              </a:rPr>
              <a:t>All procedures performed on animals were in accordance with regulations and established guidelines and were reviewed and approved by an Institutional Animal Care and Use Committee or through an ethical review process</a:t>
            </a:r>
            <a:endParaRPr lang="en-US" dirty="0"/>
          </a:p>
        </p:txBody>
      </p:sp>
    </p:spTree>
    <p:extLst>
      <p:ext uri="{BB962C8B-B14F-4D97-AF65-F5344CB8AC3E}">
        <p14:creationId xmlns:p14="http://schemas.microsoft.com/office/powerpoint/2010/main" val="799715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86AFBE-8B83-468D-8EA3-0D601869D830}"/>
              </a:ext>
            </a:extLst>
          </p:cNvPr>
          <p:cNvSpPr>
            <a:spLocks noGrp="1"/>
          </p:cNvSpPr>
          <p:nvPr>
            <p:ph idx="4294967295"/>
          </p:nvPr>
        </p:nvSpPr>
        <p:spPr>
          <a:xfrm>
            <a:off x="257969" y="1071113"/>
            <a:ext cx="11676062" cy="5285872"/>
          </a:xfrm>
        </p:spPr>
        <p:txBody>
          <a:bodyPr>
            <a:noAutofit/>
          </a:bodyPr>
          <a:lstStyle/>
          <a:p>
            <a:pPr marL="457200" indent="-457200"/>
            <a:r>
              <a:rPr lang="en-US" sz="3200" dirty="0">
                <a:ea typeface="+mn-lt"/>
                <a:cs typeface="+mn-lt"/>
              </a:rPr>
              <a:t>FDA Modernization Act (FDAMA) 3.0 focuses on establishing a process for the FDA to qualify and prioritize the review of applications using non-animal testing methods, with the goal of </a:t>
            </a:r>
            <a:r>
              <a:rPr lang="en-US" sz="3200" dirty="0">
                <a:solidFill>
                  <a:srgbClr val="FF0000"/>
                </a:solidFill>
                <a:ea typeface="+mn-lt"/>
                <a:cs typeface="+mn-lt"/>
              </a:rPr>
              <a:t>reducing the reliance on animal testing</a:t>
            </a:r>
            <a:r>
              <a:rPr lang="en-US" sz="3200" dirty="0">
                <a:ea typeface="+mn-lt"/>
                <a:cs typeface="+mn-lt"/>
              </a:rPr>
              <a:t>. </a:t>
            </a:r>
          </a:p>
          <a:p>
            <a:pPr marL="914400" lvl="1" indent="-457200"/>
            <a:r>
              <a:rPr lang="en-US" sz="2800" dirty="0"/>
              <a:t>New Approach Methodologies (NAMs)</a:t>
            </a:r>
            <a:endParaRPr lang="en-US" sz="2800" dirty="0">
              <a:ea typeface="+mn-lt"/>
              <a:cs typeface="+mn-lt"/>
            </a:endParaRPr>
          </a:p>
          <a:p>
            <a:pPr marL="457200" indent="-457200">
              <a:buFont typeface="Arial" panose="020B0604020202020204" pitchFamily="34" charset="0"/>
              <a:buChar char="•"/>
            </a:pPr>
            <a:endParaRPr lang="en-US" sz="3200" dirty="0">
              <a:ea typeface="+mn-lt"/>
              <a:cs typeface="+mn-lt"/>
            </a:endParaRPr>
          </a:p>
          <a:p>
            <a:pPr marL="457200" indent="-457200">
              <a:buFont typeface="Arial" panose="020B0604020202020204" pitchFamily="34" charset="0"/>
              <a:buChar char="•"/>
            </a:pPr>
            <a:r>
              <a:rPr lang="en-US" sz="3200" dirty="0">
                <a:ea typeface="+mn-lt"/>
                <a:cs typeface="+mn-lt"/>
              </a:rPr>
              <a:t>Why do we need control animals in the first place?</a:t>
            </a:r>
          </a:p>
          <a:p>
            <a:pPr marL="685800" lvl="1" indent="-457200"/>
            <a:r>
              <a:rPr lang="en-US" sz="3200" dirty="0">
                <a:ea typeface="+mn-lt"/>
                <a:cs typeface="+mn-lt"/>
              </a:rPr>
              <a:t>Reference group</a:t>
            </a:r>
          </a:p>
          <a:p>
            <a:pPr marL="685800" lvl="1" indent="-457200"/>
            <a:r>
              <a:rPr lang="en-US" sz="3200" dirty="0">
                <a:ea typeface="+mn-lt"/>
                <a:cs typeface="+mn-lt"/>
              </a:rPr>
              <a:t>Quality control</a:t>
            </a:r>
          </a:p>
          <a:p>
            <a:pPr marL="685800" lvl="1" indent="-457200"/>
            <a:r>
              <a:rPr lang="en-US" sz="3200" dirty="0">
                <a:ea typeface="+mn-lt"/>
                <a:cs typeface="+mn-lt"/>
              </a:rPr>
              <a:t>Statistical power</a:t>
            </a:r>
          </a:p>
          <a:p>
            <a:pPr marL="685800" lvl="1" indent="-457200"/>
            <a:endParaRPr lang="en-US" sz="3200" dirty="0">
              <a:ea typeface="+mn-lt"/>
              <a:cs typeface="+mn-lt"/>
            </a:endParaRPr>
          </a:p>
          <a:p>
            <a:pPr marL="457200" indent="-457200">
              <a:buFont typeface="Arial" panose="020B0604020202020204" pitchFamily="34" charset="0"/>
              <a:buChar char="•"/>
            </a:pPr>
            <a:endParaRPr lang="en-US" sz="3200" dirty="0">
              <a:ea typeface="+mn-lt"/>
              <a:cs typeface="+mn-lt"/>
            </a:endParaRPr>
          </a:p>
          <a:p>
            <a:pPr marL="0" indent="0">
              <a:buNone/>
            </a:pPr>
            <a:r>
              <a:rPr lang="en-US" sz="3200" dirty="0">
                <a:ea typeface="+mn-lt"/>
                <a:cs typeface="+mn-lt"/>
              </a:rPr>
              <a:t> </a:t>
            </a:r>
          </a:p>
          <a:p>
            <a:pPr marL="685800" lvl="1" indent="0">
              <a:buNone/>
            </a:pPr>
            <a:endParaRPr lang="en-US" sz="3200" dirty="0">
              <a:ea typeface="+mn-lt"/>
              <a:cs typeface="+mn-lt"/>
            </a:endParaRPr>
          </a:p>
          <a:p>
            <a:pPr marL="457200" indent="-457200">
              <a:buFont typeface="Arial" panose="020B0604020202020204" pitchFamily="34" charset="0"/>
              <a:buChar char="•"/>
            </a:pPr>
            <a:endParaRPr lang="en-US" sz="3200" dirty="0">
              <a:ea typeface="+mn-lt"/>
              <a:cs typeface="+mn-lt"/>
            </a:endParaRPr>
          </a:p>
          <a:p>
            <a:pPr marL="457200" indent="-457200">
              <a:buFont typeface="Arial" panose="020B0604020202020204" pitchFamily="34" charset="0"/>
              <a:buChar char="•"/>
            </a:pPr>
            <a:endParaRPr lang="en-US" sz="3200" dirty="0">
              <a:cs typeface="Calibri"/>
            </a:endParaRPr>
          </a:p>
          <a:p>
            <a:pPr marL="457200" indent="-457200">
              <a:buFont typeface="Arial" panose="020B0604020202020204" pitchFamily="34" charset="0"/>
              <a:buChar char="•"/>
            </a:pPr>
            <a:endParaRPr lang="en-US" sz="3200" dirty="0">
              <a:solidFill>
                <a:srgbClr val="000000"/>
              </a:solidFill>
              <a:ea typeface="+mn-lt"/>
              <a:cs typeface="+mn-lt"/>
            </a:endParaRPr>
          </a:p>
          <a:p>
            <a:pPr marL="457200" indent="-457200">
              <a:buFont typeface="Arial" panose="020B0604020202020204" pitchFamily="34" charset="0"/>
              <a:buChar char="•"/>
            </a:pPr>
            <a:endParaRPr lang="en-US" sz="3200" dirty="0">
              <a:cs typeface="Calibri" panose="020F0502020204030204"/>
            </a:endParaRPr>
          </a:p>
        </p:txBody>
      </p:sp>
      <p:sp>
        <p:nvSpPr>
          <p:cNvPr id="2" name="Title 1">
            <a:extLst>
              <a:ext uri="{FF2B5EF4-FFF2-40B4-BE49-F238E27FC236}">
                <a16:creationId xmlns:a16="http://schemas.microsoft.com/office/drawing/2014/main" id="{51C36877-BC72-43D8-990F-24EE65FF00B8}"/>
              </a:ext>
            </a:extLst>
          </p:cNvPr>
          <p:cNvSpPr>
            <a:spLocks noGrp="1"/>
          </p:cNvSpPr>
          <p:nvPr>
            <p:ph type="title" idx="4294967295"/>
          </p:nvPr>
        </p:nvSpPr>
        <p:spPr>
          <a:xfrm>
            <a:off x="435653" y="100013"/>
            <a:ext cx="11498378" cy="1082675"/>
          </a:xfrm>
        </p:spPr>
        <p:txBody>
          <a:bodyPr>
            <a:normAutofit/>
          </a:bodyPr>
          <a:lstStyle/>
          <a:p>
            <a:r>
              <a:rPr lang="en-US" sz="2900" b="1" dirty="0">
                <a:solidFill>
                  <a:schemeClr val="accent1"/>
                </a:solidFill>
                <a:latin typeface="Calibri"/>
                <a:ea typeface="Calibri"/>
                <a:cs typeface="Calibri"/>
              </a:rPr>
              <a:t>Can we replace control animals in </a:t>
            </a:r>
            <a:r>
              <a:rPr lang="en-US" sz="2900" b="1" dirty="0">
                <a:solidFill>
                  <a:srgbClr val="C00000"/>
                </a:solidFill>
                <a:latin typeface="Calibri"/>
                <a:ea typeface="Calibri"/>
                <a:cs typeface="Calibri"/>
              </a:rPr>
              <a:t>safety</a:t>
            </a:r>
            <a:r>
              <a:rPr lang="en-US" sz="2900" b="1" dirty="0">
                <a:solidFill>
                  <a:schemeClr val="accent1"/>
                </a:solidFill>
                <a:latin typeface="Calibri"/>
                <a:ea typeface="Calibri"/>
                <a:cs typeface="Calibri"/>
              </a:rPr>
              <a:t> studies with historical controls?</a:t>
            </a:r>
          </a:p>
        </p:txBody>
      </p:sp>
      <p:pic>
        <p:nvPicPr>
          <p:cNvPr id="4" name="Picture 4" descr="NIBSC - The 3Rs">
            <a:extLst>
              <a:ext uri="{FF2B5EF4-FFF2-40B4-BE49-F238E27FC236}">
                <a16:creationId xmlns:a16="http://schemas.microsoft.com/office/drawing/2014/main" id="{C087CEE1-9EFD-D04D-D120-50FAD5C134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9391" y="2559848"/>
            <a:ext cx="3582365" cy="1019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60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FA837251-F22A-E473-3664-0450FC1BF3B8}"/>
              </a:ext>
            </a:extLst>
          </p:cNvPr>
          <p:cNvSpPr txBox="1">
            <a:spLocks/>
          </p:cNvSpPr>
          <p:nvPr/>
        </p:nvSpPr>
        <p:spPr bwMode="gray">
          <a:xfrm>
            <a:off x="1224793" y="100013"/>
            <a:ext cx="10967207" cy="1082675"/>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3200" b="1" dirty="0">
                <a:solidFill>
                  <a:schemeClr val="accent1"/>
                </a:solidFill>
                <a:cs typeface="Calibri Light"/>
              </a:rPr>
              <a:t>Can we do without </a:t>
            </a:r>
            <a:r>
              <a:rPr lang="en-US" sz="2900" b="1" dirty="0">
                <a:solidFill>
                  <a:schemeClr val="accent1"/>
                </a:solidFill>
                <a:latin typeface="Calibri"/>
                <a:ea typeface="Calibri"/>
                <a:cs typeface="Calibri"/>
              </a:rPr>
              <a:t>concurrent</a:t>
            </a:r>
            <a:r>
              <a:rPr lang="en-US" sz="3200" b="1" dirty="0">
                <a:solidFill>
                  <a:schemeClr val="accent1"/>
                </a:solidFill>
                <a:cs typeface="Calibri Light"/>
              </a:rPr>
              <a:t> controls?</a:t>
            </a:r>
          </a:p>
        </p:txBody>
      </p:sp>
      <p:graphicFrame>
        <p:nvGraphicFramePr>
          <p:cNvPr id="6" name="Diagram 5">
            <a:extLst>
              <a:ext uri="{FF2B5EF4-FFF2-40B4-BE49-F238E27FC236}">
                <a16:creationId xmlns:a16="http://schemas.microsoft.com/office/drawing/2014/main" id="{DF164B65-D4E8-0CC4-601E-2EE858507437}"/>
              </a:ext>
            </a:extLst>
          </p:cNvPr>
          <p:cNvGraphicFramePr/>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Diagram 11">
            <a:extLst>
              <a:ext uri="{FF2B5EF4-FFF2-40B4-BE49-F238E27FC236}">
                <a16:creationId xmlns:a16="http://schemas.microsoft.com/office/drawing/2014/main" id="{157E2F90-FCE2-DA2A-E871-77AA9BCA2D1A}"/>
              </a:ext>
            </a:extLst>
          </p:cNvPr>
          <p:cNvGraphicFramePr/>
          <p:nvPr/>
        </p:nvGraphicFramePr>
        <p:xfrm>
          <a:off x="308344" y="478465"/>
          <a:ext cx="3844556" cy="19789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26" name="Picture 2" descr="OpenPathology: Issues with reference ranges — Part 2 | Bennett Institute  for Applied Data Science">
            <a:extLst>
              <a:ext uri="{FF2B5EF4-FFF2-40B4-BE49-F238E27FC236}">
                <a16:creationId xmlns:a16="http://schemas.microsoft.com/office/drawing/2014/main" id="{34B3B7DE-629E-6BC1-BB21-BAA615F387B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08344" y="1911977"/>
            <a:ext cx="3160528" cy="23582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ntrol Chart Rules | Process Stability Analysis | Process Control">
            <a:extLst>
              <a:ext uri="{FF2B5EF4-FFF2-40B4-BE49-F238E27FC236}">
                <a16:creationId xmlns:a16="http://schemas.microsoft.com/office/drawing/2014/main" id="{1A6B0595-900B-211B-CB62-89D9DB772ADE}"/>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b="17603"/>
          <a:stretch/>
        </p:blipFill>
        <p:spPr bwMode="auto">
          <a:xfrm>
            <a:off x="8447564" y="100013"/>
            <a:ext cx="3744436" cy="224910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hapter 11 Simple Linear Regression | Probability and Bayesian Modeling">
            <a:extLst>
              <a:ext uri="{FF2B5EF4-FFF2-40B4-BE49-F238E27FC236}">
                <a16:creationId xmlns:a16="http://schemas.microsoft.com/office/drawing/2014/main" id="{1A87F120-1630-0ADF-20FD-9B197CDE62B4}"/>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36880" y="4707501"/>
            <a:ext cx="3072238" cy="2088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557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33AD6-B7BF-4F6D-7081-44F4CD741323}"/>
              </a:ext>
            </a:extLst>
          </p:cNvPr>
          <p:cNvSpPr>
            <a:spLocks noGrp="1"/>
          </p:cNvSpPr>
          <p:nvPr>
            <p:ph type="title" idx="4294967295"/>
          </p:nvPr>
        </p:nvSpPr>
        <p:spPr>
          <a:xfrm>
            <a:off x="568017" y="127214"/>
            <a:ext cx="10843115" cy="850900"/>
          </a:xfrm>
        </p:spPr>
        <p:txBody>
          <a:bodyPr/>
          <a:lstStyle/>
          <a:p>
            <a:r>
              <a:rPr lang="en-US" sz="3600" b="1" dirty="0">
                <a:solidFill>
                  <a:schemeClr val="accent1"/>
                </a:solidFill>
              </a:rPr>
              <a:t>Virtual Control Groups (VCG) started in 2020…</a:t>
            </a:r>
          </a:p>
        </p:txBody>
      </p:sp>
      <p:sp>
        <p:nvSpPr>
          <p:cNvPr id="3" name="Content Placeholder 2">
            <a:extLst>
              <a:ext uri="{FF2B5EF4-FFF2-40B4-BE49-F238E27FC236}">
                <a16:creationId xmlns:a16="http://schemas.microsoft.com/office/drawing/2014/main" id="{FA825066-602C-976B-D593-7846B17ED048}"/>
              </a:ext>
            </a:extLst>
          </p:cNvPr>
          <p:cNvSpPr>
            <a:spLocks noGrp="1"/>
          </p:cNvSpPr>
          <p:nvPr>
            <p:ph type="body" sz="quarter" idx="4294967295"/>
          </p:nvPr>
        </p:nvSpPr>
        <p:spPr>
          <a:xfrm>
            <a:off x="154567" y="1012855"/>
            <a:ext cx="11882866" cy="5588361"/>
          </a:xfrm>
        </p:spPr>
        <p:txBody>
          <a:bodyPr/>
          <a:lstStyle/>
          <a:p>
            <a:pPr marL="457200" indent="-457200">
              <a:buFont typeface="Arial" panose="020B0604020202020204" pitchFamily="34" charset="0"/>
              <a:buChar char="•"/>
            </a:pPr>
            <a:r>
              <a:rPr lang="en-US" sz="2400" dirty="0" err="1">
                <a:solidFill>
                  <a:schemeClr val="tx1"/>
                </a:solidFill>
              </a:rPr>
              <a:t>eTRANSAFE</a:t>
            </a:r>
            <a:r>
              <a:rPr lang="en-US" sz="2400" dirty="0">
                <a:solidFill>
                  <a:schemeClr val="tx1"/>
                </a:solidFill>
              </a:rPr>
              <a:t> (The Enhancing </a:t>
            </a:r>
            <a:r>
              <a:rPr lang="en-US" sz="2400" dirty="0" err="1">
                <a:solidFill>
                  <a:schemeClr val="tx1"/>
                </a:solidFill>
              </a:rPr>
              <a:t>TRANslational</a:t>
            </a:r>
            <a:r>
              <a:rPr lang="en-US" sz="2400" dirty="0">
                <a:solidFill>
                  <a:schemeClr val="tx1"/>
                </a:solidFill>
              </a:rPr>
              <a:t> </a:t>
            </a:r>
            <a:r>
              <a:rPr lang="en-US" sz="2400" dirty="0" err="1">
                <a:solidFill>
                  <a:schemeClr val="tx1"/>
                </a:solidFill>
              </a:rPr>
              <a:t>SAFEty</a:t>
            </a:r>
            <a:r>
              <a:rPr lang="en-US" sz="2400" dirty="0">
                <a:solidFill>
                  <a:schemeClr val="tx1"/>
                </a:solidFill>
              </a:rPr>
              <a:t> Assessment through Integrative Knowledge Management) initiative</a:t>
            </a: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endParaRPr lang="en-US" sz="2400" dirty="0">
              <a:solidFill>
                <a:schemeClr val="tx1"/>
              </a:solidFill>
            </a:endParaRP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endParaRPr lang="en-US" sz="2400" dirty="0">
              <a:solidFill>
                <a:schemeClr val="tx1"/>
              </a:solidFill>
            </a:endParaRP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endParaRPr lang="en-US" sz="2400" dirty="0">
              <a:solidFill>
                <a:schemeClr val="tx1"/>
              </a:solidFill>
            </a:endParaRPr>
          </a:p>
          <a:p>
            <a:pPr marL="457200" indent="-457200">
              <a:buFont typeface="Arial" panose="020B0604020202020204" pitchFamily="34" charset="0"/>
              <a:buChar char="•"/>
            </a:pPr>
            <a:r>
              <a:rPr lang="en-US" sz="2400" dirty="0"/>
              <a:t>Since then, ~20 papers have been published on VCGs. </a:t>
            </a:r>
            <a:endParaRPr lang="en-US" sz="2400" dirty="0">
              <a:solidFill>
                <a:schemeClr val="tx1"/>
              </a:solidFill>
            </a:endParaRPr>
          </a:p>
        </p:txBody>
      </p:sp>
      <p:pic>
        <p:nvPicPr>
          <p:cNvPr id="5" name="Picture 2" descr="Virtual Control Groups: one step forward into the future of animal testing  in toxicology – eTRANSAFE">
            <a:extLst>
              <a:ext uri="{FF2B5EF4-FFF2-40B4-BE49-F238E27FC236}">
                <a16:creationId xmlns:a16="http://schemas.microsoft.com/office/drawing/2014/main" id="{3C7B41E4-49F8-73D3-E856-6D4FAC1766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567" y="1778160"/>
            <a:ext cx="5581579" cy="26872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EC1C335A-7EE7-0B9F-3EEF-ED3717B6AC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561" y="1625432"/>
            <a:ext cx="6673439" cy="2553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196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4C05D9-D1FC-71E6-7176-FF71C61291FB}"/>
              </a:ext>
            </a:extLst>
          </p:cNvPr>
          <p:cNvPicPr>
            <a:picLocks noChangeAspect="1"/>
          </p:cNvPicPr>
          <p:nvPr/>
        </p:nvPicPr>
        <p:blipFill>
          <a:blip r:embed="rId2"/>
          <a:stretch>
            <a:fillRect/>
          </a:stretch>
        </p:blipFill>
        <p:spPr>
          <a:xfrm>
            <a:off x="-167149" y="116218"/>
            <a:ext cx="12192000" cy="5347369"/>
          </a:xfrm>
          <a:prstGeom prst="rect">
            <a:avLst/>
          </a:prstGeom>
        </p:spPr>
      </p:pic>
      <p:pic>
        <p:nvPicPr>
          <p:cNvPr id="4" name="Picture 3">
            <a:extLst>
              <a:ext uri="{FF2B5EF4-FFF2-40B4-BE49-F238E27FC236}">
                <a16:creationId xmlns:a16="http://schemas.microsoft.com/office/drawing/2014/main" id="{878C5FA5-F23A-F737-6C05-1657621C0D08}"/>
              </a:ext>
            </a:extLst>
          </p:cNvPr>
          <p:cNvPicPr>
            <a:picLocks noChangeAspect="1"/>
          </p:cNvPicPr>
          <p:nvPr/>
        </p:nvPicPr>
        <p:blipFill>
          <a:blip r:embed="rId3"/>
          <a:stretch>
            <a:fillRect/>
          </a:stretch>
        </p:blipFill>
        <p:spPr>
          <a:xfrm>
            <a:off x="6177420" y="1710812"/>
            <a:ext cx="6109828" cy="4596581"/>
          </a:xfrm>
          <a:prstGeom prst="rect">
            <a:avLst/>
          </a:prstGeom>
        </p:spPr>
      </p:pic>
    </p:spTree>
    <p:extLst>
      <p:ext uri="{BB962C8B-B14F-4D97-AF65-F5344CB8AC3E}">
        <p14:creationId xmlns:p14="http://schemas.microsoft.com/office/powerpoint/2010/main" val="1340719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test&#10;&#10;AI-generated content may be incorrect.">
            <a:extLst>
              <a:ext uri="{FF2B5EF4-FFF2-40B4-BE49-F238E27FC236}">
                <a16:creationId xmlns:a16="http://schemas.microsoft.com/office/drawing/2014/main" id="{4C2C3116-40D2-1E41-C24B-36C7C595C78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80271" y="355599"/>
            <a:ext cx="4740670" cy="3924881"/>
          </a:xfrm>
          <a:prstGeom prst="rect">
            <a:avLst/>
          </a:prstGeom>
          <a:noFill/>
        </p:spPr>
      </p:pic>
      <p:pic>
        <p:nvPicPr>
          <p:cNvPr id="5" name="Picture 4">
            <a:extLst>
              <a:ext uri="{FF2B5EF4-FFF2-40B4-BE49-F238E27FC236}">
                <a16:creationId xmlns:a16="http://schemas.microsoft.com/office/drawing/2014/main" id="{F8035B32-DC1C-626D-0227-AA0FBFA844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642" y="2194615"/>
            <a:ext cx="5828358" cy="2177539"/>
          </a:xfrm>
          <a:prstGeom prst="rect">
            <a:avLst/>
          </a:prstGeom>
        </p:spPr>
      </p:pic>
      <p:pic>
        <p:nvPicPr>
          <p:cNvPr id="6" name="Picture 5">
            <a:extLst>
              <a:ext uri="{FF2B5EF4-FFF2-40B4-BE49-F238E27FC236}">
                <a16:creationId xmlns:a16="http://schemas.microsoft.com/office/drawing/2014/main" id="{59267C10-DADD-8939-EB23-FC69F3BBE7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7642" y="4414013"/>
            <a:ext cx="5828358" cy="2307059"/>
          </a:xfrm>
          <a:prstGeom prst="rect">
            <a:avLst/>
          </a:prstGeom>
        </p:spPr>
      </p:pic>
      <p:pic>
        <p:nvPicPr>
          <p:cNvPr id="8" name="Picture 7">
            <a:extLst>
              <a:ext uri="{FF2B5EF4-FFF2-40B4-BE49-F238E27FC236}">
                <a16:creationId xmlns:a16="http://schemas.microsoft.com/office/drawing/2014/main" id="{5DA1998D-9E8D-7EF7-4DCE-4BBB1D1DCD52}"/>
              </a:ext>
            </a:extLst>
          </p:cNvPr>
          <p:cNvPicPr>
            <a:picLocks noChangeAspect="1"/>
          </p:cNvPicPr>
          <p:nvPr/>
        </p:nvPicPr>
        <p:blipFill>
          <a:blip r:embed="rId5"/>
          <a:stretch>
            <a:fillRect/>
          </a:stretch>
        </p:blipFill>
        <p:spPr>
          <a:xfrm>
            <a:off x="222271" y="136928"/>
            <a:ext cx="6525536" cy="2057687"/>
          </a:xfrm>
          <a:prstGeom prst="rect">
            <a:avLst/>
          </a:prstGeom>
        </p:spPr>
      </p:pic>
    </p:spTree>
    <p:extLst>
      <p:ext uri="{BB962C8B-B14F-4D97-AF65-F5344CB8AC3E}">
        <p14:creationId xmlns:p14="http://schemas.microsoft.com/office/powerpoint/2010/main" val="1375910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A573-1DBF-BD0C-FE79-5905B25BA285}"/>
              </a:ext>
            </a:extLst>
          </p:cNvPr>
          <p:cNvSpPr>
            <a:spLocks noGrp="1"/>
          </p:cNvSpPr>
          <p:nvPr>
            <p:ph type="title"/>
          </p:nvPr>
        </p:nvSpPr>
        <p:spPr>
          <a:xfrm>
            <a:off x="197682" y="126551"/>
            <a:ext cx="10243920" cy="796800"/>
          </a:xfrm>
        </p:spPr>
        <p:txBody>
          <a:bodyPr>
            <a:normAutofit fontScale="90000"/>
          </a:bodyPr>
          <a:lstStyle/>
          <a:p>
            <a:pPr defTabSz="914377"/>
            <a:r>
              <a:rPr lang="es-ES" b="1" dirty="0">
                <a:solidFill>
                  <a:schemeClr val="accent1"/>
                </a:solidFill>
                <a:latin typeface="Calibri"/>
                <a:ea typeface="Calibri"/>
                <a:cs typeface="Calibri"/>
              </a:rPr>
              <a:t>VICT3R </a:t>
            </a:r>
            <a:r>
              <a:rPr lang="es-ES" b="1" dirty="0" err="1">
                <a:solidFill>
                  <a:schemeClr val="accent1"/>
                </a:solidFill>
                <a:latin typeface="Calibri"/>
                <a:ea typeface="Calibri"/>
                <a:cs typeface="Calibri"/>
              </a:rPr>
              <a:t>is</a:t>
            </a:r>
            <a:r>
              <a:rPr lang="es-ES" b="1" dirty="0">
                <a:solidFill>
                  <a:schemeClr val="accent1"/>
                </a:solidFill>
                <a:latin typeface="Calibri"/>
                <a:ea typeface="Calibri"/>
                <a:cs typeface="Calibri"/>
              </a:rPr>
              <a:t> </a:t>
            </a:r>
            <a:r>
              <a:rPr lang="es-ES" b="1" dirty="0" err="1">
                <a:solidFill>
                  <a:schemeClr val="accent1"/>
                </a:solidFill>
                <a:latin typeface="Calibri"/>
                <a:ea typeface="Calibri"/>
                <a:cs typeface="Calibri"/>
              </a:rPr>
              <a:t>an</a:t>
            </a:r>
            <a:r>
              <a:rPr lang="es-ES" b="1" dirty="0">
                <a:solidFill>
                  <a:schemeClr val="accent1"/>
                </a:solidFill>
                <a:latin typeface="Calibri"/>
                <a:ea typeface="Calibri"/>
                <a:cs typeface="Calibri"/>
              </a:rPr>
              <a:t> Innovative </a:t>
            </a:r>
            <a:r>
              <a:rPr lang="es-ES" b="1" dirty="0" err="1">
                <a:solidFill>
                  <a:schemeClr val="accent1"/>
                </a:solidFill>
                <a:latin typeface="Calibri"/>
                <a:ea typeface="Calibri"/>
                <a:cs typeface="Calibri"/>
              </a:rPr>
              <a:t>Health</a:t>
            </a:r>
            <a:r>
              <a:rPr lang="es-ES" b="1" dirty="0">
                <a:solidFill>
                  <a:schemeClr val="accent1"/>
                </a:solidFill>
                <a:latin typeface="Calibri"/>
                <a:ea typeface="Calibri"/>
                <a:cs typeface="Calibri"/>
              </a:rPr>
              <a:t> </a:t>
            </a:r>
            <a:r>
              <a:rPr lang="es-ES" b="1" dirty="0" err="1">
                <a:solidFill>
                  <a:schemeClr val="accent1"/>
                </a:solidFill>
                <a:latin typeface="Calibri"/>
                <a:ea typeface="Calibri"/>
                <a:cs typeface="Calibri"/>
              </a:rPr>
              <a:t>Initiative</a:t>
            </a:r>
            <a:r>
              <a:rPr lang="es-ES" b="1" dirty="0">
                <a:solidFill>
                  <a:schemeClr val="accent1"/>
                </a:solidFill>
                <a:latin typeface="Calibri"/>
                <a:ea typeface="Calibri"/>
                <a:cs typeface="Calibri"/>
              </a:rPr>
              <a:t> (IHI) </a:t>
            </a:r>
            <a:r>
              <a:rPr lang="es-ES" b="1" dirty="0" err="1">
                <a:solidFill>
                  <a:schemeClr val="accent1"/>
                </a:solidFill>
                <a:latin typeface="Calibri"/>
                <a:ea typeface="Calibri"/>
                <a:cs typeface="Calibri"/>
              </a:rPr>
              <a:t>consortium</a:t>
            </a:r>
            <a:r>
              <a:rPr lang="es-ES" b="1" dirty="0">
                <a:solidFill>
                  <a:schemeClr val="accent1"/>
                </a:solidFill>
                <a:latin typeface="Calibri"/>
                <a:ea typeface="Calibri"/>
                <a:cs typeface="Calibri"/>
              </a:rPr>
              <a:t> </a:t>
            </a:r>
            <a:r>
              <a:rPr lang="es-ES" b="1" dirty="0" err="1">
                <a:solidFill>
                  <a:schemeClr val="accent1"/>
                </a:solidFill>
                <a:latin typeface="Calibri"/>
                <a:ea typeface="Calibri"/>
                <a:cs typeface="Calibri"/>
              </a:rPr>
              <a:t>for</a:t>
            </a:r>
            <a:r>
              <a:rPr lang="es-ES" b="1" dirty="0">
                <a:solidFill>
                  <a:schemeClr val="accent1"/>
                </a:solidFill>
                <a:latin typeface="Calibri"/>
                <a:ea typeface="Calibri"/>
                <a:cs typeface="Calibri"/>
              </a:rPr>
              <a:t> VCG </a:t>
            </a:r>
            <a:r>
              <a:rPr lang="es-ES" b="1" dirty="0" err="1">
                <a:solidFill>
                  <a:schemeClr val="accent1"/>
                </a:solidFill>
                <a:latin typeface="Calibri"/>
                <a:ea typeface="Calibri"/>
                <a:cs typeface="Calibri"/>
              </a:rPr>
              <a:t>guidance</a:t>
            </a:r>
            <a:r>
              <a:rPr lang="es-ES" b="1" dirty="0">
                <a:solidFill>
                  <a:schemeClr val="accent1"/>
                </a:solidFill>
                <a:latin typeface="Calibri"/>
                <a:ea typeface="Calibri"/>
                <a:cs typeface="Calibri"/>
              </a:rPr>
              <a:t> and </a:t>
            </a:r>
            <a:r>
              <a:rPr lang="es-ES" b="1" dirty="0" err="1">
                <a:solidFill>
                  <a:schemeClr val="accent1"/>
                </a:solidFill>
                <a:latin typeface="Calibri"/>
                <a:ea typeface="Calibri"/>
                <a:cs typeface="Calibri"/>
              </a:rPr>
              <a:t>implementation</a:t>
            </a:r>
            <a:r>
              <a:rPr lang="es-ES" b="1" dirty="0">
                <a:solidFill>
                  <a:schemeClr val="accent1"/>
                </a:solidFill>
                <a:latin typeface="Calibri"/>
                <a:ea typeface="Calibri"/>
                <a:cs typeface="Calibri"/>
              </a:rPr>
              <a:t> </a:t>
            </a:r>
            <a:endParaRPr lang="en-GB" b="1" dirty="0">
              <a:solidFill>
                <a:schemeClr val="accent1"/>
              </a:solidFill>
              <a:latin typeface="Calibri"/>
              <a:ea typeface="Calibri"/>
              <a:cs typeface="Calibri"/>
            </a:endParaRPr>
          </a:p>
        </p:txBody>
      </p:sp>
      <p:sp>
        <p:nvSpPr>
          <p:cNvPr id="3" name="Text Placeholder 2">
            <a:extLst>
              <a:ext uri="{FF2B5EF4-FFF2-40B4-BE49-F238E27FC236}">
                <a16:creationId xmlns:a16="http://schemas.microsoft.com/office/drawing/2014/main" id="{082C1428-5DC7-A780-4F21-7115BC5AC8AE}"/>
              </a:ext>
            </a:extLst>
          </p:cNvPr>
          <p:cNvSpPr>
            <a:spLocks noGrp="1"/>
          </p:cNvSpPr>
          <p:nvPr>
            <p:ph type="body" sz="quarter" idx="13"/>
          </p:nvPr>
        </p:nvSpPr>
        <p:spPr>
          <a:xfrm>
            <a:off x="480002" y="1019691"/>
            <a:ext cx="5886932" cy="462629"/>
          </a:xfrm>
        </p:spPr>
        <p:txBody>
          <a:bodyPr vert="horz" lIns="0" tIns="0" rIns="0" bIns="0" rtlCol="0" anchor="t">
            <a:normAutofit/>
          </a:bodyPr>
          <a:lstStyle/>
          <a:p>
            <a:r>
              <a:rPr lang="en-GB" b="1" dirty="0"/>
              <a:t>Academia, Research Organisations &amp; SMEs</a:t>
            </a:r>
          </a:p>
          <a:p>
            <a:endParaRPr lang="en-GB" dirty="0"/>
          </a:p>
        </p:txBody>
      </p:sp>
      <p:sp>
        <p:nvSpPr>
          <p:cNvPr id="4" name="Slide Number Placeholder 3">
            <a:extLst>
              <a:ext uri="{FF2B5EF4-FFF2-40B4-BE49-F238E27FC236}">
                <a16:creationId xmlns:a16="http://schemas.microsoft.com/office/drawing/2014/main" id="{E2F1DC22-DEE3-95BD-7FC7-C77EE09E58BD}"/>
              </a:ext>
            </a:extLst>
          </p:cNvPr>
          <p:cNvSpPr>
            <a:spLocks noGrp="1"/>
          </p:cNvSpPr>
          <p:nvPr>
            <p:ph type="sldNum" sz="quarter" idx="14"/>
          </p:nvPr>
        </p:nvSpPr>
        <p:spPr/>
        <p:txBody>
          <a:bodyPr/>
          <a:lstStyle/>
          <a:p>
            <a:fld id="{48F63A3B-78C7-47BE-AE5E-E10140E04643}" type="slidenum">
              <a:rPr lang="en-US" smtClean="0"/>
              <a:pPr/>
              <a:t>8</a:t>
            </a:fld>
            <a:endParaRPr lang="en-US"/>
          </a:p>
        </p:txBody>
      </p:sp>
      <p:sp>
        <p:nvSpPr>
          <p:cNvPr id="5" name="Text Placeholder 2">
            <a:extLst>
              <a:ext uri="{FF2B5EF4-FFF2-40B4-BE49-F238E27FC236}">
                <a16:creationId xmlns:a16="http://schemas.microsoft.com/office/drawing/2014/main" id="{C7D4754E-D3E4-2BE5-2E35-3EEAF4C84E84}"/>
              </a:ext>
            </a:extLst>
          </p:cNvPr>
          <p:cNvSpPr txBox="1">
            <a:spLocks/>
          </p:cNvSpPr>
          <p:nvPr/>
        </p:nvSpPr>
        <p:spPr>
          <a:xfrm>
            <a:off x="480002" y="3298848"/>
            <a:ext cx="5886932" cy="462629"/>
          </a:xfrm>
          <a:prstGeom prst="rect">
            <a:avLst/>
          </a:prstGeom>
        </p:spPr>
        <p:txBody>
          <a:bodyPr vert="horz" lIns="0" tIns="0" rIns="0" bIns="0" rtlCol="0">
            <a:normAutofit/>
          </a:bodyPr>
          <a:lstStyle>
            <a:lvl1pPr marL="0" indent="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None/>
              <a:defRPr sz="1400" kern="1200">
                <a:solidFill>
                  <a:schemeClr val="tx2"/>
                </a:solidFill>
                <a:latin typeface="+mn-lt"/>
                <a:ea typeface="+mn-ea"/>
                <a:cs typeface="+mn-cs"/>
              </a:defRPr>
            </a:lvl1pPr>
            <a:lvl2pPr marL="36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2pPr>
            <a:lvl3pPr marL="54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3pPr>
            <a:lvl4pPr marL="72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4pPr>
            <a:lvl5pPr marL="90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867" b="1"/>
              <a:t>Industry Partners</a:t>
            </a:r>
          </a:p>
          <a:p>
            <a:endParaRPr lang="en-GB" sz="1867"/>
          </a:p>
        </p:txBody>
      </p:sp>
      <p:pic>
        <p:nvPicPr>
          <p:cNvPr id="21" name="Imagen 529719370" descr="Forma&#10;&#10;Descripción generada automáticamente con confianza media">
            <a:extLst>
              <a:ext uri="{FF2B5EF4-FFF2-40B4-BE49-F238E27FC236}">
                <a16:creationId xmlns:a16="http://schemas.microsoft.com/office/drawing/2014/main" id="{4DEB765F-8B99-37C4-100E-5C1B97E96E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07461" y="2363899"/>
            <a:ext cx="1292575" cy="516100"/>
          </a:xfrm>
          <a:prstGeom prst="rect">
            <a:avLst/>
          </a:prstGeom>
          <a:noFill/>
          <a:extLst>
            <a:ext uri="{909E8E84-426E-40DD-AFC4-6F175D3DCCD1}">
              <a14:hiddenFill xmlns:a14="http://schemas.microsoft.com/office/drawing/2010/main">
                <a:solidFill>
                  <a:srgbClr val="FFFFFF"/>
                </a:solidFill>
              </a14:hiddenFill>
            </a:ext>
          </a:extLst>
        </p:spPr>
      </p:pic>
      <p:pic>
        <p:nvPicPr>
          <p:cNvPr id="22" name="Imagen 58" descr="Universitat Pompeu Fabra (UPF) : Resultados en el Ranking CYD">
            <a:extLst>
              <a:ext uri="{FF2B5EF4-FFF2-40B4-BE49-F238E27FC236}">
                <a16:creationId xmlns:a16="http://schemas.microsoft.com/office/drawing/2014/main" id="{3D1BE26F-F98B-2591-8DB6-D95697E0F8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261" y="1637804"/>
            <a:ext cx="1339071" cy="462629"/>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n 60" descr="PIKAS">
            <a:extLst>
              <a:ext uri="{FF2B5EF4-FFF2-40B4-BE49-F238E27FC236}">
                <a16:creationId xmlns:a16="http://schemas.microsoft.com/office/drawing/2014/main" id="{1148CB48-B2C1-3FA1-077C-E4C0B48402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9701" y="1630058"/>
            <a:ext cx="2036507" cy="406836"/>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n 61" descr="grit42 A/S | CDISC">
            <a:extLst>
              <a:ext uri="{FF2B5EF4-FFF2-40B4-BE49-F238E27FC236}">
                <a16:creationId xmlns:a16="http://schemas.microsoft.com/office/drawing/2014/main" id="{F24C06F5-F447-C52F-D451-E5BBD1847B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83310" y="1643919"/>
            <a:ext cx="739279" cy="371964"/>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n 1168119660" descr="Logotipo&#10;&#10;Descripción generada automáticamente">
            <a:extLst>
              <a:ext uri="{FF2B5EF4-FFF2-40B4-BE49-F238E27FC236}">
                <a16:creationId xmlns:a16="http://schemas.microsoft.com/office/drawing/2014/main" id="{F382CF5E-DC6F-4225-F407-B4DC1E351A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26778" b="26411"/>
          <a:stretch>
            <a:fillRect/>
          </a:stretch>
        </p:blipFill>
        <p:spPr bwMode="auto">
          <a:xfrm>
            <a:off x="2344445" y="1630058"/>
            <a:ext cx="1580849" cy="416135"/>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n 63" descr="Barcelona Supercomputing Center (BSC)">
            <a:extLst>
              <a:ext uri="{FF2B5EF4-FFF2-40B4-BE49-F238E27FC236}">
                <a16:creationId xmlns:a16="http://schemas.microsoft.com/office/drawing/2014/main" id="{FA776E1E-3242-EE99-7535-AF4D8A24EF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9641" y="2360315"/>
            <a:ext cx="1897687" cy="508800"/>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64" descr="Deciphex - Crunchbase Company Profile &amp; Funding">
            <a:extLst>
              <a:ext uri="{FF2B5EF4-FFF2-40B4-BE49-F238E27FC236}">
                <a16:creationId xmlns:a16="http://schemas.microsoft.com/office/drawing/2014/main" id="{CB740D8C-F069-A055-A999-A68895278C4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35677" b="31146"/>
          <a:stretch>
            <a:fillRect/>
          </a:stretch>
        </p:blipFill>
        <p:spPr bwMode="auto">
          <a:xfrm>
            <a:off x="6564210" y="2457687"/>
            <a:ext cx="1218181" cy="404511"/>
          </a:xfrm>
          <a:prstGeom prst="rect">
            <a:avLst/>
          </a:prstGeom>
          <a:noFill/>
          <a:extLst>
            <a:ext uri="{909E8E84-426E-40DD-AFC4-6F175D3DCCD1}">
              <a14:hiddenFill xmlns:a14="http://schemas.microsoft.com/office/drawing/2010/main">
                <a:solidFill>
                  <a:srgbClr val="FFFFFF"/>
                </a:solidFill>
              </a14:hiddenFill>
            </a:ext>
          </a:extLst>
        </p:spPr>
      </p:pic>
      <p:pic>
        <p:nvPicPr>
          <p:cNvPr id="32" name="Imagen 65" descr="Syncwork AG | LinkedIn">
            <a:extLst>
              <a:ext uri="{FF2B5EF4-FFF2-40B4-BE49-F238E27FC236}">
                <a16:creationId xmlns:a16="http://schemas.microsoft.com/office/drawing/2014/main" id="{D400FED9-2E13-005C-2769-0808D87AE9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25333" b="24333"/>
          <a:stretch>
            <a:fillRect/>
          </a:stretch>
        </p:blipFill>
        <p:spPr bwMode="auto">
          <a:xfrm>
            <a:off x="9309045" y="2416794"/>
            <a:ext cx="888065" cy="4463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Afbeeldingsresultaat voor vub">
            <a:extLst>
              <a:ext uri="{FF2B5EF4-FFF2-40B4-BE49-F238E27FC236}">
                <a16:creationId xmlns:a16="http://schemas.microsoft.com/office/drawing/2014/main" id="{85BE2B9F-47FA-B0B6-6C77-498442ADF0B8}"/>
              </a:ext>
            </a:extLst>
          </p:cNvPr>
          <p:cNvPicPr>
            <a:picLocks noChangeAspect="1" noChangeArrowheads="1"/>
          </p:cNvPicPr>
          <p:nvPr/>
        </p:nvPicPr>
        <p:blipFill>
          <a:blip r:embed="rId10" r:link="rId11">
            <a:extLst>
              <a:ext uri="{28A0092B-C50C-407E-A947-70E740481C1C}">
                <a14:useLocalDpi xmlns:a14="http://schemas.microsoft.com/office/drawing/2010/main" val="0"/>
              </a:ext>
            </a:extLst>
          </a:blip>
          <a:srcRect/>
          <a:stretch>
            <a:fillRect/>
          </a:stretch>
        </p:blipFill>
        <p:spPr bwMode="auto">
          <a:xfrm>
            <a:off x="10557881" y="2349488"/>
            <a:ext cx="1283275" cy="806696"/>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41">
            <a:extLst>
              <a:ext uri="{FF2B5EF4-FFF2-40B4-BE49-F238E27FC236}">
                <a16:creationId xmlns:a16="http://schemas.microsoft.com/office/drawing/2014/main" id="{4855565C-EAB4-C215-C70B-C5FA08131B8D}"/>
              </a:ext>
            </a:extLst>
          </p:cNvPr>
          <p:cNvSpPr>
            <a:spLocks noChangeArrowheads="1"/>
          </p:cNvSpPr>
          <p:nvPr/>
        </p:nvSpPr>
        <p:spPr bwMode="auto">
          <a:xfrm>
            <a:off x="7876885" y="1905462"/>
            <a:ext cx="3154760" cy="57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algn="just" defTabSz="1219140" eaLnBrk="0" fontAlgn="base" hangingPunct="0">
              <a:spcBef>
                <a:spcPct val="0"/>
              </a:spcBef>
              <a:spcAft>
                <a:spcPct val="0"/>
              </a:spcAft>
            </a:pPr>
            <a:endParaRPr lang="es-ES" altLang="en-US" sz="1467">
              <a:latin typeface="Calibri" panose="020F0502020204030204" pitchFamily="34" charset="0"/>
              <a:ea typeface="Calibri" panose="020F0502020204030204" pitchFamily="34" charset="0"/>
              <a:cs typeface="Times New Roman" panose="02020603050405020304" pitchFamily="18" charset="0"/>
            </a:endParaRPr>
          </a:p>
          <a:p>
            <a:pPr algn="just" defTabSz="1219140" eaLnBrk="0" fontAlgn="base" hangingPunct="0">
              <a:spcBef>
                <a:spcPct val="0"/>
              </a:spcBef>
              <a:spcAft>
                <a:spcPct val="0"/>
              </a:spcAft>
            </a:pPr>
            <a:r>
              <a:rPr lang="es-ES" altLang="en-US" sz="1467">
                <a:latin typeface="Calibri" panose="020F0502020204030204" pitchFamily="34" charset="0"/>
                <a:ea typeface="Calibri" panose="020F0502020204030204" pitchFamily="34" charset="0"/>
                <a:cs typeface="Times New Roman" panose="02020603050405020304" pitchFamily="18" charset="0"/>
              </a:rPr>
              <a:t> </a:t>
            </a:r>
            <a:endParaRPr lang="es-ES" altLang="en-US" sz="2400">
              <a:latin typeface="Arial" panose="020B0604020202020204" pitchFamily="34" charset="0"/>
            </a:endParaRPr>
          </a:p>
        </p:txBody>
      </p:sp>
      <p:sp>
        <p:nvSpPr>
          <p:cNvPr id="35" name="Rectangle 42">
            <a:extLst>
              <a:ext uri="{FF2B5EF4-FFF2-40B4-BE49-F238E27FC236}">
                <a16:creationId xmlns:a16="http://schemas.microsoft.com/office/drawing/2014/main" id="{C3E01927-E94D-38F1-1343-EECBC85D8A42}"/>
              </a:ext>
            </a:extLst>
          </p:cNvPr>
          <p:cNvSpPr>
            <a:spLocks noChangeArrowheads="1"/>
          </p:cNvSpPr>
          <p:nvPr/>
        </p:nvSpPr>
        <p:spPr bwMode="auto">
          <a:xfrm>
            <a:off x="7876885" y="1635125"/>
            <a:ext cx="315476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endParaRPr lang="en-GB" sz="2400"/>
          </a:p>
        </p:txBody>
      </p:sp>
      <p:cxnSp>
        <p:nvCxnSpPr>
          <p:cNvPr id="37" name="Straight Connector 36">
            <a:extLst>
              <a:ext uri="{FF2B5EF4-FFF2-40B4-BE49-F238E27FC236}">
                <a16:creationId xmlns:a16="http://schemas.microsoft.com/office/drawing/2014/main" id="{408B48A4-71B3-E243-4A5C-BF568543D32F}"/>
              </a:ext>
            </a:extLst>
          </p:cNvPr>
          <p:cNvCxnSpPr>
            <a:cxnSpLocks/>
          </p:cNvCxnSpPr>
          <p:nvPr/>
        </p:nvCxnSpPr>
        <p:spPr>
          <a:xfrm>
            <a:off x="480001" y="3159139"/>
            <a:ext cx="11427531" cy="37460"/>
          </a:xfrm>
          <a:prstGeom prst="line">
            <a:avLst/>
          </a:prstGeom>
        </p:spPr>
        <p:style>
          <a:lnRef idx="1">
            <a:schemeClr val="accent1"/>
          </a:lnRef>
          <a:fillRef idx="0">
            <a:schemeClr val="accent1"/>
          </a:fillRef>
          <a:effectRef idx="0">
            <a:schemeClr val="accent1"/>
          </a:effectRef>
          <a:fontRef idx="minor">
            <a:schemeClr val="tx1"/>
          </a:fontRef>
        </p:style>
      </p:cxnSp>
      <p:pic>
        <p:nvPicPr>
          <p:cNvPr id="40" name="Imagen 22" descr="Amgen | AseBio - Asociación Empresas Biotecnología">
            <a:extLst>
              <a:ext uri="{FF2B5EF4-FFF2-40B4-BE49-F238E27FC236}">
                <a16:creationId xmlns:a16="http://schemas.microsoft.com/office/drawing/2014/main" id="{5E5CA52B-8D6C-0410-4857-3C7440D491E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8752" y="3520066"/>
            <a:ext cx="839173" cy="261463"/>
          </a:xfrm>
          <a:prstGeom prst="rect">
            <a:avLst/>
          </a:prstGeom>
          <a:noFill/>
          <a:extLst>
            <a:ext uri="{909E8E84-426E-40DD-AFC4-6F175D3DCCD1}">
              <a14:hiddenFill xmlns:a14="http://schemas.microsoft.com/office/drawing/2010/main">
                <a:solidFill>
                  <a:srgbClr val="FFFFFF"/>
                </a:solidFill>
              </a14:hiddenFill>
            </a:ext>
          </a:extLst>
        </p:spPr>
      </p:pic>
      <p:pic>
        <p:nvPicPr>
          <p:cNvPr id="41" name="Imagen 23" descr="Logotipo&#10;&#10;Descripción generada automáticamente">
            <a:extLst>
              <a:ext uri="{FF2B5EF4-FFF2-40B4-BE49-F238E27FC236}">
                <a16:creationId xmlns:a16="http://schemas.microsoft.com/office/drawing/2014/main" id="{3E7FC6C1-EFBE-7D9B-0082-DF0C102335D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42264" y="3340673"/>
            <a:ext cx="627512" cy="627512"/>
          </a:xfrm>
          <a:prstGeom prst="rect">
            <a:avLst/>
          </a:prstGeom>
          <a:noFill/>
          <a:extLst>
            <a:ext uri="{909E8E84-426E-40DD-AFC4-6F175D3DCCD1}">
              <a14:hiddenFill xmlns:a14="http://schemas.microsoft.com/office/drawing/2010/main">
                <a:solidFill>
                  <a:srgbClr val="FFFFFF"/>
                </a:solidFill>
              </a14:hiddenFill>
            </a:ext>
          </a:extLst>
        </p:spPr>
      </p:pic>
      <p:pic>
        <p:nvPicPr>
          <p:cNvPr id="42" name="Imagen 27" descr="Imagen que contiene dibujo, alimentos&#10;&#10;Descripción generada automáticamente">
            <a:extLst>
              <a:ext uri="{FF2B5EF4-FFF2-40B4-BE49-F238E27FC236}">
                <a16:creationId xmlns:a16="http://schemas.microsoft.com/office/drawing/2014/main" id="{667BDE0B-49BD-A829-5418-474CA0BD4D3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0812" y="4234263"/>
            <a:ext cx="1982141" cy="318736"/>
          </a:xfrm>
          <a:prstGeom prst="rect">
            <a:avLst/>
          </a:prstGeom>
          <a:noFill/>
          <a:extLst>
            <a:ext uri="{909E8E84-426E-40DD-AFC4-6F175D3DCCD1}">
              <a14:hiddenFill xmlns:a14="http://schemas.microsoft.com/office/drawing/2010/main">
                <a:solidFill>
                  <a:srgbClr val="FFFFFF"/>
                </a:solidFill>
              </a14:hiddenFill>
            </a:ext>
          </a:extLst>
        </p:spPr>
      </p:pic>
      <p:pic>
        <p:nvPicPr>
          <p:cNvPr id="45" name="Imagen 49" descr="Logotipo&#10;&#10;Descripción generada automáticamente">
            <a:extLst>
              <a:ext uri="{FF2B5EF4-FFF2-40B4-BE49-F238E27FC236}">
                <a16:creationId xmlns:a16="http://schemas.microsoft.com/office/drawing/2014/main" id="{0B9ADCD6-69CD-2AAB-6484-785D13F0F35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11479" y="4203271"/>
            <a:ext cx="1494076" cy="271424"/>
          </a:xfrm>
          <a:prstGeom prst="rect">
            <a:avLst/>
          </a:prstGeom>
          <a:noFill/>
          <a:extLst>
            <a:ext uri="{909E8E84-426E-40DD-AFC4-6F175D3DCCD1}">
              <a14:hiddenFill xmlns:a14="http://schemas.microsoft.com/office/drawing/2010/main">
                <a:solidFill>
                  <a:srgbClr val="FFFFFF"/>
                </a:solidFill>
              </a14:hiddenFill>
            </a:ext>
          </a:extLst>
        </p:spPr>
      </p:pic>
      <p:pic>
        <p:nvPicPr>
          <p:cNvPr id="46" name="Imagen 50" descr="Novo Nordisk - Wikipedia">
            <a:extLst>
              <a:ext uri="{FF2B5EF4-FFF2-40B4-BE49-F238E27FC236}">
                <a16:creationId xmlns:a16="http://schemas.microsoft.com/office/drawing/2014/main" id="{5EDABFC0-2F7D-4D7E-2C8C-423B8B75D1A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437681" y="4890375"/>
            <a:ext cx="931307" cy="681444"/>
          </a:xfrm>
          <a:prstGeom prst="rect">
            <a:avLst/>
          </a:prstGeom>
          <a:noFill/>
          <a:extLst>
            <a:ext uri="{909E8E84-426E-40DD-AFC4-6F175D3DCCD1}">
              <a14:hiddenFill xmlns:a14="http://schemas.microsoft.com/office/drawing/2010/main">
                <a:solidFill>
                  <a:srgbClr val="FFFFFF"/>
                </a:solidFill>
              </a14:hiddenFill>
            </a:ext>
          </a:extLst>
        </p:spPr>
      </p:pic>
      <p:pic>
        <p:nvPicPr>
          <p:cNvPr id="49" name="Imagen 52" descr="Roche – Logos Download">
            <a:extLst>
              <a:ext uri="{FF2B5EF4-FFF2-40B4-BE49-F238E27FC236}">
                <a16:creationId xmlns:a16="http://schemas.microsoft.com/office/drawing/2014/main" id="{9D96885E-CE78-A348-5101-B8A8A0BECCC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366282" y="5029682"/>
            <a:ext cx="888975" cy="505495"/>
          </a:xfrm>
          <a:prstGeom prst="rect">
            <a:avLst/>
          </a:prstGeom>
          <a:noFill/>
          <a:extLst>
            <a:ext uri="{909E8E84-426E-40DD-AFC4-6F175D3DCCD1}">
              <a14:hiddenFill xmlns:a14="http://schemas.microsoft.com/office/drawing/2010/main">
                <a:solidFill>
                  <a:srgbClr val="FFFFFF"/>
                </a:solidFill>
              </a14:hiddenFill>
            </a:ext>
          </a:extLst>
        </p:spPr>
      </p:pic>
      <p:pic>
        <p:nvPicPr>
          <p:cNvPr id="50" name="Imagen 53" descr="Press Release: Sanofi unveils new corporate brand and logo – unites the ...">
            <a:extLst>
              <a:ext uri="{FF2B5EF4-FFF2-40B4-BE49-F238E27FC236}">
                <a16:creationId xmlns:a16="http://schemas.microsoft.com/office/drawing/2014/main" id="{10C6C05B-9911-0093-5FF8-D45E7B33C64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24590" y="5799066"/>
            <a:ext cx="1115577" cy="512967"/>
          </a:xfrm>
          <a:prstGeom prst="rect">
            <a:avLst/>
          </a:prstGeom>
          <a:noFill/>
          <a:extLst>
            <a:ext uri="{909E8E84-426E-40DD-AFC4-6F175D3DCCD1}">
              <a14:hiddenFill xmlns:a14="http://schemas.microsoft.com/office/drawing/2010/main">
                <a:solidFill>
                  <a:srgbClr val="FFFFFF"/>
                </a:solidFill>
              </a14:hiddenFill>
            </a:ext>
          </a:extLst>
        </p:spPr>
      </p:pic>
      <p:pic>
        <p:nvPicPr>
          <p:cNvPr id="51" name="Imagen 57" descr="Our Partners – CreakyJoints">
            <a:extLst>
              <a:ext uri="{FF2B5EF4-FFF2-40B4-BE49-F238E27FC236}">
                <a16:creationId xmlns:a16="http://schemas.microsoft.com/office/drawing/2014/main" id="{EE453DB2-EF3F-47B0-57BC-1B6B49A9FD3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77267" y="5942206"/>
            <a:ext cx="1085695" cy="35857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Imagen que contiene Texto&#10;&#10;Descripción generada automáticamente">
            <a:extLst>
              <a:ext uri="{FF2B5EF4-FFF2-40B4-BE49-F238E27FC236}">
                <a16:creationId xmlns:a16="http://schemas.microsoft.com/office/drawing/2014/main" id="{79654AA7-21A0-07CF-1E10-3DFB48E3F97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47531" y="3389280"/>
            <a:ext cx="1364589" cy="413361"/>
          </a:xfrm>
          <a:prstGeom prst="rect">
            <a:avLst/>
          </a:prstGeom>
          <a:noFill/>
          <a:extLst>
            <a:ext uri="{909E8E84-426E-40DD-AFC4-6F175D3DCCD1}">
              <a14:hiddenFill xmlns:a14="http://schemas.microsoft.com/office/drawing/2010/main">
                <a:solidFill>
                  <a:srgbClr val="FFFFFF"/>
                </a:solidFill>
              </a14:hiddenFill>
            </a:ext>
          </a:extLst>
        </p:spPr>
      </p:pic>
      <p:pic>
        <p:nvPicPr>
          <p:cNvPr id="55" name="Imagen 5" descr="AstraZeneca | Fundación IDIS">
            <a:extLst>
              <a:ext uri="{FF2B5EF4-FFF2-40B4-BE49-F238E27FC236}">
                <a16:creationId xmlns:a16="http://schemas.microsoft.com/office/drawing/2014/main" id="{143E8D71-D7CA-989C-2379-E96ED005F88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345475" y="3104528"/>
            <a:ext cx="1655652" cy="994017"/>
          </a:xfrm>
          <a:prstGeom prst="rect">
            <a:avLst/>
          </a:prstGeom>
          <a:noFill/>
          <a:extLst>
            <a:ext uri="{909E8E84-426E-40DD-AFC4-6F175D3DCCD1}">
              <a14:hiddenFill xmlns:a14="http://schemas.microsoft.com/office/drawing/2010/main">
                <a:solidFill>
                  <a:srgbClr val="FFFFFF"/>
                </a:solidFill>
              </a14:hiddenFill>
            </a:ext>
          </a:extLst>
        </p:spPr>
      </p:pic>
      <p:pic>
        <p:nvPicPr>
          <p:cNvPr id="56" name="Imagen 6" descr="Texto&#10;&#10;Descripción generada automáticamente">
            <a:extLst>
              <a:ext uri="{FF2B5EF4-FFF2-40B4-BE49-F238E27FC236}">
                <a16:creationId xmlns:a16="http://schemas.microsoft.com/office/drawing/2014/main" id="{15DC4B71-2BC5-4221-6511-EEE0C151C87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08676" y="3405958"/>
            <a:ext cx="931307" cy="46565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1" descr="ABBVIE Inc (ABBV) - Warrior Trading News">
            <a:extLst>
              <a:ext uri="{FF2B5EF4-FFF2-40B4-BE49-F238E27FC236}">
                <a16:creationId xmlns:a16="http://schemas.microsoft.com/office/drawing/2014/main" id="{27ACFEAC-3E2F-75CE-0769-27CB6B19CFE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441602" y="5945864"/>
            <a:ext cx="1015972" cy="174309"/>
          </a:xfrm>
          <a:prstGeom prst="rect">
            <a:avLst/>
          </a:prstGeom>
          <a:noFill/>
          <a:extLst>
            <a:ext uri="{909E8E84-426E-40DD-AFC4-6F175D3DCCD1}">
              <a14:hiddenFill xmlns:a14="http://schemas.microsoft.com/office/drawing/2010/main">
                <a:solidFill>
                  <a:srgbClr val="FFFFFF"/>
                </a:solidFill>
              </a14:hiddenFill>
            </a:ext>
          </a:extLst>
        </p:spPr>
      </p:pic>
      <p:sp>
        <p:nvSpPr>
          <p:cNvPr id="58" name="Text Placeholder 2">
            <a:extLst>
              <a:ext uri="{FF2B5EF4-FFF2-40B4-BE49-F238E27FC236}">
                <a16:creationId xmlns:a16="http://schemas.microsoft.com/office/drawing/2014/main" id="{B8B00144-8A11-1BD5-7CC1-FCD043B666D9}"/>
              </a:ext>
            </a:extLst>
          </p:cNvPr>
          <p:cNvSpPr txBox="1">
            <a:spLocks/>
          </p:cNvSpPr>
          <p:nvPr/>
        </p:nvSpPr>
        <p:spPr>
          <a:xfrm>
            <a:off x="480000" y="5104240"/>
            <a:ext cx="3298504" cy="462629"/>
          </a:xfrm>
          <a:prstGeom prst="rect">
            <a:avLst/>
          </a:prstGeom>
        </p:spPr>
        <p:txBody>
          <a:bodyPr vert="horz" lIns="0" tIns="0" rIns="0" bIns="0" rtlCol="0">
            <a:normAutofit/>
          </a:bodyPr>
          <a:lstStyle>
            <a:lvl1pPr marL="0" indent="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None/>
              <a:defRPr sz="1400" kern="1200">
                <a:solidFill>
                  <a:schemeClr val="tx2"/>
                </a:solidFill>
                <a:latin typeface="+mn-lt"/>
                <a:ea typeface="+mn-ea"/>
                <a:cs typeface="+mn-cs"/>
              </a:defRPr>
            </a:lvl1pPr>
            <a:lvl2pPr marL="36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2pPr>
            <a:lvl3pPr marL="54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3pPr>
            <a:lvl4pPr marL="72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4pPr>
            <a:lvl5pPr marL="90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867" b="1"/>
              <a:t>Associated Network of CROs</a:t>
            </a:r>
          </a:p>
          <a:p>
            <a:endParaRPr lang="en-GB" sz="1867"/>
          </a:p>
        </p:txBody>
      </p:sp>
      <p:pic>
        <p:nvPicPr>
          <p:cNvPr id="3074" name="Picture 2">
            <a:extLst>
              <a:ext uri="{FF2B5EF4-FFF2-40B4-BE49-F238E27FC236}">
                <a16:creationId xmlns:a16="http://schemas.microsoft.com/office/drawing/2014/main" id="{E0065B58-C11E-6A5F-C190-1155B4B71ED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281855" y="5679159"/>
            <a:ext cx="1333780" cy="35386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CBCCF126-6A09-A5A4-4679-65DF95120F5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23730" y="5591273"/>
            <a:ext cx="1549313" cy="458855"/>
          </a:xfrm>
          <a:prstGeom prst="rect">
            <a:avLst/>
          </a:prstGeom>
          <a:noFill/>
          <a:extLst>
            <a:ext uri="{909E8E84-426E-40DD-AFC4-6F175D3DCCD1}">
              <a14:hiddenFill xmlns:a14="http://schemas.microsoft.com/office/drawing/2010/main">
                <a:solidFill>
                  <a:srgbClr val="FFFFFF"/>
                </a:solidFill>
              </a14:hiddenFill>
            </a:ext>
          </a:extLst>
        </p:spPr>
      </p:pic>
      <p:cxnSp>
        <p:nvCxnSpPr>
          <p:cNvPr id="3078" name="Straight Connector 3077">
            <a:extLst>
              <a:ext uri="{FF2B5EF4-FFF2-40B4-BE49-F238E27FC236}">
                <a16:creationId xmlns:a16="http://schemas.microsoft.com/office/drawing/2014/main" id="{CE92964B-3AA7-C497-E922-256EE0F8E20D}"/>
              </a:ext>
            </a:extLst>
          </p:cNvPr>
          <p:cNvCxnSpPr>
            <a:cxnSpLocks/>
          </p:cNvCxnSpPr>
          <p:nvPr/>
        </p:nvCxnSpPr>
        <p:spPr>
          <a:xfrm>
            <a:off x="480000" y="4989460"/>
            <a:ext cx="5424000" cy="9907"/>
          </a:xfrm>
          <a:prstGeom prst="line">
            <a:avLst/>
          </a:prstGeom>
        </p:spPr>
        <p:style>
          <a:lnRef idx="1">
            <a:schemeClr val="accent1"/>
          </a:lnRef>
          <a:fillRef idx="0">
            <a:schemeClr val="accent1"/>
          </a:fillRef>
          <a:effectRef idx="0">
            <a:schemeClr val="accent1"/>
          </a:effectRef>
          <a:fontRef idx="minor">
            <a:schemeClr val="tx1"/>
          </a:fontRef>
        </p:style>
      </p:cxnSp>
      <p:cxnSp>
        <p:nvCxnSpPr>
          <p:cNvPr id="3080" name="Straight Connector 3079">
            <a:extLst>
              <a:ext uri="{FF2B5EF4-FFF2-40B4-BE49-F238E27FC236}">
                <a16:creationId xmlns:a16="http://schemas.microsoft.com/office/drawing/2014/main" id="{DAE6240C-5C2C-52B0-8889-A1D78475400D}"/>
              </a:ext>
            </a:extLst>
          </p:cNvPr>
          <p:cNvCxnSpPr>
            <a:cxnSpLocks/>
          </p:cNvCxnSpPr>
          <p:nvPr/>
        </p:nvCxnSpPr>
        <p:spPr>
          <a:xfrm flipV="1">
            <a:off x="3888001" y="4997847"/>
            <a:ext cx="0" cy="13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04C363A-E5EA-5A98-C1EA-4DC93D474E76}"/>
              </a:ext>
            </a:extLst>
          </p:cNvPr>
          <p:cNvCxnSpPr>
            <a:cxnSpLocks/>
          </p:cNvCxnSpPr>
          <p:nvPr/>
        </p:nvCxnSpPr>
        <p:spPr>
          <a:xfrm flipV="1">
            <a:off x="5912745" y="4997847"/>
            <a:ext cx="0" cy="13440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FA8AA534-E9AA-D033-3832-CA8F4C13CFE4}"/>
              </a:ext>
            </a:extLst>
          </p:cNvPr>
          <p:cNvSpPr txBox="1">
            <a:spLocks/>
          </p:cNvSpPr>
          <p:nvPr/>
        </p:nvSpPr>
        <p:spPr>
          <a:xfrm>
            <a:off x="4112177" y="5104240"/>
            <a:ext cx="889667" cy="462629"/>
          </a:xfrm>
          <a:prstGeom prst="rect">
            <a:avLst/>
          </a:prstGeom>
        </p:spPr>
        <p:txBody>
          <a:bodyPr vert="horz" lIns="0" tIns="0" rIns="0" bIns="0" rtlCol="0">
            <a:normAutofit/>
          </a:bodyPr>
          <a:lstStyle>
            <a:lvl1pPr marL="0" indent="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None/>
              <a:defRPr sz="1400" kern="1200">
                <a:solidFill>
                  <a:schemeClr val="tx2"/>
                </a:solidFill>
                <a:latin typeface="+mn-lt"/>
                <a:ea typeface="+mn-ea"/>
                <a:cs typeface="+mn-cs"/>
              </a:defRPr>
            </a:lvl1pPr>
            <a:lvl2pPr marL="36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2pPr>
            <a:lvl3pPr marL="54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3pPr>
            <a:lvl4pPr marL="72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4pPr>
            <a:lvl5pPr marL="900000" indent="-180000" algn="l" defTabSz="685800" rtl="0" eaLnBrk="1" fontAlgn="ctr" latinLnBrk="0" hangingPunct="1">
              <a:lnSpc>
                <a:spcPct val="120000"/>
              </a:lnSpc>
              <a:spcBef>
                <a:spcPts val="500"/>
              </a:spcBef>
              <a:spcAft>
                <a:spcPts val="0"/>
              </a:spcAft>
              <a:buClr>
                <a:schemeClr val="tx2"/>
              </a:buClr>
              <a:buSzPct val="100000"/>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ES" sz="1867" b="1"/>
              <a:t>SRAB</a:t>
            </a:r>
            <a:endParaRPr lang="en-GB" sz="1867" b="1"/>
          </a:p>
        </p:txBody>
      </p:sp>
      <p:pic>
        <p:nvPicPr>
          <p:cNvPr id="1026" name="Picture 2" descr="927 Advisory Board Icon Images, Stock ...">
            <a:extLst>
              <a:ext uri="{FF2B5EF4-FFF2-40B4-BE49-F238E27FC236}">
                <a16:creationId xmlns:a16="http://schemas.microsoft.com/office/drawing/2014/main" id="{BCC98E29-F281-02FE-E26B-5E8500B934F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785022" y="5156272"/>
            <a:ext cx="988945" cy="98894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9815D0E9-1DE6-EF43-2A0F-C351968A2325}"/>
              </a:ext>
            </a:extLst>
          </p:cNvPr>
          <p:cNvCxnSpPr>
            <a:cxnSpLocks/>
          </p:cNvCxnSpPr>
          <p:nvPr/>
        </p:nvCxnSpPr>
        <p:spPr>
          <a:xfrm>
            <a:off x="492452" y="6336041"/>
            <a:ext cx="5424000" cy="9907"/>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descr="A blue text on a black background&#10;&#10;Description automatically generated">
            <a:extLst>
              <a:ext uri="{FF2B5EF4-FFF2-40B4-BE49-F238E27FC236}">
                <a16:creationId xmlns:a16="http://schemas.microsoft.com/office/drawing/2014/main" id="{082CF791-CBCC-81EA-5397-2667C283ADF7}"/>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67076" y="2415288"/>
            <a:ext cx="1562176" cy="428929"/>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B3A32FFA-DD54-F8EB-845C-FFE3B8FFCAD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373301" y="4197937"/>
            <a:ext cx="1274764" cy="367769"/>
          </a:xfrm>
          <a:prstGeom prst="rect">
            <a:avLst/>
          </a:prstGeom>
        </p:spPr>
      </p:pic>
      <p:pic>
        <p:nvPicPr>
          <p:cNvPr id="9" name="Picture 8" descr="A blue and green circle with a black background&#10;&#10;AI-generated content may be incorrect.">
            <a:extLst>
              <a:ext uri="{FF2B5EF4-FFF2-40B4-BE49-F238E27FC236}">
                <a16:creationId xmlns:a16="http://schemas.microsoft.com/office/drawing/2014/main" id="{5F4809EE-B862-A7AE-DEBF-CC50687C9684}"/>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386692" y="1458705"/>
            <a:ext cx="868797" cy="749595"/>
          </a:xfrm>
          <a:prstGeom prst="rect">
            <a:avLst/>
          </a:prstGeom>
        </p:spPr>
      </p:pic>
      <p:pic>
        <p:nvPicPr>
          <p:cNvPr id="14" name="Picture 13" descr="A black background with red text&#10;&#10;AI-generated content may be incorrect.">
            <a:extLst>
              <a:ext uri="{FF2B5EF4-FFF2-40B4-BE49-F238E27FC236}">
                <a16:creationId xmlns:a16="http://schemas.microsoft.com/office/drawing/2014/main" id="{A5CD154C-D78D-D376-63DD-B80AC2F8F421}"/>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739413" y="4183702"/>
            <a:ext cx="1703139" cy="465652"/>
          </a:xfrm>
          <a:prstGeom prst="rect">
            <a:avLst/>
          </a:prstGeom>
        </p:spPr>
      </p:pic>
      <p:pic>
        <p:nvPicPr>
          <p:cNvPr id="15" name="Picture 14" descr="A blue and black logo&#10;&#10;AI-generated content may be incorrect.">
            <a:extLst>
              <a:ext uri="{FF2B5EF4-FFF2-40B4-BE49-F238E27FC236}">
                <a16:creationId xmlns:a16="http://schemas.microsoft.com/office/drawing/2014/main" id="{0F03AF24-1C34-DEE2-A679-B6765BCAE21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019374" y="5049985"/>
            <a:ext cx="1062929" cy="438723"/>
          </a:xfrm>
          <a:prstGeom prst="rect">
            <a:avLst/>
          </a:prstGeom>
        </p:spPr>
      </p:pic>
      <p:pic>
        <p:nvPicPr>
          <p:cNvPr id="17" name="Picture 16" descr="A blue and white logo&#10;&#10;AI-generated content may be incorrect.">
            <a:extLst>
              <a:ext uri="{FF2B5EF4-FFF2-40B4-BE49-F238E27FC236}">
                <a16:creationId xmlns:a16="http://schemas.microsoft.com/office/drawing/2014/main" id="{D7902EA0-FB71-73B0-7A93-11FE02B8827E}"/>
              </a:ext>
            </a:extLst>
          </p:cNvPr>
          <p:cNvPicPr>
            <a:picLocks noChangeAspect="1"/>
          </p:cNvPicPr>
          <p:nvPr/>
        </p:nvPicPr>
        <p:blipFill>
          <a:blip r:embed="rId32">
            <a:extLst>
              <a:ext uri="{28A0092B-C50C-407E-A947-70E740481C1C}">
                <a14:useLocalDpi xmlns:a14="http://schemas.microsoft.com/office/drawing/2010/main" val="0"/>
              </a:ext>
            </a:extLst>
          </a:blip>
          <a:srcRect l="13402" t="28420" r="13573" b="29586"/>
          <a:stretch/>
        </p:blipFill>
        <p:spPr>
          <a:xfrm>
            <a:off x="6054976" y="4218711"/>
            <a:ext cx="1255792" cy="347112"/>
          </a:xfrm>
          <a:prstGeom prst="rect">
            <a:avLst/>
          </a:prstGeom>
        </p:spPr>
      </p:pic>
      <p:pic>
        <p:nvPicPr>
          <p:cNvPr id="18" name="Picture 17" descr="A close-up of a white background&#10;&#10;AI-generated content may be incorrect.">
            <a:extLst>
              <a:ext uri="{FF2B5EF4-FFF2-40B4-BE49-F238E27FC236}">
                <a16:creationId xmlns:a16="http://schemas.microsoft.com/office/drawing/2014/main" id="{9F08F486-28F6-1CFA-F227-C5DE60D9455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648827" y="5814161"/>
            <a:ext cx="1643055" cy="531788"/>
          </a:xfrm>
          <a:prstGeom prst="rect">
            <a:avLst/>
          </a:prstGeom>
        </p:spPr>
      </p:pic>
      <p:pic>
        <p:nvPicPr>
          <p:cNvPr id="19" name="Picture 18" descr="A blue and black logo&#10;&#10;AI-generated content may be incorrect.">
            <a:extLst>
              <a:ext uri="{FF2B5EF4-FFF2-40B4-BE49-F238E27FC236}">
                <a16:creationId xmlns:a16="http://schemas.microsoft.com/office/drawing/2014/main" id="{7165D3B5-2E7F-5F55-47B4-11D5B3C7280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563134" y="5039163"/>
            <a:ext cx="1085695" cy="511996"/>
          </a:xfrm>
          <a:prstGeom prst="rect">
            <a:avLst/>
          </a:prstGeom>
        </p:spPr>
      </p:pic>
      <p:pic>
        <p:nvPicPr>
          <p:cNvPr id="6" name="Picture 5" descr="A blue logo with white text&#10;&#10;AI-generated content may be incorrect.">
            <a:extLst>
              <a:ext uri="{FF2B5EF4-FFF2-40B4-BE49-F238E27FC236}">
                <a16:creationId xmlns:a16="http://schemas.microsoft.com/office/drawing/2014/main" id="{DACE5A0E-A663-C047-5D77-AAD167410487}"/>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3044965" y="4116907"/>
            <a:ext cx="899691" cy="600267"/>
          </a:xfrm>
          <a:prstGeom prst="rect">
            <a:avLst/>
          </a:prstGeom>
        </p:spPr>
      </p:pic>
      <p:pic>
        <p:nvPicPr>
          <p:cNvPr id="13" name="Picture 12" descr="A black text on a white background&#10;&#10;AI-generated content may be incorrect.">
            <a:extLst>
              <a:ext uri="{FF2B5EF4-FFF2-40B4-BE49-F238E27FC236}">
                <a16:creationId xmlns:a16="http://schemas.microsoft.com/office/drawing/2014/main" id="{B12F2D49-29A7-A98F-B5E1-5890D9BF67EA}"/>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25381" y="1585490"/>
            <a:ext cx="1580851" cy="575255"/>
          </a:xfrm>
          <a:prstGeom prst="rect">
            <a:avLst/>
          </a:prstGeom>
        </p:spPr>
      </p:pic>
      <p:pic>
        <p:nvPicPr>
          <p:cNvPr id="16" name="Picture 15" descr="A logo with text overlay&#10;&#10;AI-generated content may be incorrect.">
            <a:extLst>
              <a:ext uri="{FF2B5EF4-FFF2-40B4-BE49-F238E27FC236}">
                <a16:creationId xmlns:a16="http://schemas.microsoft.com/office/drawing/2014/main" id="{B3F5B2A3-C42F-591B-6AD3-574B1D2032E2}"/>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999345" y="2251063"/>
            <a:ext cx="967777" cy="697405"/>
          </a:xfrm>
          <a:prstGeom prst="rect">
            <a:avLst/>
          </a:prstGeom>
        </p:spPr>
      </p:pic>
      <p:pic>
        <p:nvPicPr>
          <p:cNvPr id="20" name="Picture 2" descr="Merck | Home">
            <a:extLst>
              <a:ext uri="{FF2B5EF4-FFF2-40B4-BE49-F238E27FC236}">
                <a16:creationId xmlns:a16="http://schemas.microsoft.com/office/drawing/2014/main" id="{7C84C0F8-E919-74E2-6E92-020AE70AE590}"/>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274700" y="3243867"/>
            <a:ext cx="1674954" cy="756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8240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A55C77D-3566-D352-2109-1D6C3DC36618}"/>
              </a:ext>
            </a:extLst>
          </p:cNvPr>
          <p:cNvSpPr>
            <a:spLocks noGrp="1"/>
          </p:cNvSpPr>
          <p:nvPr>
            <p:ph type="title"/>
          </p:nvPr>
        </p:nvSpPr>
        <p:spPr>
          <a:xfrm>
            <a:off x="222366" y="91909"/>
            <a:ext cx="10124997" cy="796800"/>
          </a:xfrm>
        </p:spPr>
        <p:txBody>
          <a:bodyPr>
            <a:normAutofit fontScale="90000"/>
          </a:bodyPr>
          <a:lstStyle/>
          <a:p>
            <a:r>
              <a:rPr lang="es-ES" b="1" dirty="0">
                <a:solidFill>
                  <a:schemeClr val="accent1"/>
                </a:solidFill>
                <a:latin typeface="Calibri"/>
                <a:ea typeface="Calibri"/>
                <a:cs typeface="Calibri"/>
              </a:rPr>
              <a:t>VICT3R : </a:t>
            </a:r>
            <a:r>
              <a:rPr lang="de-DE" b="1" dirty="0">
                <a:solidFill>
                  <a:schemeClr val="accent6">
                    <a:lumMod val="10000"/>
                  </a:schemeClr>
                </a:solidFill>
                <a:latin typeface="Calibri"/>
                <a:ea typeface="Calibri"/>
                <a:cs typeface="Calibri"/>
              </a:rPr>
              <a:t>VCG</a:t>
            </a:r>
            <a:r>
              <a:rPr lang="de-DE" b="1" dirty="0">
                <a:latin typeface="Calibri"/>
                <a:ea typeface="Calibri"/>
                <a:cs typeface="Calibri"/>
              </a:rPr>
              <a:t> is combined with </a:t>
            </a:r>
            <a:r>
              <a:rPr lang="de-DE" b="1" dirty="0">
                <a:solidFill>
                  <a:srgbClr val="00B050"/>
                </a:solidFill>
                <a:latin typeface="Calibri"/>
                <a:ea typeface="Calibri"/>
                <a:cs typeface="Calibri"/>
              </a:rPr>
              <a:t>treated groups </a:t>
            </a:r>
            <a:r>
              <a:rPr lang="de-DE" b="1" dirty="0">
                <a:latin typeface="Calibri"/>
                <a:ea typeface="Calibri"/>
                <a:cs typeface="Calibri"/>
              </a:rPr>
              <a:t>of the prospective study </a:t>
            </a:r>
            <a:endParaRPr lang="en-US" b="1" dirty="0">
              <a:latin typeface="Calibri"/>
              <a:ea typeface="Calibri"/>
              <a:cs typeface="Calibri"/>
            </a:endParaRPr>
          </a:p>
        </p:txBody>
      </p:sp>
      <p:pic>
        <p:nvPicPr>
          <p:cNvPr id="3" name="Grafik 2">
            <a:extLst>
              <a:ext uri="{FF2B5EF4-FFF2-40B4-BE49-F238E27FC236}">
                <a16:creationId xmlns:a16="http://schemas.microsoft.com/office/drawing/2014/main" id="{3CC914DD-D854-7AAC-0EEF-79F1B06506AE}"/>
              </a:ext>
            </a:extLst>
          </p:cNvPr>
          <p:cNvPicPr>
            <a:picLocks noChangeAspect="1"/>
          </p:cNvPicPr>
          <p:nvPr/>
        </p:nvPicPr>
        <p:blipFill>
          <a:blip r:embed="rId2"/>
          <a:stretch>
            <a:fillRect/>
          </a:stretch>
        </p:blipFill>
        <p:spPr>
          <a:xfrm>
            <a:off x="812598" y="692296"/>
            <a:ext cx="9159617" cy="5576829"/>
          </a:xfrm>
          <a:prstGeom prst="rect">
            <a:avLst/>
          </a:prstGeom>
        </p:spPr>
      </p:pic>
      <p:sp>
        <p:nvSpPr>
          <p:cNvPr id="7" name="Slide Number Placeholder 6">
            <a:extLst>
              <a:ext uri="{FF2B5EF4-FFF2-40B4-BE49-F238E27FC236}">
                <a16:creationId xmlns:a16="http://schemas.microsoft.com/office/drawing/2014/main" id="{642EDCC4-4B5F-D640-8039-C876EAC61044}"/>
              </a:ext>
            </a:extLst>
          </p:cNvPr>
          <p:cNvSpPr>
            <a:spLocks noGrp="1"/>
          </p:cNvSpPr>
          <p:nvPr>
            <p:ph type="sldNum" sz="quarter" idx="10"/>
          </p:nvPr>
        </p:nvSpPr>
        <p:spPr>
          <a:xfrm>
            <a:off x="10977600" y="6459523"/>
            <a:ext cx="729600" cy="394876"/>
          </a:xfrm>
        </p:spPr>
        <p:txBody>
          <a:bodyPr/>
          <a:lstStyle/>
          <a:p>
            <a:pPr defTabSz="457189"/>
            <a:fld id="{48F63A3B-78C7-47BE-AE5E-E10140E04643}" type="slidenum">
              <a:rPr lang="en-US">
                <a:solidFill>
                  <a:srgbClr val="1D4966"/>
                </a:solidFill>
                <a:latin typeface="Archivo-Regular"/>
              </a:rPr>
              <a:pPr defTabSz="457189"/>
              <a:t>9</a:t>
            </a:fld>
            <a:endParaRPr lang="en-US">
              <a:solidFill>
                <a:srgbClr val="1D4966"/>
              </a:solidFill>
              <a:latin typeface="Archivo-Regular"/>
            </a:endParaRPr>
          </a:p>
        </p:txBody>
      </p:sp>
      <p:sp>
        <p:nvSpPr>
          <p:cNvPr id="4" name="Textfeld 3">
            <a:extLst>
              <a:ext uri="{FF2B5EF4-FFF2-40B4-BE49-F238E27FC236}">
                <a16:creationId xmlns:a16="http://schemas.microsoft.com/office/drawing/2014/main" id="{FAF0AB5D-679D-AFAF-15A0-915DFDE3B633}"/>
              </a:ext>
            </a:extLst>
          </p:cNvPr>
          <p:cNvSpPr txBox="1"/>
          <p:nvPr/>
        </p:nvSpPr>
        <p:spPr>
          <a:xfrm>
            <a:off x="7584265" y="6324521"/>
            <a:ext cx="5448564" cy="502573"/>
          </a:xfrm>
          <a:prstGeom prst="rect">
            <a:avLst/>
          </a:prstGeom>
          <a:noFill/>
        </p:spPr>
        <p:txBody>
          <a:bodyPr wrap="square" rtlCol="0">
            <a:spAutoFit/>
          </a:bodyPr>
          <a:lstStyle/>
          <a:p>
            <a:pPr defTabSz="457189"/>
            <a:r>
              <a:rPr lang="en-US" sz="1333" dirty="0">
                <a:solidFill>
                  <a:srgbClr val="1D4966"/>
                </a:solidFill>
                <a:latin typeface="Archivo-Regular"/>
              </a:rPr>
              <a:t>Adapted from Steger-Hartmann et al. 2020, ALTEX; https://doi.org/10.14573/altex.2001311</a:t>
            </a:r>
          </a:p>
        </p:txBody>
      </p:sp>
      <p:sp>
        <p:nvSpPr>
          <p:cNvPr id="16" name="TextBox 15">
            <a:extLst>
              <a:ext uri="{FF2B5EF4-FFF2-40B4-BE49-F238E27FC236}">
                <a16:creationId xmlns:a16="http://schemas.microsoft.com/office/drawing/2014/main" id="{BC64F982-76E2-0355-A784-09641B785F88}"/>
              </a:ext>
            </a:extLst>
          </p:cNvPr>
          <p:cNvSpPr txBox="1"/>
          <p:nvPr/>
        </p:nvSpPr>
        <p:spPr>
          <a:xfrm>
            <a:off x="2219785" y="3429000"/>
            <a:ext cx="1327223" cy="338554"/>
          </a:xfrm>
          <a:prstGeom prst="rect">
            <a:avLst/>
          </a:prstGeom>
          <a:noFill/>
        </p:spPr>
        <p:txBody>
          <a:bodyPr wrap="none" rtlCol="0">
            <a:spAutoFit/>
          </a:bodyPr>
          <a:lstStyle/>
          <a:p>
            <a:pPr defTabSz="457189"/>
            <a:r>
              <a:rPr lang="en-US" sz="1600" dirty="0">
                <a:solidFill>
                  <a:srgbClr val="1D4966"/>
                </a:solidFill>
                <a:latin typeface="Archivo-Regular"/>
              </a:rPr>
              <a:t>Retrospective</a:t>
            </a:r>
          </a:p>
        </p:txBody>
      </p:sp>
      <p:sp>
        <p:nvSpPr>
          <p:cNvPr id="17" name="TextBox 16">
            <a:extLst>
              <a:ext uri="{FF2B5EF4-FFF2-40B4-BE49-F238E27FC236}">
                <a16:creationId xmlns:a16="http://schemas.microsoft.com/office/drawing/2014/main" id="{80D2429F-572F-0F39-2564-523711D88318}"/>
              </a:ext>
            </a:extLst>
          </p:cNvPr>
          <p:cNvSpPr txBox="1"/>
          <p:nvPr/>
        </p:nvSpPr>
        <p:spPr>
          <a:xfrm>
            <a:off x="7007280" y="3429000"/>
            <a:ext cx="1153970" cy="338554"/>
          </a:xfrm>
          <a:prstGeom prst="rect">
            <a:avLst/>
          </a:prstGeom>
          <a:noFill/>
        </p:spPr>
        <p:txBody>
          <a:bodyPr wrap="none" rtlCol="0">
            <a:spAutoFit/>
          </a:bodyPr>
          <a:lstStyle/>
          <a:p>
            <a:pPr defTabSz="457189"/>
            <a:r>
              <a:rPr lang="en-US" sz="1600" dirty="0">
                <a:solidFill>
                  <a:srgbClr val="1D4966"/>
                </a:solidFill>
                <a:latin typeface="Archivo-Regular"/>
              </a:rPr>
              <a:t>Prospective</a:t>
            </a:r>
          </a:p>
        </p:txBody>
      </p:sp>
    </p:spTree>
    <p:extLst>
      <p:ext uri="{BB962C8B-B14F-4D97-AF65-F5344CB8AC3E}">
        <p14:creationId xmlns:p14="http://schemas.microsoft.com/office/powerpoint/2010/main" val="3358947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Fibrotarget">
  <a:themeElements>
    <a:clrScheme name="VICT3R 1">
      <a:dk1>
        <a:srgbClr val="1D4966"/>
      </a:dk1>
      <a:lt1>
        <a:srgbClr val="FFFFFF"/>
      </a:lt1>
      <a:dk2>
        <a:srgbClr val="E5834B"/>
      </a:dk2>
      <a:lt2>
        <a:srgbClr val="E8ECEF"/>
      </a:lt2>
      <a:accent1>
        <a:srgbClr val="1D4966"/>
      </a:accent1>
      <a:accent2>
        <a:srgbClr val="2B6C98"/>
      </a:accent2>
      <a:accent3>
        <a:srgbClr val="3991CB"/>
      </a:accent3>
      <a:accent4>
        <a:srgbClr val="E5834B"/>
      </a:accent4>
      <a:accent5>
        <a:srgbClr val="FF9153"/>
      </a:accent5>
      <a:accent6>
        <a:srgbClr val="E8ECEF"/>
      </a:accent6>
      <a:hlink>
        <a:srgbClr val="E5834B"/>
      </a:hlink>
      <a:folHlink>
        <a:srgbClr val="E5AA89"/>
      </a:folHlink>
    </a:clrScheme>
    <a:fontScheme name="VICT3R">
      <a:majorFont>
        <a:latin typeface="Archivo-Bold"/>
        <a:ea typeface=""/>
        <a:cs typeface=""/>
      </a:majorFont>
      <a:minorFont>
        <a:latin typeface="Archivo-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ICT3R slide deck" id="{FDA6679C-1A6F-3D43-9555-ED65AC920D98}" vid="{547C1F55-A819-9D44-BB14-7242ACEEDF63}"/>
    </a:ext>
  </a:extLst>
</a:theme>
</file>

<file path=ppt/theme/theme3.xml><?xml version="1.0" encoding="utf-8"?>
<a:theme xmlns:a="http://schemas.openxmlformats.org/drawingml/2006/main" name="1_Fibrotarget">
  <a:themeElements>
    <a:clrScheme name="VICT3R 1">
      <a:dk1>
        <a:srgbClr val="1D4966"/>
      </a:dk1>
      <a:lt1>
        <a:srgbClr val="FFFFFF"/>
      </a:lt1>
      <a:dk2>
        <a:srgbClr val="E5834B"/>
      </a:dk2>
      <a:lt2>
        <a:srgbClr val="E8ECEF"/>
      </a:lt2>
      <a:accent1>
        <a:srgbClr val="1D4966"/>
      </a:accent1>
      <a:accent2>
        <a:srgbClr val="2B6C98"/>
      </a:accent2>
      <a:accent3>
        <a:srgbClr val="3991CB"/>
      </a:accent3>
      <a:accent4>
        <a:srgbClr val="E5834B"/>
      </a:accent4>
      <a:accent5>
        <a:srgbClr val="FF9153"/>
      </a:accent5>
      <a:accent6>
        <a:srgbClr val="E8ECEF"/>
      </a:accent6>
      <a:hlink>
        <a:srgbClr val="E5834B"/>
      </a:hlink>
      <a:folHlink>
        <a:srgbClr val="E5AA89"/>
      </a:folHlink>
    </a:clrScheme>
    <a:fontScheme name="VICT3R">
      <a:majorFont>
        <a:latin typeface="Archivo-Bold"/>
        <a:ea typeface=""/>
        <a:cs typeface=""/>
      </a:majorFont>
      <a:minorFont>
        <a:latin typeface="Archivo-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ICT3R Session 5 -27_28Feb25 (1).potx" id="{CE99B02D-834C-428C-AAF6-04A81E87456E}" vid="{AA5FF547-195A-4E23-9BB0-28B9A8541791}"/>
    </a:ext>
  </a:extLst>
</a:theme>
</file>

<file path=ppt/theme/theme4.xml><?xml version="1.0" encoding="utf-8"?>
<a:theme xmlns:a="http://schemas.openxmlformats.org/drawingml/2006/main" name="2_Fibrotarget">
  <a:themeElements>
    <a:clrScheme name="VICT3R 1">
      <a:dk1>
        <a:srgbClr val="1D4966"/>
      </a:dk1>
      <a:lt1>
        <a:srgbClr val="FFFFFF"/>
      </a:lt1>
      <a:dk2>
        <a:srgbClr val="E5834B"/>
      </a:dk2>
      <a:lt2>
        <a:srgbClr val="E8ECEF"/>
      </a:lt2>
      <a:accent1>
        <a:srgbClr val="1D4966"/>
      </a:accent1>
      <a:accent2>
        <a:srgbClr val="2B6C98"/>
      </a:accent2>
      <a:accent3>
        <a:srgbClr val="3991CB"/>
      </a:accent3>
      <a:accent4>
        <a:srgbClr val="E5834B"/>
      </a:accent4>
      <a:accent5>
        <a:srgbClr val="FF9153"/>
      </a:accent5>
      <a:accent6>
        <a:srgbClr val="E8ECEF"/>
      </a:accent6>
      <a:hlink>
        <a:srgbClr val="E5834B"/>
      </a:hlink>
      <a:folHlink>
        <a:srgbClr val="E5AA89"/>
      </a:folHlink>
    </a:clrScheme>
    <a:fontScheme name="VICT3R">
      <a:majorFont>
        <a:latin typeface="Archivo-Bold"/>
        <a:ea typeface=""/>
        <a:cs typeface=""/>
      </a:majorFont>
      <a:minorFont>
        <a:latin typeface="Archivo-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ICT3R slide deck Inari" id="{15AB83DF-6BAF-7946-B8D8-93F0B0C94A60}" vid="{E7090DEB-AC51-6F4A-B789-2AA38BEF0FF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68</TotalTime>
  <Words>530</Words>
  <Application>Microsoft Office PowerPoint</Application>
  <PresentationFormat>Widescreen</PresentationFormat>
  <Paragraphs>89</Paragraphs>
  <Slides>14</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9" baseType="lpstr">
      <vt:lpstr>Archivo</vt:lpstr>
      <vt:lpstr>Archivo-Bold</vt:lpstr>
      <vt:lpstr>Archivo-Regular</vt:lpstr>
      <vt:lpstr>Roche Sans Condensed Light</vt:lpstr>
      <vt:lpstr>Aptos</vt:lpstr>
      <vt:lpstr>Aptos Display</vt:lpstr>
      <vt:lpstr>Arial</vt:lpstr>
      <vt:lpstr>Calibri</vt:lpstr>
      <vt:lpstr>Calibri Light</vt:lpstr>
      <vt:lpstr>Wingdings</vt:lpstr>
      <vt:lpstr>Office Theme</vt:lpstr>
      <vt:lpstr>Fibrotarget</vt:lpstr>
      <vt:lpstr>1_Fibrotarget</vt:lpstr>
      <vt:lpstr>2_Fibrotarget</vt:lpstr>
      <vt:lpstr>think-cell Folie</vt:lpstr>
      <vt:lpstr>Virtual Control Groups (VCGs) in Preclinical Drug Safety Assessment </vt:lpstr>
      <vt:lpstr>PowerPoint Presentation</vt:lpstr>
      <vt:lpstr>Can we replace control animals in safety studies with historical controls?</vt:lpstr>
      <vt:lpstr>PowerPoint Presentation</vt:lpstr>
      <vt:lpstr>Virtual Control Groups (VCG) started in 2020…</vt:lpstr>
      <vt:lpstr>PowerPoint Presentation</vt:lpstr>
      <vt:lpstr>PowerPoint Presentation</vt:lpstr>
      <vt:lpstr>VICT3R is an Innovative Health Initiative (IHI) consortium for VCG guidance and implementation </vt:lpstr>
      <vt:lpstr>VICT3R : VCG is combined with treated groups of the prospective study </vt:lpstr>
      <vt:lpstr>VICT3R: Setting Up a Procedure for Retrospective VCG Testing</vt:lpstr>
      <vt:lpstr>VICT3R: Contexts of Use are qualified in stages</vt:lpstr>
      <vt:lpstr>PowerPoint Presentation</vt:lpstr>
      <vt:lpstr>NCB VCG White Paper Workstrea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 Dingzhou Dean</dc:creator>
  <cp:lastModifiedBy>Li, Dingzhou Dean</cp:lastModifiedBy>
  <cp:revision>24</cp:revision>
  <dcterms:created xsi:type="dcterms:W3CDTF">2025-03-25T22:31:27Z</dcterms:created>
  <dcterms:modified xsi:type="dcterms:W3CDTF">2025-07-09T14:1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5-03-26T00:21:52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0daed83a-05f3-4d06-881f-7e00f3d21957</vt:lpwstr>
  </property>
  <property fmtid="{D5CDD505-2E9C-101B-9397-08002B2CF9AE}" pid="8" name="MSIP_Label_4791b42f-c435-42ca-9531-75a3f42aae3d_ContentBits">
    <vt:lpwstr>0</vt:lpwstr>
  </property>
  <property fmtid="{D5CDD505-2E9C-101B-9397-08002B2CF9AE}" pid="9" name="MSIP_Label_4791b42f-c435-42ca-9531-75a3f42aae3d_Tag">
    <vt:lpwstr>10, 0, 1, 1</vt:lpwstr>
  </property>
</Properties>
</file>